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1.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5.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5.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notesSlides/notesSlide7.xml" ContentType="application/vnd.openxmlformats-officedocument.presentationml.notesSlide+xml"/>
  <Override PartName="/ppt/charts/chart5.xml" ContentType="application/vnd.openxmlformats-officedocument.drawingml.chart+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5" r:id="rId3"/>
    <p:sldMasterId id="2147483688" r:id="rId4"/>
    <p:sldMasterId id="2147483701" r:id="rId5"/>
    <p:sldMasterId id="2147483714" r:id="rId6"/>
    <p:sldMasterId id="2147483730" r:id="rId7"/>
    <p:sldMasterId id="2147483738" r:id="rId8"/>
    <p:sldMasterId id="2147483753" r:id="rId9"/>
    <p:sldMasterId id="2147483760" r:id="rId10"/>
    <p:sldMasterId id="2147483767" r:id="rId11"/>
    <p:sldMasterId id="2147483774" r:id="rId12"/>
    <p:sldMasterId id="2147483781" r:id="rId13"/>
    <p:sldMasterId id="2147483788" r:id="rId14"/>
    <p:sldMasterId id="2147483795" r:id="rId15"/>
    <p:sldMasterId id="2147483807" r:id="rId16"/>
  </p:sldMasterIdLst>
  <p:notesMasterIdLst>
    <p:notesMasterId r:id="rId44"/>
  </p:notesMasterIdLst>
  <p:handoutMasterIdLst>
    <p:handoutMasterId r:id="rId45"/>
  </p:handoutMasterIdLst>
  <p:sldIdLst>
    <p:sldId id="314" r:id="rId17"/>
    <p:sldId id="864" r:id="rId18"/>
    <p:sldId id="845" r:id="rId19"/>
    <p:sldId id="889" r:id="rId20"/>
    <p:sldId id="871" r:id="rId21"/>
    <p:sldId id="870" r:id="rId22"/>
    <p:sldId id="872" r:id="rId23"/>
    <p:sldId id="846" r:id="rId24"/>
    <p:sldId id="847" r:id="rId25"/>
    <p:sldId id="873" r:id="rId26"/>
    <p:sldId id="874" r:id="rId27"/>
    <p:sldId id="875" r:id="rId28"/>
    <p:sldId id="842" r:id="rId29"/>
    <p:sldId id="888" r:id="rId30"/>
    <p:sldId id="850" r:id="rId31"/>
    <p:sldId id="855" r:id="rId32"/>
    <p:sldId id="856" r:id="rId33"/>
    <p:sldId id="854" r:id="rId34"/>
    <p:sldId id="894" r:id="rId35"/>
    <p:sldId id="876" r:id="rId36"/>
    <p:sldId id="877" r:id="rId37"/>
    <p:sldId id="878" r:id="rId38"/>
    <p:sldId id="879" r:id="rId39"/>
    <p:sldId id="880" r:id="rId40"/>
    <p:sldId id="881" r:id="rId41"/>
    <p:sldId id="882" r:id="rId42"/>
    <p:sldId id="886" r:id="rId43"/>
  </p:sldIdLst>
  <p:sldSz cx="9144000" cy="6858000" type="screen4x3"/>
  <p:notesSz cx="6797675" cy="9926638"/>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0B336A"/>
    <a:srgbClr val="5F9127"/>
    <a:srgbClr val="FFF1B7"/>
    <a:srgbClr val="FFFFCC"/>
    <a:srgbClr val="FFCC66"/>
    <a:srgbClr val="FFFBF3"/>
    <a:srgbClr val="6E869A"/>
    <a:srgbClr val="E7E6E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1E4AEA4-8DFA-4A89-87EB-49C32662AFE0}" styleName="Estilo Médio 2 - Ênfas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6562" autoAdjust="0"/>
    <p:restoredTop sz="96187" autoAdjust="0"/>
  </p:normalViewPr>
  <p:slideViewPr>
    <p:cSldViewPr>
      <p:cViewPr varScale="1">
        <p:scale>
          <a:sx n="74" d="100"/>
          <a:sy n="74" d="100"/>
        </p:scale>
        <p:origin x="1224" y="72"/>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theme" Target="theme/theme1.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3" Type="http://schemas.openxmlformats.org/officeDocument/2006/relationships/package" Target="../embeddings/Planilha_do_Microsoft_Excel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Planilha_do_Microsoft_Excel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Planilha_do_Microsoft_Excel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oleObject" Target="file:///C:\Users\jayme.alves\Documents\planapoio.xlsm"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jayme.alves\Documents\spreadicc.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Indicador</c:v>
                </c:pt>
              </c:strCache>
            </c:strRef>
          </c:tx>
          <c:spPr>
            <a:solidFill>
              <a:schemeClr val="accent1">
                <a:lumMod val="50000"/>
              </a:schemeClr>
            </a:solidFill>
            <a:ln>
              <a:noFill/>
            </a:ln>
            <a:effectLst/>
          </c:spPr>
          <c:invertIfNegative val="0"/>
          <c:dPt>
            <c:idx val="0"/>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01-0FE2-4032-9F98-C63E63EB0B58}"/>
              </c:ext>
            </c:extLst>
          </c:dPt>
          <c:dPt>
            <c:idx val="1"/>
            <c:invertIfNegative val="0"/>
            <c:bubble3D val="0"/>
            <c:extLst xmlns:c16r2="http://schemas.microsoft.com/office/drawing/2015/06/chart">
              <c:ext xmlns:c16="http://schemas.microsoft.com/office/drawing/2014/chart" uri="{C3380CC4-5D6E-409C-BE32-E72D297353CC}">
                <c16:uniqueId val="{00000003-0FE2-4032-9F98-C63E63EB0B58}"/>
              </c:ext>
            </c:extLst>
          </c:dPt>
          <c:dPt>
            <c:idx val="2"/>
            <c:invertIfNegative val="0"/>
            <c:bubble3D val="0"/>
            <c:extLst xmlns:c16r2="http://schemas.microsoft.com/office/drawing/2015/06/chart">
              <c:ext xmlns:c16="http://schemas.microsoft.com/office/drawing/2014/chart" uri="{C3380CC4-5D6E-409C-BE32-E72D297353CC}">
                <c16:uniqueId val="{00000005-0FE2-4032-9F98-C63E63EB0B58}"/>
              </c:ext>
            </c:extLst>
          </c:dPt>
          <c:dPt>
            <c:idx val="3"/>
            <c:invertIfNegative val="0"/>
            <c:bubble3D val="0"/>
            <c:extLst xmlns:c16r2="http://schemas.microsoft.com/office/drawing/2015/06/chart">
              <c:ext xmlns:c16="http://schemas.microsoft.com/office/drawing/2014/chart" uri="{C3380CC4-5D6E-409C-BE32-E72D297353CC}">
                <c16:uniqueId val="{00000007-0FE2-4032-9F98-C63E63EB0B58}"/>
              </c:ext>
            </c:extLst>
          </c:dPt>
          <c:dPt>
            <c:idx val="4"/>
            <c:invertIfNegative val="0"/>
            <c:bubble3D val="0"/>
            <c:extLst xmlns:c16r2="http://schemas.microsoft.com/office/drawing/2015/06/chart">
              <c:ext xmlns:c16="http://schemas.microsoft.com/office/drawing/2014/chart" uri="{C3380CC4-5D6E-409C-BE32-E72D297353CC}">
                <c16:uniqueId val="{00000009-0FE2-4032-9F98-C63E63EB0B58}"/>
              </c:ext>
            </c:extLst>
          </c:dPt>
          <c:dPt>
            <c:idx val="5"/>
            <c:invertIfNegative val="0"/>
            <c:bubble3D val="0"/>
            <c:extLst xmlns:c16r2="http://schemas.microsoft.com/office/drawing/2015/06/chart">
              <c:ext xmlns:c16="http://schemas.microsoft.com/office/drawing/2014/chart" uri="{C3380CC4-5D6E-409C-BE32-E72D297353CC}">
                <c16:uniqueId val="{0000000B-0FE2-4032-9F98-C63E63EB0B58}"/>
              </c:ext>
            </c:extLst>
          </c:dPt>
          <c:dPt>
            <c:idx val="6"/>
            <c:invertIfNegative val="0"/>
            <c:bubble3D val="0"/>
            <c:extLst xmlns:c16r2="http://schemas.microsoft.com/office/drawing/2015/06/chart">
              <c:ext xmlns:c16="http://schemas.microsoft.com/office/drawing/2014/chart" uri="{C3380CC4-5D6E-409C-BE32-E72D297353CC}">
                <c16:uniqueId val="{0000000D-0FE2-4032-9F98-C63E63EB0B58}"/>
              </c:ext>
            </c:extLst>
          </c:dPt>
          <c:dPt>
            <c:idx val="7"/>
            <c:invertIfNegative val="0"/>
            <c:bubble3D val="0"/>
            <c:extLst xmlns:c16r2="http://schemas.microsoft.com/office/drawing/2015/06/chart">
              <c:ext xmlns:c16="http://schemas.microsoft.com/office/drawing/2014/chart" uri="{C3380CC4-5D6E-409C-BE32-E72D297353CC}">
                <c16:uniqueId val="{0000000F-0FE2-4032-9F98-C63E63EB0B58}"/>
              </c:ext>
            </c:extLst>
          </c:dPt>
          <c:dPt>
            <c:idx val="8"/>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11-0FE2-4032-9F98-C63E63EB0B58}"/>
              </c:ext>
            </c:extLst>
          </c:dPt>
          <c:dPt>
            <c:idx val="9"/>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13-0FE2-4032-9F98-C63E63EB0B58}"/>
              </c:ext>
            </c:extLst>
          </c:dPt>
          <c:dPt>
            <c:idx val="10"/>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15-0FE2-4032-9F98-C63E63EB0B58}"/>
              </c:ext>
            </c:extLst>
          </c:dPt>
          <c:dPt>
            <c:idx val="11"/>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17-0FE2-4032-9F98-C63E63EB0B58}"/>
              </c:ext>
            </c:extLst>
          </c:dPt>
          <c:dPt>
            <c:idx val="12"/>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19-0FE2-4032-9F98-C63E63EB0B58}"/>
              </c:ext>
            </c:extLst>
          </c:dPt>
          <c:dPt>
            <c:idx val="15"/>
            <c:invertIfNegative val="0"/>
            <c:bubble3D val="0"/>
            <c:extLst xmlns:c16r2="http://schemas.microsoft.com/office/drawing/2015/06/chart">
              <c:ext xmlns:c16="http://schemas.microsoft.com/office/drawing/2014/chart" uri="{C3380CC4-5D6E-409C-BE32-E72D297353CC}">
                <c16:uniqueId val="{0000001B-0FE2-4032-9F98-C63E63EB0B58}"/>
              </c:ext>
            </c:extLst>
          </c:dPt>
          <c:dPt>
            <c:idx val="16"/>
            <c:invertIfNegative val="0"/>
            <c:bubble3D val="0"/>
            <c:extLst xmlns:c16r2="http://schemas.microsoft.com/office/drawing/2015/06/chart">
              <c:ext xmlns:c16="http://schemas.microsoft.com/office/drawing/2014/chart" uri="{C3380CC4-5D6E-409C-BE32-E72D297353CC}">
                <c16:uniqueId val="{0000001D-0FE2-4032-9F98-C63E63EB0B58}"/>
              </c:ext>
            </c:extLst>
          </c:dPt>
          <c:dPt>
            <c:idx val="17"/>
            <c:invertIfNegative val="0"/>
            <c:bubble3D val="0"/>
            <c:extLst xmlns:c16r2="http://schemas.microsoft.com/office/drawing/2015/06/chart">
              <c:ext xmlns:c16="http://schemas.microsoft.com/office/drawing/2014/chart" uri="{C3380CC4-5D6E-409C-BE32-E72D297353CC}">
                <c16:uniqueId val="{0000001F-0FE2-4032-9F98-C63E63EB0B58}"/>
              </c:ext>
            </c:extLst>
          </c:dPt>
          <c:dPt>
            <c:idx val="18"/>
            <c:invertIfNegative val="0"/>
            <c:bubble3D val="0"/>
            <c:extLst xmlns:c16r2="http://schemas.microsoft.com/office/drawing/2015/06/chart">
              <c:ext xmlns:c16="http://schemas.microsoft.com/office/drawing/2014/chart" uri="{C3380CC4-5D6E-409C-BE32-E72D297353CC}">
                <c16:uniqueId val="{00000021-0FE2-4032-9F98-C63E63EB0B58}"/>
              </c:ext>
            </c:extLst>
          </c:dPt>
          <c:dPt>
            <c:idx val="19"/>
            <c:invertIfNegative val="0"/>
            <c:bubble3D val="0"/>
            <c:extLst xmlns:c16r2="http://schemas.microsoft.com/office/drawing/2015/06/chart">
              <c:ext xmlns:c16="http://schemas.microsoft.com/office/drawing/2014/chart" uri="{C3380CC4-5D6E-409C-BE32-E72D297353CC}">
                <c16:uniqueId val="{00000023-0FE2-4032-9F98-C63E63EB0B58}"/>
              </c:ext>
            </c:extLst>
          </c:dPt>
          <c:dPt>
            <c:idx val="20"/>
            <c:invertIfNegative val="0"/>
            <c:bubble3D val="0"/>
            <c:extLst xmlns:c16r2="http://schemas.microsoft.com/office/drawing/2015/06/chart">
              <c:ext xmlns:c16="http://schemas.microsoft.com/office/drawing/2014/chart" uri="{C3380CC4-5D6E-409C-BE32-E72D297353CC}">
                <c16:uniqueId val="{00000025-0FE2-4032-9F98-C63E63EB0B58}"/>
              </c:ext>
            </c:extLst>
          </c:dPt>
          <c:dPt>
            <c:idx val="21"/>
            <c:invertIfNegative val="0"/>
            <c:bubble3D val="0"/>
            <c:extLst xmlns:c16r2="http://schemas.microsoft.com/office/drawing/2015/06/chart">
              <c:ext xmlns:c16="http://schemas.microsoft.com/office/drawing/2014/chart" uri="{C3380CC4-5D6E-409C-BE32-E72D297353CC}">
                <c16:uniqueId val="{00000027-0FE2-4032-9F98-C63E63EB0B58}"/>
              </c:ext>
            </c:extLst>
          </c:dPt>
          <c:dPt>
            <c:idx val="22"/>
            <c:invertIfNegative val="0"/>
            <c:bubble3D val="0"/>
            <c:extLst xmlns:c16r2="http://schemas.microsoft.com/office/drawing/2015/06/chart">
              <c:ext xmlns:c16="http://schemas.microsoft.com/office/drawing/2014/chart" uri="{C3380CC4-5D6E-409C-BE32-E72D297353CC}">
                <c16:uniqueId val="{00000029-0FE2-4032-9F98-C63E63EB0B58}"/>
              </c:ext>
            </c:extLst>
          </c:dPt>
          <c:dPt>
            <c:idx val="23"/>
            <c:invertIfNegative val="0"/>
            <c:bubble3D val="0"/>
            <c:extLst xmlns:c16r2="http://schemas.microsoft.com/office/drawing/2015/06/chart">
              <c:ext xmlns:c16="http://schemas.microsoft.com/office/drawing/2014/chart" uri="{C3380CC4-5D6E-409C-BE32-E72D297353CC}">
                <c16:uniqueId val="{0000002B-0FE2-4032-9F98-C63E63EB0B58}"/>
              </c:ext>
            </c:extLst>
          </c:dPt>
          <c:dPt>
            <c:idx val="24"/>
            <c:invertIfNegative val="0"/>
            <c:bubble3D val="0"/>
            <c:extLst xmlns:c16r2="http://schemas.microsoft.com/office/drawing/2015/06/chart">
              <c:ext xmlns:c16="http://schemas.microsoft.com/office/drawing/2014/chart" uri="{C3380CC4-5D6E-409C-BE32-E72D297353CC}">
                <c16:uniqueId val="{0000002D-0FE2-4032-9F98-C63E63EB0B5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rasil</c:v>
                </c:pt>
                <c:pt idx="1">
                  <c:v>Turquia</c:v>
                </c:pt>
                <c:pt idx="2">
                  <c:v>Índia</c:v>
                </c:pt>
                <c:pt idx="3">
                  <c:v>Chile</c:v>
                </c:pt>
                <c:pt idx="4">
                  <c:v>África S.</c:v>
                </c:pt>
                <c:pt idx="5">
                  <c:v>Rússia</c:v>
                </c:pt>
                <c:pt idx="6">
                  <c:v>México</c:v>
                </c:pt>
                <c:pt idx="7">
                  <c:v>Colômbia</c:v>
                </c:pt>
                <c:pt idx="8">
                  <c:v>EUA</c:v>
                </c:pt>
                <c:pt idx="9">
                  <c:v>Austrália</c:v>
                </c:pt>
                <c:pt idx="10">
                  <c:v>Alemanha</c:v>
                </c:pt>
                <c:pt idx="11">
                  <c:v>Coréia S.</c:v>
                </c:pt>
                <c:pt idx="12">
                  <c:v>UK</c:v>
                </c:pt>
              </c:strCache>
            </c:strRef>
          </c:cat>
          <c:val>
            <c:numRef>
              <c:f>Sheet1!$B$2:$B$14</c:f>
              <c:numCache>
                <c:formatCode>0.0</c:formatCode>
                <c:ptCount val="13"/>
                <c:pt idx="0">
                  <c:v>15.8</c:v>
                </c:pt>
                <c:pt idx="1">
                  <c:v>18.5</c:v>
                </c:pt>
                <c:pt idx="2">
                  <c:v>26</c:v>
                </c:pt>
                <c:pt idx="3">
                  <c:v>33.5</c:v>
                </c:pt>
                <c:pt idx="4">
                  <c:v>35.1</c:v>
                </c:pt>
                <c:pt idx="5">
                  <c:v>38.6</c:v>
                </c:pt>
                <c:pt idx="6">
                  <c:v>69.099999999999994</c:v>
                </c:pt>
                <c:pt idx="7">
                  <c:v>69.400000000000006</c:v>
                </c:pt>
                <c:pt idx="8">
                  <c:v>78.599999999999994</c:v>
                </c:pt>
                <c:pt idx="9">
                  <c:v>82.4</c:v>
                </c:pt>
                <c:pt idx="10">
                  <c:v>84.4</c:v>
                </c:pt>
                <c:pt idx="11">
                  <c:v>84.5</c:v>
                </c:pt>
                <c:pt idx="12">
                  <c:v>88.6</c:v>
                </c:pt>
              </c:numCache>
            </c:numRef>
          </c:val>
          <c:extLst xmlns:c16r2="http://schemas.microsoft.com/office/drawing/2015/06/chart">
            <c:ext xmlns:c16="http://schemas.microsoft.com/office/drawing/2014/chart" uri="{C3380CC4-5D6E-409C-BE32-E72D297353CC}">
              <c16:uniqueId val="{0000002E-0FE2-4032-9F98-C63E63EB0B58}"/>
            </c:ext>
          </c:extLst>
        </c:ser>
        <c:dLbls>
          <c:showLegendKey val="0"/>
          <c:showVal val="0"/>
          <c:showCatName val="0"/>
          <c:showSerName val="0"/>
          <c:showPercent val="0"/>
          <c:showBubbleSize val="0"/>
        </c:dLbls>
        <c:gapWidth val="45"/>
        <c:axId val="388699856"/>
        <c:axId val="388699464"/>
      </c:barChart>
      <c:catAx>
        <c:axId val="388699856"/>
        <c:scaling>
          <c:orientation val="minMax"/>
        </c:scaling>
        <c:delete val="0"/>
        <c:axPos val="l"/>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pt-BR"/>
          </a:p>
        </c:txPr>
        <c:crossAx val="388699464"/>
        <c:crosses val="autoZero"/>
        <c:auto val="1"/>
        <c:lblAlgn val="ctr"/>
        <c:lblOffset val="0"/>
        <c:noMultiLvlLbl val="0"/>
      </c:catAx>
      <c:valAx>
        <c:axId val="388699464"/>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pt-BR"/>
          </a:p>
        </c:txPr>
        <c:crossAx val="388699856"/>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Indicador</c:v>
                </c:pt>
              </c:strCache>
            </c:strRef>
          </c:tx>
          <c:spPr>
            <a:solidFill>
              <a:schemeClr val="accent1">
                <a:lumMod val="50000"/>
              </a:schemeClr>
            </a:solidFill>
            <a:ln>
              <a:noFill/>
            </a:ln>
            <a:effectLst/>
          </c:spPr>
          <c:invertIfNegative val="0"/>
          <c:dPt>
            <c:idx val="0"/>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1-720B-41E6-A2E1-AEDE9DDCE4F7}"/>
              </c:ext>
            </c:extLst>
          </c:dPt>
          <c:dPt>
            <c:idx val="1"/>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3-720B-41E6-A2E1-AEDE9DDCE4F7}"/>
              </c:ext>
            </c:extLst>
          </c:dPt>
          <c:dPt>
            <c:idx val="2"/>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5-720B-41E6-A2E1-AEDE9DDCE4F7}"/>
              </c:ext>
            </c:extLst>
          </c:dPt>
          <c:dPt>
            <c:idx val="3"/>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7-720B-41E6-A2E1-AEDE9DDCE4F7}"/>
              </c:ext>
            </c:extLst>
          </c:dPt>
          <c:dPt>
            <c:idx val="4"/>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9-720B-41E6-A2E1-AEDE9DDCE4F7}"/>
              </c:ext>
            </c:extLst>
          </c:dPt>
          <c:dPt>
            <c:idx val="5"/>
            <c:invertIfNegative val="0"/>
            <c:bubble3D val="0"/>
            <c:extLst xmlns:c16r2="http://schemas.microsoft.com/office/drawing/2015/06/chart">
              <c:ext xmlns:c16="http://schemas.microsoft.com/office/drawing/2014/chart" uri="{C3380CC4-5D6E-409C-BE32-E72D297353CC}">
                <c16:uniqueId val="{0000000B-720B-41E6-A2E1-AEDE9DDCE4F7}"/>
              </c:ext>
            </c:extLst>
          </c:dPt>
          <c:dPt>
            <c:idx val="6"/>
            <c:invertIfNegative val="0"/>
            <c:bubble3D val="0"/>
            <c:extLst xmlns:c16r2="http://schemas.microsoft.com/office/drawing/2015/06/chart">
              <c:ext xmlns:c16="http://schemas.microsoft.com/office/drawing/2014/chart" uri="{C3380CC4-5D6E-409C-BE32-E72D297353CC}">
                <c16:uniqueId val="{0000000D-720B-41E6-A2E1-AEDE9DDCE4F7}"/>
              </c:ext>
            </c:extLst>
          </c:dPt>
          <c:dPt>
            <c:idx val="7"/>
            <c:invertIfNegative val="0"/>
            <c:bubble3D val="0"/>
            <c:extLst xmlns:c16r2="http://schemas.microsoft.com/office/drawing/2015/06/chart">
              <c:ext xmlns:c16="http://schemas.microsoft.com/office/drawing/2014/chart" uri="{C3380CC4-5D6E-409C-BE32-E72D297353CC}">
                <c16:uniqueId val="{0000000F-720B-41E6-A2E1-AEDE9DDCE4F7}"/>
              </c:ext>
            </c:extLst>
          </c:dPt>
          <c:dPt>
            <c:idx val="8"/>
            <c:invertIfNegative val="0"/>
            <c:bubble3D val="0"/>
            <c:extLst xmlns:c16r2="http://schemas.microsoft.com/office/drawing/2015/06/chart">
              <c:ext xmlns:c16="http://schemas.microsoft.com/office/drawing/2014/chart" uri="{C3380CC4-5D6E-409C-BE32-E72D297353CC}">
                <c16:uniqueId val="{00000011-720B-41E6-A2E1-AEDE9DDCE4F7}"/>
              </c:ext>
            </c:extLst>
          </c:dPt>
          <c:dPt>
            <c:idx val="9"/>
            <c:invertIfNegative val="0"/>
            <c:bubble3D val="0"/>
            <c:extLst xmlns:c16r2="http://schemas.microsoft.com/office/drawing/2015/06/chart">
              <c:ext xmlns:c16="http://schemas.microsoft.com/office/drawing/2014/chart" uri="{C3380CC4-5D6E-409C-BE32-E72D297353CC}">
                <c16:uniqueId val="{00000013-720B-41E6-A2E1-AEDE9DDCE4F7}"/>
              </c:ext>
            </c:extLst>
          </c:dPt>
          <c:dPt>
            <c:idx val="10"/>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15-720B-41E6-A2E1-AEDE9DDCE4F7}"/>
              </c:ext>
            </c:extLst>
          </c:dPt>
          <c:dPt>
            <c:idx val="11"/>
            <c:invertIfNegative val="0"/>
            <c:bubble3D val="0"/>
            <c:extLst xmlns:c16r2="http://schemas.microsoft.com/office/drawing/2015/06/chart">
              <c:ext xmlns:c16="http://schemas.microsoft.com/office/drawing/2014/chart" uri="{C3380CC4-5D6E-409C-BE32-E72D297353CC}">
                <c16:uniqueId val="{00000017-720B-41E6-A2E1-AEDE9DDCE4F7}"/>
              </c:ext>
            </c:extLst>
          </c:dPt>
          <c:dPt>
            <c:idx val="12"/>
            <c:invertIfNegative val="0"/>
            <c:bubble3D val="0"/>
            <c:extLst xmlns:c16r2="http://schemas.microsoft.com/office/drawing/2015/06/chart">
              <c:ext xmlns:c16="http://schemas.microsoft.com/office/drawing/2014/chart" uri="{C3380CC4-5D6E-409C-BE32-E72D297353CC}">
                <c16:uniqueId val="{00000019-720B-41E6-A2E1-AEDE9DDCE4F7}"/>
              </c:ext>
            </c:extLst>
          </c:dPt>
          <c:dPt>
            <c:idx val="15"/>
            <c:invertIfNegative val="0"/>
            <c:bubble3D val="0"/>
            <c:extLst xmlns:c16r2="http://schemas.microsoft.com/office/drawing/2015/06/chart">
              <c:ext xmlns:c16="http://schemas.microsoft.com/office/drawing/2014/chart" uri="{C3380CC4-5D6E-409C-BE32-E72D297353CC}">
                <c16:uniqueId val="{00000001-E721-48FA-A520-AE6E5DAF6C43}"/>
              </c:ext>
            </c:extLst>
          </c:dPt>
          <c:dPt>
            <c:idx val="16"/>
            <c:invertIfNegative val="0"/>
            <c:bubble3D val="0"/>
            <c:extLst xmlns:c16r2="http://schemas.microsoft.com/office/drawing/2015/06/chart">
              <c:ext xmlns:c16="http://schemas.microsoft.com/office/drawing/2014/chart" uri="{C3380CC4-5D6E-409C-BE32-E72D297353CC}">
                <c16:uniqueId val="{00000003-E721-48FA-A520-AE6E5DAF6C43}"/>
              </c:ext>
            </c:extLst>
          </c:dPt>
          <c:dPt>
            <c:idx val="17"/>
            <c:invertIfNegative val="0"/>
            <c:bubble3D val="0"/>
            <c:extLst xmlns:c16r2="http://schemas.microsoft.com/office/drawing/2015/06/chart">
              <c:ext xmlns:c16="http://schemas.microsoft.com/office/drawing/2014/chart" uri="{C3380CC4-5D6E-409C-BE32-E72D297353CC}">
                <c16:uniqueId val="{00000005-E721-48FA-A520-AE6E5DAF6C43}"/>
              </c:ext>
            </c:extLst>
          </c:dPt>
          <c:dPt>
            <c:idx val="18"/>
            <c:invertIfNegative val="0"/>
            <c:bubble3D val="0"/>
            <c:extLst xmlns:c16r2="http://schemas.microsoft.com/office/drawing/2015/06/chart">
              <c:ext xmlns:c16="http://schemas.microsoft.com/office/drawing/2014/chart" uri="{C3380CC4-5D6E-409C-BE32-E72D297353CC}">
                <c16:uniqueId val="{00000007-E721-48FA-A520-AE6E5DAF6C43}"/>
              </c:ext>
            </c:extLst>
          </c:dPt>
          <c:dPt>
            <c:idx val="19"/>
            <c:invertIfNegative val="0"/>
            <c:bubble3D val="0"/>
            <c:extLst xmlns:c16r2="http://schemas.microsoft.com/office/drawing/2015/06/chart">
              <c:ext xmlns:c16="http://schemas.microsoft.com/office/drawing/2014/chart" uri="{C3380CC4-5D6E-409C-BE32-E72D297353CC}">
                <c16:uniqueId val="{00000009-E721-48FA-A520-AE6E5DAF6C43}"/>
              </c:ext>
            </c:extLst>
          </c:dPt>
          <c:dPt>
            <c:idx val="20"/>
            <c:invertIfNegative val="0"/>
            <c:bubble3D val="0"/>
            <c:extLst xmlns:c16r2="http://schemas.microsoft.com/office/drawing/2015/06/chart">
              <c:ext xmlns:c16="http://schemas.microsoft.com/office/drawing/2014/chart" uri="{C3380CC4-5D6E-409C-BE32-E72D297353CC}">
                <c16:uniqueId val="{0000000B-E721-48FA-A520-AE6E5DAF6C43}"/>
              </c:ext>
            </c:extLst>
          </c:dPt>
          <c:dPt>
            <c:idx val="21"/>
            <c:invertIfNegative val="0"/>
            <c:bubble3D val="0"/>
            <c:extLst xmlns:c16r2="http://schemas.microsoft.com/office/drawing/2015/06/chart">
              <c:ext xmlns:c16="http://schemas.microsoft.com/office/drawing/2014/chart" uri="{C3380CC4-5D6E-409C-BE32-E72D297353CC}">
                <c16:uniqueId val="{0000000D-E721-48FA-A520-AE6E5DAF6C43}"/>
              </c:ext>
            </c:extLst>
          </c:dPt>
          <c:dPt>
            <c:idx val="22"/>
            <c:invertIfNegative val="0"/>
            <c:bubble3D val="0"/>
            <c:extLst xmlns:c16r2="http://schemas.microsoft.com/office/drawing/2015/06/chart">
              <c:ext xmlns:c16="http://schemas.microsoft.com/office/drawing/2014/chart" uri="{C3380CC4-5D6E-409C-BE32-E72D297353CC}">
                <c16:uniqueId val="{0000000F-E721-48FA-A520-AE6E5DAF6C43}"/>
              </c:ext>
            </c:extLst>
          </c:dPt>
          <c:dPt>
            <c:idx val="23"/>
            <c:invertIfNegative val="0"/>
            <c:bubble3D val="0"/>
            <c:extLst xmlns:c16r2="http://schemas.microsoft.com/office/drawing/2015/06/chart">
              <c:ext xmlns:c16="http://schemas.microsoft.com/office/drawing/2014/chart" uri="{C3380CC4-5D6E-409C-BE32-E72D297353CC}">
                <c16:uniqueId val="{00000011-E721-48FA-A520-AE6E5DAF6C43}"/>
              </c:ext>
            </c:extLst>
          </c:dPt>
          <c:dPt>
            <c:idx val="24"/>
            <c:invertIfNegative val="0"/>
            <c:bubble3D val="0"/>
            <c:extLst xmlns:c16r2="http://schemas.microsoft.com/office/drawing/2015/06/chart">
              <c:ext xmlns:c16="http://schemas.microsoft.com/office/drawing/2014/chart" uri="{C3380CC4-5D6E-409C-BE32-E72D297353CC}">
                <c16:uniqueId val="{00000013-E721-48FA-A520-AE6E5DAF6C43}"/>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ustrália</c:v>
                </c:pt>
                <c:pt idx="1">
                  <c:v>UK</c:v>
                </c:pt>
                <c:pt idx="2">
                  <c:v>Alemanha</c:v>
                </c:pt>
                <c:pt idx="3">
                  <c:v>Coréia S.</c:v>
                </c:pt>
                <c:pt idx="4">
                  <c:v>EUA</c:v>
                </c:pt>
                <c:pt idx="5">
                  <c:v>Colômbia</c:v>
                </c:pt>
                <c:pt idx="6">
                  <c:v>México</c:v>
                </c:pt>
                <c:pt idx="7">
                  <c:v>África S.</c:v>
                </c:pt>
                <c:pt idx="8">
                  <c:v>Rússia</c:v>
                </c:pt>
                <c:pt idx="9">
                  <c:v>Chile</c:v>
                </c:pt>
                <c:pt idx="10">
                  <c:v>Brasil</c:v>
                </c:pt>
                <c:pt idx="11">
                  <c:v>Índia</c:v>
                </c:pt>
                <c:pt idx="12">
                  <c:v>Turquia</c:v>
                </c:pt>
              </c:strCache>
            </c:strRef>
          </c:cat>
          <c:val>
            <c:numRef>
              <c:f>Sheet1!$B$2:$B$14</c:f>
              <c:numCache>
                <c:formatCode>General</c:formatCode>
                <c:ptCount val="13"/>
                <c:pt idx="0">
                  <c:v>1</c:v>
                </c:pt>
                <c:pt idx="1">
                  <c:v>1</c:v>
                </c:pt>
                <c:pt idx="2">
                  <c:v>1.2</c:v>
                </c:pt>
                <c:pt idx="3">
                  <c:v>1.5</c:v>
                </c:pt>
                <c:pt idx="4">
                  <c:v>1.5</c:v>
                </c:pt>
                <c:pt idx="5">
                  <c:v>1.7</c:v>
                </c:pt>
                <c:pt idx="6">
                  <c:v>1.8</c:v>
                </c:pt>
                <c:pt idx="7">
                  <c:v>2</c:v>
                </c:pt>
                <c:pt idx="8">
                  <c:v>2</c:v>
                </c:pt>
                <c:pt idx="9">
                  <c:v>3.2</c:v>
                </c:pt>
                <c:pt idx="10">
                  <c:v>4</c:v>
                </c:pt>
                <c:pt idx="11">
                  <c:v>4.3</c:v>
                </c:pt>
                <c:pt idx="12">
                  <c:v>4.5</c:v>
                </c:pt>
              </c:numCache>
            </c:numRef>
          </c:val>
          <c:extLst xmlns:c16r2="http://schemas.microsoft.com/office/drawing/2015/06/chart">
            <c:ext xmlns:c16="http://schemas.microsoft.com/office/drawing/2014/chart" uri="{C3380CC4-5D6E-409C-BE32-E72D297353CC}">
              <c16:uniqueId val="{00000014-E721-48FA-A520-AE6E5DAF6C43}"/>
            </c:ext>
          </c:extLst>
        </c:ser>
        <c:dLbls>
          <c:showLegendKey val="0"/>
          <c:showVal val="0"/>
          <c:showCatName val="0"/>
          <c:showSerName val="0"/>
          <c:showPercent val="0"/>
          <c:showBubbleSize val="0"/>
        </c:dLbls>
        <c:gapWidth val="45"/>
        <c:axId val="388701032"/>
        <c:axId val="388701424"/>
      </c:barChart>
      <c:catAx>
        <c:axId val="388701032"/>
        <c:scaling>
          <c:orientation val="minMax"/>
        </c:scaling>
        <c:delete val="0"/>
        <c:axPos val="l"/>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pt-BR"/>
          </a:p>
        </c:txPr>
        <c:crossAx val="388701424"/>
        <c:crosses val="autoZero"/>
        <c:auto val="1"/>
        <c:lblAlgn val="ctr"/>
        <c:lblOffset val="0"/>
        <c:noMultiLvlLbl val="0"/>
      </c:catAx>
      <c:valAx>
        <c:axId val="388701424"/>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pt-BR"/>
          </a:p>
        </c:txPr>
        <c:crossAx val="388701032"/>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Indicador</c:v>
                </c:pt>
              </c:strCache>
            </c:strRef>
          </c:tx>
          <c:spPr>
            <a:solidFill>
              <a:schemeClr val="accent1">
                <a:lumMod val="50000"/>
              </a:schemeClr>
            </a:solidFill>
            <a:ln>
              <a:noFill/>
            </a:ln>
            <a:effectLst/>
          </c:spPr>
          <c:invertIfNegative val="0"/>
          <c:dPt>
            <c:idx val="0"/>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1-BA43-437F-B079-D2B9EF398539}"/>
              </c:ext>
            </c:extLst>
          </c:dPt>
          <c:dPt>
            <c:idx val="1"/>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3-BA43-437F-B079-D2B9EF398539}"/>
              </c:ext>
            </c:extLst>
          </c:dPt>
          <c:dPt>
            <c:idx val="2"/>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5-BA43-437F-B079-D2B9EF398539}"/>
              </c:ext>
            </c:extLst>
          </c:dPt>
          <c:dPt>
            <c:idx val="3"/>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7-BA43-437F-B079-D2B9EF398539}"/>
              </c:ext>
            </c:extLst>
          </c:dPt>
          <c:dPt>
            <c:idx val="4"/>
            <c:invertIfNegative val="0"/>
            <c:bubble3D val="0"/>
            <c:extLst xmlns:c16r2="http://schemas.microsoft.com/office/drawing/2015/06/chart">
              <c:ext xmlns:c16="http://schemas.microsoft.com/office/drawing/2014/chart" uri="{C3380CC4-5D6E-409C-BE32-E72D297353CC}">
                <c16:uniqueId val="{00000009-BA43-437F-B079-D2B9EF398539}"/>
              </c:ext>
            </c:extLst>
          </c:dPt>
          <c:dPt>
            <c:idx val="5"/>
            <c:invertIfNegative val="0"/>
            <c:bubble3D val="0"/>
            <c:extLst xmlns:c16r2="http://schemas.microsoft.com/office/drawing/2015/06/chart">
              <c:ext xmlns:c16="http://schemas.microsoft.com/office/drawing/2014/chart" uri="{C3380CC4-5D6E-409C-BE32-E72D297353CC}">
                <c16:uniqueId val="{0000000B-BA43-437F-B079-D2B9EF398539}"/>
              </c:ext>
            </c:extLst>
          </c:dPt>
          <c:dPt>
            <c:idx val="6"/>
            <c:invertIfNegative val="0"/>
            <c:bubble3D val="0"/>
            <c:extLst xmlns:c16r2="http://schemas.microsoft.com/office/drawing/2015/06/chart">
              <c:ext xmlns:c16="http://schemas.microsoft.com/office/drawing/2014/chart" uri="{C3380CC4-5D6E-409C-BE32-E72D297353CC}">
                <c16:uniqueId val="{0000000D-BA43-437F-B079-D2B9EF398539}"/>
              </c:ext>
            </c:extLst>
          </c:dPt>
          <c:dPt>
            <c:idx val="7"/>
            <c:invertIfNegative val="0"/>
            <c:bubble3D val="0"/>
            <c:spPr>
              <a:solidFill>
                <a:schemeClr val="bg1">
                  <a:lumMod val="65000"/>
                </a:schemeClr>
              </a:solidFill>
              <a:ln>
                <a:noFill/>
              </a:ln>
              <a:effectLst/>
            </c:spPr>
            <c:extLst xmlns:c16r2="http://schemas.microsoft.com/office/drawing/2015/06/chart">
              <c:ext xmlns:c16="http://schemas.microsoft.com/office/drawing/2014/chart" uri="{C3380CC4-5D6E-409C-BE32-E72D297353CC}">
                <c16:uniqueId val="{0000000F-BA43-437F-B079-D2B9EF398539}"/>
              </c:ext>
            </c:extLst>
          </c:dPt>
          <c:dPt>
            <c:idx val="8"/>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11-BA43-437F-B079-D2B9EF398539}"/>
              </c:ext>
            </c:extLst>
          </c:dPt>
          <c:dPt>
            <c:idx val="9"/>
            <c:invertIfNegative val="0"/>
            <c:bubble3D val="0"/>
            <c:extLst xmlns:c16r2="http://schemas.microsoft.com/office/drawing/2015/06/chart">
              <c:ext xmlns:c16="http://schemas.microsoft.com/office/drawing/2014/chart" uri="{C3380CC4-5D6E-409C-BE32-E72D297353CC}">
                <c16:uniqueId val="{00000013-BA43-437F-B079-D2B9EF398539}"/>
              </c:ext>
            </c:extLst>
          </c:dPt>
          <c:dPt>
            <c:idx val="10"/>
            <c:invertIfNegative val="0"/>
            <c:bubble3D val="0"/>
            <c:extLst xmlns:c16r2="http://schemas.microsoft.com/office/drawing/2015/06/chart">
              <c:ext xmlns:c16="http://schemas.microsoft.com/office/drawing/2014/chart" uri="{C3380CC4-5D6E-409C-BE32-E72D297353CC}">
                <c16:uniqueId val="{00000015-BA43-437F-B079-D2B9EF398539}"/>
              </c:ext>
            </c:extLst>
          </c:dPt>
          <c:dPt>
            <c:idx val="11"/>
            <c:invertIfNegative val="0"/>
            <c:bubble3D val="0"/>
            <c:extLst xmlns:c16r2="http://schemas.microsoft.com/office/drawing/2015/06/chart">
              <c:ext xmlns:c16="http://schemas.microsoft.com/office/drawing/2014/chart" uri="{C3380CC4-5D6E-409C-BE32-E72D297353CC}">
                <c16:uniqueId val="{00000017-BA43-437F-B079-D2B9EF398539}"/>
              </c:ext>
            </c:extLst>
          </c:dPt>
          <c:dPt>
            <c:idx val="12"/>
            <c:invertIfNegative val="0"/>
            <c:bubble3D val="0"/>
            <c:extLst xmlns:c16r2="http://schemas.microsoft.com/office/drawing/2015/06/chart">
              <c:ext xmlns:c16="http://schemas.microsoft.com/office/drawing/2014/chart" uri="{C3380CC4-5D6E-409C-BE32-E72D297353CC}">
                <c16:uniqueId val="{00000019-BA43-437F-B079-D2B9EF398539}"/>
              </c:ext>
            </c:extLst>
          </c:dPt>
          <c:dPt>
            <c:idx val="15"/>
            <c:invertIfNegative val="0"/>
            <c:bubble3D val="0"/>
            <c:extLst xmlns:c16r2="http://schemas.microsoft.com/office/drawing/2015/06/chart">
              <c:ext xmlns:c16="http://schemas.microsoft.com/office/drawing/2014/chart" uri="{C3380CC4-5D6E-409C-BE32-E72D297353CC}">
                <c16:uniqueId val="{0000001B-BA43-437F-B079-D2B9EF398539}"/>
              </c:ext>
            </c:extLst>
          </c:dPt>
          <c:dPt>
            <c:idx val="16"/>
            <c:invertIfNegative val="0"/>
            <c:bubble3D val="0"/>
            <c:extLst xmlns:c16r2="http://schemas.microsoft.com/office/drawing/2015/06/chart">
              <c:ext xmlns:c16="http://schemas.microsoft.com/office/drawing/2014/chart" uri="{C3380CC4-5D6E-409C-BE32-E72D297353CC}">
                <c16:uniqueId val="{0000001D-BA43-437F-B079-D2B9EF398539}"/>
              </c:ext>
            </c:extLst>
          </c:dPt>
          <c:dPt>
            <c:idx val="17"/>
            <c:invertIfNegative val="0"/>
            <c:bubble3D val="0"/>
            <c:extLst xmlns:c16r2="http://schemas.microsoft.com/office/drawing/2015/06/chart">
              <c:ext xmlns:c16="http://schemas.microsoft.com/office/drawing/2014/chart" uri="{C3380CC4-5D6E-409C-BE32-E72D297353CC}">
                <c16:uniqueId val="{0000001F-BA43-437F-B079-D2B9EF398539}"/>
              </c:ext>
            </c:extLst>
          </c:dPt>
          <c:dPt>
            <c:idx val="18"/>
            <c:invertIfNegative val="0"/>
            <c:bubble3D val="0"/>
            <c:extLst xmlns:c16r2="http://schemas.microsoft.com/office/drawing/2015/06/chart">
              <c:ext xmlns:c16="http://schemas.microsoft.com/office/drawing/2014/chart" uri="{C3380CC4-5D6E-409C-BE32-E72D297353CC}">
                <c16:uniqueId val="{00000021-BA43-437F-B079-D2B9EF398539}"/>
              </c:ext>
            </c:extLst>
          </c:dPt>
          <c:dPt>
            <c:idx val="19"/>
            <c:invertIfNegative val="0"/>
            <c:bubble3D val="0"/>
            <c:extLst xmlns:c16r2="http://schemas.microsoft.com/office/drawing/2015/06/chart">
              <c:ext xmlns:c16="http://schemas.microsoft.com/office/drawing/2014/chart" uri="{C3380CC4-5D6E-409C-BE32-E72D297353CC}">
                <c16:uniqueId val="{00000023-BA43-437F-B079-D2B9EF398539}"/>
              </c:ext>
            </c:extLst>
          </c:dPt>
          <c:dPt>
            <c:idx val="20"/>
            <c:invertIfNegative val="0"/>
            <c:bubble3D val="0"/>
            <c:extLst xmlns:c16r2="http://schemas.microsoft.com/office/drawing/2015/06/chart">
              <c:ext xmlns:c16="http://schemas.microsoft.com/office/drawing/2014/chart" uri="{C3380CC4-5D6E-409C-BE32-E72D297353CC}">
                <c16:uniqueId val="{00000025-BA43-437F-B079-D2B9EF398539}"/>
              </c:ext>
            </c:extLst>
          </c:dPt>
          <c:dPt>
            <c:idx val="21"/>
            <c:invertIfNegative val="0"/>
            <c:bubble3D val="0"/>
            <c:extLst xmlns:c16r2="http://schemas.microsoft.com/office/drawing/2015/06/chart">
              <c:ext xmlns:c16="http://schemas.microsoft.com/office/drawing/2014/chart" uri="{C3380CC4-5D6E-409C-BE32-E72D297353CC}">
                <c16:uniqueId val="{00000027-BA43-437F-B079-D2B9EF398539}"/>
              </c:ext>
            </c:extLst>
          </c:dPt>
          <c:dPt>
            <c:idx val="22"/>
            <c:invertIfNegative val="0"/>
            <c:bubble3D val="0"/>
            <c:extLst xmlns:c16r2="http://schemas.microsoft.com/office/drawing/2015/06/chart">
              <c:ext xmlns:c16="http://schemas.microsoft.com/office/drawing/2014/chart" uri="{C3380CC4-5D6E-409C-BE32-E72D297353CC}">
                <c16:uniqueId val="{00000029-BA43-437F-B079-D2B9EF398539}"/>
              </c:ext>
            </c:extLst>
          </c:dPt>
          <c:dPt>
            <c:idx val="23"/>
            <c:invertIfNegative val="0"/>
            <c:bubble3D val="0"/>
            <c:extLst xmlns:c16r2="http://schemas.microsoft.com/office/drawing/2015/06/chart">
              <c:ext xmlns:c16="http://schemas.microsoft.com/office/drawing/2014/chart" uri="{C3380CC4-5D6E-409C-BE32-E72D297353CC}">
                <c16:uniqueId val="{0000002B-BA43-437F-B079-D2B9EF398539}"/>
              </c:ext>
            </c:extLst>
          </c:dPt>
          <c:dPt>
            <c:idx val="24"/>
            <c:invertIfNegative val="0"/>
            <c:bubble3D val="0"/>
            <c:extLst xmlns:c16r2="http://schemas.microsoft.com/office/drawing/2015/06/chart">
              <c:ext xmlns:c16="http://schemas.microsoft.com/office/drawing/2014/chart" uri="{C3380CC4-5D6E-409C-BE32-E72D297353CC}">
                <c16:uniqueId val="{0000002D-BA43-437F-B079-D2B9EF398539}"/>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oréia S.</c:v>
                </c:pt>
                <c:pt idx="1">
                  <c:v>UK</c:v>
                </c:pt>
                <c:pt idx="2">
                  <c:v>Alemanha</c:v>
                </c:pt>
                <c:pt idx="3">
                  <c:v>Austrália</c:v>
                </c:pt>
                <c:pt idx="4">
                  <c:v>Colômbia</c:v>
                </c:pt>
                <c:pt idx="5">
                  <c:v>Índia</c:v>
                </c:pt>
                <c:pt idx="6">
                  <c:v>Rússia</c:v>
                </c:pt>
                <c:pt idx="7">
                  <c:v>EUA</c:v>
                </c:pt>
                <c:pt idx="8">
                  <c:v>Brasil</c:v>
                </c:pt>
                <c:pt idx="9">
                  <c:v>Chile</c:v>
                </c:pt>
                <c:pt idx="10">
                  <c:v>Turquia</c:v>
                </c:pt>
                <c:pt idx="11">
                  <c:v>África S.</c:v>
                </c:pt>
                <c:pt idx="12">
                  <c:v>México</c:v>
                </c:pt>
              </c:strCache>
            </c:strRef>
          </c:cat>
          <c:val>
            <c:numRef>
              <c:f>Sheet1!$B$2:$B$14</c:f>
              <c:numCache>
                <c:formatCode>0.0%</c:formatCode>
                <c:ptCount val="13"/>
                <c:pt idx="0">
                  <c:v>3.5000000000000003E-2</c:v>
                </c:pt>
                <c:pt idx="1">
                  <c:v>0.06</c:v>
                </c:pt>
                <c:pt idx="2">
                  <c:v>0.08</c:v>
                </c:pt>
                <c:pt idx="3">
                  <c:v>0.08</c:v>
                </c:pt>
                <c:pt idx="4">
                  <c:v>8.5000000000000006E-2</c:v>
                </c:pt>
                <c:pt idx="5">
                  <c:v>0.09</c:v>
                </c:pt>
                <c:pt idx="6">
                  <c:v>0.09</c:v>
                </c:pt>
                <c:pt idx="7">
                  <c:v>0.1</c:v>
                </c:pt>
                <c:pt idx="8">
                  <c:v>0.12</c:v>
                </c:pt>
                <c:pt idx="9">
                  <c:v>0.14499999999999999</c:v>
                </c:pt>
                <c:pt idx="10">
                  <c:v>0.14499999999999999</c:v>
                </c:pt>
                <c:pt idx="11">
                  <c:v>0.18</c:v>
                </c:pt>
                <c:pt idx="12">
                  <c:v>0.18</c:v>
                </c:pt>
              </c:numCache>
            </c:numRef>
          </c:val>
          <c:extLst xmlns:c16r2="http://schemas.microsoft.com/office/drawing/2015/06/chart">
            <c:ext xmlns:c16="http://schemas.microsoft.com/office/drawing/2014/chart" uri="{C3380CC4-5D6E-409C-BE32-E72D297353CC}">
              <c16:uniqueId val="{0000002E-BA43-437F-B079-D2B9EF398539}"/>
            </c:ext>
          </c:extLst>
        </c:ser>
        <c:dLbls>
          <c:showLegendKey val="0"/>
          <c:showVal val="0"/>
          <c:showCatName val="0"/>
          <c:showSerName val="0"/>
          <c:showPercent val="0"/>
          <c:showBubbleSize val="0"/>
        </c:dLbls>
        <c:gapWidth val="45"/>
        <c:axId val="388702208"/>
        <c:axId val="388702600"/>
      </c:barChart>
      <c:catAx>
        <c:axId val="388702208"/>
        <c:scaling>
          <c:orientation val="minMax"/>
        </c:scaling>
        <c:delete val="0"/>
        <c:axPos val="l"/>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pt-BR"/>
          </a:p>
        </c:txPr>
        <c:crossAx val="388702600"/>
        <c:crosses val="autoZero"/>
        <c:auto val="1"/>
        <c:lblAlgn val="ctr"/>
        <c:lblOffset val="0"/>
        <c:noMultiLvlLbl val="0"/>
      </c:catAx>
      <c:valAx>
        <c:axId val="388702600"/>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pt-BR"/>
          </a:p>
        </c:txPr>
        <c:crossAx val="38870220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596714530753884E-2"/>
          <c:y val="5.9303876280627561E-2"/>
          <c:w val="0.89926819828353399"/>
          <c:h val="0.75451771653543309"/>
        </c:manualLayout>
      </c:layout>
      <c:lineChart>
        <c:grouping val="standard"/>
        <c:varyColors val="0"/>
        <c:ser>
          <c:idx val="0"/>
          <c:order val="0"/>
          <c:tx>
            <c:strRef>
              <c:f>base_aux!$CS$2</c:f>
              <c:strCache>
                <c:ptCount val="1"/>
                <c:pt idx="0">
                  <c:v> Total</c:v>
                </c:pt>
              </c:strCache>
            </c:strRef>
          </c:tx>
          <c:marker>
            <c:symbol val="none"/>
          </c:marker>
          <c:dLbls>
            <c:dLbl>
              <c:idx val="64"/>
              <c:layout>
                <c:manualLayout>
                  <c:x val="0"/>
                  <c:y val="-4.7419702326241368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base_aux!$B$3:$B$89</c:f>
              <c:numCache>
                <c:formatCode>mmm\-yy</c:formatCode>
                <c:ptCount val="65"/>
                <c:pt idx="0">
                  <c:v>40877</c:v>
                </c:pt>
                <c:pt idx="1">
                  <c:v>40908</c:v>
                </c:pt>
                <c:pt idx="2">
                  <c:v>40939</c:v>
                </c:pt>
                <c:pt idx="3">
                  <c:v>40968</c:v>
                </c:pt>
                <c:pt idx="4">
                  <c:v>40999</c:v>
                </c:pt>
                <c:pt idx="5">
                  <c:v>41029</c:v>
                </c:pt>
                <c:pt idx="6">
                  <c:v>41060</c:v>
                </c:pt>
                <c:pt idx="7">
                  <c:v>41090</c:v>
                </c:pt>
                <c:pt idx="8">
                  <c:v>41121</c:v>
                </c:pt>
                <c:pt idx="9">
                  <c:v>41152</c:v>
                </c:pt>
                <c:pt idx="10">
                  <c:v>41182</c:v>
                </c:pt>
                <c:pt idx="11">
                  <c:v>41213</c:v>
                </c:pt>
                <c:pt idx="12">
                  <c:v>41243</c:v>
                </c:pt>
                <c:pt idx="13">
                  <c:v>41274</c:v>
                </c:pt>
                <c:pt idx="14">
                  <c:v>41305</c:v>
                </c:pt>
                <c:pt idx="15">
                  <c:v>41333</c:v>
                </c:pt>
                <c:pt idx="16">
                  <c:v>41364</c:v>
                </c:pt>
                <c:pt idx="17">
                  <c:v>41394</c:v>
                </c:pt>
                <c:pt idx="18">
                  <c:v>41425</c:v>
                </c:pt>
                <c:pt idx="19">
                  <c:v>41455</c:v>
                </c:pt>
                <c:pt idx="20">
                  <c:v>41486</c:v>
                </c:pt>
                <c:pt idx="21">
                  <c:v>41517</c:v>
                </c:pt>
                <c:pt idx="22">
                  <c:v>41547</c:v>
                </c:pt>
                <c:pt idx="23">
                  <c:v>41578</c:v>
                </c:pt>
                <c:pt idx="24">
                  <c:v>41608</c:v>
                </c:pt>
                <c:pt idx="25">
                  <c:v>41639</c:v>
                </c:pt>
                <c:pt idx="26">
                  <c:v>41670</c:v>
                </c:pt>
                <c:pt idx="27">
                  <c:v>41698</c:v>
                </c:pt>
                <c:pt idx="28">
                  <c:v>41729</c:v>
                </c:pt>
                <c:pt idx="29">
                  <c:v>41759</c:v>
                </c:pt>
                <c:pt idx="30">
                  <c:v>41790</c:v>
                </c:pt>
                <c:pt idx="31">
                  <c:v>41820</c:v>
                </c:pt>
                <c:pt idx="32">
                  <c:v>41851</c:v>
                </c:pt>
                <c:pt idx="33">
                  <c:v>41882</c:v>
                </c:pt>
                <c:pt idx="34">
                  <c:v>41912</c:v>
                </c:pt>
                <c:pt idx="35">
                  <c:v>41943</c:v>
                </c:pt>
                <c:pt idx="36">
                  <c:v>41973</c:v>
                </c:pt>
                <c:pt idx="37">
                  <c:v>42004</c:v>
                </c:pt>
                <c:pt idx="38">
                  <c:v>42035</c:v>
                </c:pt>
                <c:pt idx="39">
                  <c:v>42063</c:v>
                </c:pt>
                <c:pt idx="40">
                  <c:v>42094</c:v>
                </c:pt>
                <c:pt idx="41">
                  <c:v>42124</c:v>
                </c:pt>
                <c:pt idx="42">
                  <c:v>42155</c:v>
                </c:pt>
                <c:pt idx="43">
                  <c:v>42185</c:v>
                </c:pt>
                <c:pt idx="44">
                  <c:v>42216</c:v>
                </c:pt>
                <c:pt idx="45">
                  <c:v>42247</c:v>
                </c:pt>
                <c:pt idx="46">
                  <c:v>42277</c:v>
                </c:pt>
                <c:pt idx="47">
                  <c:v>42308</c:v>
                </c:pt>
                <c:pt idx="48">
                  <c:v>42338</c:v>
                </c:pt>
                <c:pt idx="49">
                  <c:v>42369</c:v>
                </c:pt>
                <c:pt idx="50">
                  <c:v>42400</c:v>
                </c:pt>
                <c:pt idx="51">
                  <c:v>42429</c:v>
                </c:pt>
                <c:pt idx="52">
                  <c:v>42460</c:v>
                </c:pt>
                <c:pt idx="53">
                  <c:v>42490</c:v>
                </c:pt>
                <c:pt idx="54">
                  <c:v>42521</c:v>
                </c:pt>
                <c:pt idx="55">
                  <c:v>42551</c:v>
                </c:pt>
                <c:pt idx="56">
                  <c:v>42582</c:v>
                </c:pt>
                <c:pt idx="57">
                  <c:v>42613</c:v>
                </c:pt>
                <c:pt idx="58">
                  <c:v>42643</c:v>
                </c:pt>
                <c:pt idx="59">
                  <c:v>42674</c:v>
                </c:pt>
                <c:pt idx="60">
                  <c:v>42704</c:v>
                </c:pt>
                <c:pt idx="61">
                  <c:v>42735</c:v>
                </c:pt>
                <c:pt idx="62">
                  <c:v>42766</c:v>
                </c:pt>
                <c:pt idx="63">
                  <c:v>42794</c:v>
                </c:pt>
                <c:pt idx="64">
                  <c:v>42825</c:v>
                </c:pt>
              </c:numCache>
            </c:numRef>
          </c:cat>
          <c:val>
            <c:numRef>
              <c:f>base_aux!$CS$3:$CS$89</c:f>
              <c:numCache>
                <c:formatCode>#,##0.0</c:formatCode>
                <c:ptCount val="65"/>
                <c:pt idx="0">
                  <c:v>18.7</c:v>
                </c:pt>
                <c:pt idx="1">
                  <c:v>17.8</c:v>
                </c:pt>
                <c:pt idx="2">
                  <c:v>18.7</c:v>
                </c:pt>
                <c:pt idx="3">
                  <c:v>19.100000000000001</c:v>
                </c:pt>
                <c:pt idx="4">
                  <c:v>18.899999999999999</c:v>
                </c:pt>
                <c:pt idx="5">
                  <c:v>18.600000000000001</c:v>
                </c:pt>
                <c:pt idx="6">
                  <c:v>17.399999999999999</c:v>
                </c:pt>
                <c:pt idx="7">
                  <c:v>16.8</c:v>
                </c:pt>
                <c:pt idx="8">
                  <c:v>16.8</c:v>
                </c:pt>
                <c:pt idx="9">
                  <c:v>16.3</c:v>
                </c:pt>
                <c:pt idx="10">
                  <c:v>16.100000000000001</c:v>
                </c:pt>
                <c:pt idx="11">
                  <c:v>15.7</c:v>
                </c:pt>
                <c:pt idx="12">
                  <c:v>15.5</c:v>
                </c:pt>
                <c:pt idx="13">
                  <c:v>14.5</c:v>
                </c:pt>
                <c:pt idx="14">
                  <c:v>15</c:v>
                </c:pt>
                <c:pt idx="15">
                  <c:v>15</c:v>
                </c:pt>
                <c:pt idx="16">
                  <c:v>14.6</c:v>
                </c:pt>
                <c:pt idx="17">
                  <c:v>14.6</c:v>
                </c:pt>
                <c:pt idx="18">
                  <c:v>14.1</c:v>
                </c:pt>
                <c:pt idx="19">
                  <c:v>13.8</c:v>
                </c:pt>
                <c:pt idx="20">
                  <c:v>14.2</c:v>
                </c:pt>
                <c:pt idx="21">
                  <c:v>14.1</c:v>
                </c:pt>
                <c:pt idx="22">
                  <c:v>14</c:v>
                </c:pt>
                <c:pt idx="23">
                  <c:v>14.3</c:v>
                </c:pt>
                <c:pt idx="24">
                  <c:v>14.3</c:v>
                </c:pt>
                <c:pt idx="25">
                  <c:v>13.8</c:v>
                </c:pt>
                <c:pt idx="26">
                  <c:v>14.5</c:v>
                </c:pt>
                <c:pt idx="27">
                  <c:v>15.2</c:v>
                </c:pt>
                <c:pt idx="28">
                  <c:v>15.3</c:v>
                </c:pt>
                <c:pt idx="29">
                  <c:v>15.3</c:v>
                </c:pt>
                <c:pt idx="30">
                  <c:v>15.5</c:v>
                </c:pt>
                <c:pt idx="31">
                  <c:v>15.5</c:v>
                </c:pt>
                <c:pt idx="32">
                  <c:v>15.8</c:v>
                </c:pt>
                <c:pt idx="33">
                  <c:v>15.6</c:v>
                </c:pt>
                <c:pt idx="34">
                  <c:v>15.4</c:v>
                </c:pt>
                <c:pt idx="35">
                  <c:v>15.7</c:v>
                </c:pt>
                <c:pt idx="36">
                  <c:v>15.5</c:v>
                </c:pt>
                <c:pt idx="37">
                  <c:v>14.92</c:v>
                </c:pt>
                <c:pt idx="38">
                  <c:v>15.99</c:v>
                </c:pt>
                <c:pt idx="39">
                  <c:v>16.64</c:v>
                </c:pt>
                <c:pt idx="40">
                  <c:v>16.45</c:v>
                </c:pt>
                <c:pt idx="41">
                  <c:v>17.13</c:v>
                </c:pt>
                <c:pt idx="42">
                  <c:v>17.440000000000001</c:v>
                </c:pt>
                <c:pt idx="43">
                  <c:v>17.760000000000002</c:v>
                </c:pt>
                <c:pt idx="44">
                  <c:v>18.420000000000002</c:v>
                </c:pt>
                <c:pt idx="45">
                  <c:v>18.829999999999998</c:v>
                </c:pt>
                <c:pt idx="46">
                  <c:v>18.440000000000001</c:v>
                </c:pt>
                <c:pt idx="47">
                  <c:v>19.45</c:v>
                </c:pt>
                <c:pt idx="48">
                  <c:v>19.399999999999999</c:v>
                </c:pt>
                <c:pt idx="49">
                  <c:v>18.61</c:v>
                </c:pt>
                <c:pt idx="50">
                  <c:v>20.059999999999999</c:v>
                </c:pt>
                <c:pt idx="51">
                  <c:v>20.8</c:v>
                </c:pt>
                <c:pt idx="52">
                  <c:v>21.6</c:v>
                </c:pt>
                <c:pt idx="53">
                  <c:v>22.3</c:v>
                </c:pt>
                <c:pt idx="54">
                  <c:v>22.75</c:v>
                </c:pt>
                <c:pt idx="55">
                  <c:v>22.62</c:v>
                </c:pt>
                <c:pt idx="56">
                  <c:v>23.13</c:v>
                </c:pt>
                <c:pt idx="57">
                  <c:v>23.16</c:v>
                </c:pt>
                <c:pt idx="58">
                  <c:v>23.37</c:v>
                </c:pt>
                <c:pt idx="59">
                  <c:v>23.91</c:v>
                </c:pt>
                <c:pt idx="60">
                  <c:v>23.47</c:v>
                </c:pt>
                <c:pt idx="61">
                  <c:v>22.7</c:v>
                </c:pt>
                <c:pt idx="62">
                  <c:v>23.9</c:v>
                </c:pt>
                <c:pt idx="63">
                  <c:v>24</c:v>
                </c:pt>
                <c:pt idx="64">
                  <c:v>23.9</c:v>
                </c:pt>
              </c:numCache>
            </c:numRef>
          </c:val>
          <c:smooth val="0"/>
        </c:ser>
        <c:ser>
          <c:idx val="1"/>
          <c:order val="1"/>
          <c:tx>
            <c:strRef>
              <c:f>base_aux!$CT$2</c:f>
              <c:strCache>
                <c:ptCount val="1"/>
                <c:pt idx="0">
                  <c:v> Pessoas físicas </c:v>
                </c:pt>
              </c:strCache>
            </c:strRef>
          </c:tx>
          <c:marker>
            <c:symbol val="none"/>
          </c:marker>
          <c:dLbls>
            <c:dLbl>
              <c:idx val="64"/>
              <c:layout>
                <c:manualLayout>
                  <c:x val="-5.2227331179264353E-3"/>
                  <c:y val="-5.1371344186761418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base_aux!$B$3:$B$89</c:f>
              <c:numCache>
                <c:formatCode>mmm\-yy</c:formatCode>
                <c:ptCount val="65"/>
                <c:pt idx="0">
                  <c:v>40877</c:v>
                </c:pt>
                <c:pt idx="1">
                  <c:v>40908</c:v>
                </c:pt>
                <c:pt idx="2">
                  <c:v>40939</c:v>
                </c:pt>
                <c:pt idx="3">
                  <c:v>40968</c:v>
                </c:pt>
                <c:pt idx="4">
                  <c:v>40999</c:v>
                </c:pt>
                <c:pt idx="5">
                  <c:v>41029</c:v>
                </c:pt>
                <c:pt idx="6">
                  <c:v>41060</c:v>
                </c:pt>
                <c:pt idx="7">
                  <c:v>41090</c:v>
                </c:pt>
                <c:pt idx="8">
                  <c:v>41121</c:v>
                </c:pt>
                <c:pt idx="9">
                  <c:v>41152</c:v>
                </c:pt>
                <c:pt idx="10">
                  <c:v>41182</c:v>
                </c:pt>
                <c:pt idx="11">
                  <c:v>41213</c:v>
                </c:pt>
                <c:pt idx="12">
                  <c:v>41243</c:v>
                </c:pt>
                <c:pt idx="13">
                  <c:v>41274</c:v>
                </c:pt>
                <c:pt idx="14">
                  <c:v>41305</c:v>
                </c:pt>
                <c:pt idx="15">
                  <c:v>41333</c:v>
                </c:pt>
                <c:pt idx="16">
                  <c:v>41364</c:v>
                </c:pt>
                <c:pt idx="17">
                  <c:v>41394</c:v>
                </c:pt>
                <c:pt idx="18">
                  <c:v>41425</c:v>
                </c:pt>
                <c:pt idx="19">
                  <c:v>41455</c:v>
                </c:pt>
                <c:pt idx="20">
                  <c:v>41486</c:v>
                </c:pt>
                <c:pt idx="21">
                  <c:v>41517</c:v>
                </c:pt>
                <c:pt idx="22">
                  <c:v>41547</c:v>
                </c:pt>
                <c:pt idx="23">
                  <c:v>41578</c:v>
                </c:pt>
                <c:pt idx="24">
                  <c:v>41608</c:v>
                </c:pt>
                <c:pt idx="25">
                  <c:v>41639</c:v>
                </c:pt>
                <c:pt idx="26">
                  <c:v>41670</c:v>
                </c:pt>
                <c:pt idx="27">
                  <c:v>41698</c:v>
                </c:pt>
                <c:pt idx="28">
                  <c:v>41729</c:v>
                </c:pt>
                <c:pt idx="29">
                  <c:v>41759</c:v>
                </c:pt>
                <c:pt idx="30">
                  <c:v>41790</c:v>
                </c:pt>
                <c:pt idx="31">
                  <c:v>41820</c:v>
                </c:pt>
                <c:pt idx="32">
                  <c:v>41851</c:v>
                </c:pt>
                <c:pt idx="33">
                  <c:v>41882</c:v>
                </c:pt>
                <c:pt idx="34">
                  <c:v>41912</c:v>
                </c:pt>
                <c:pt idx="35">
                  <c:v>41943</c:v>
                </c:pt>
                <c:pt idx="36">
                  <c:v>41973</c:v>
                </c:pt>
                <c:pt idx="37">
                  <c:v>42004</c:v>
                </c:pt>
                <c:pt idx="38">
                  <c:v>42035</c:v>
                </c:pt>
                <c:pt idx="39">
                  <c:v>42063</c:v>
                </c:pt>
                <c:pt idx="40">
                  <c:v>42094</c:v>
                </c:pt>
                <c:pt idx="41">
                  <c:v>42124</c:v>
                </c:pt>
                <c:pt idx="42">
                  <c:v>42155</c:v>
                </c:pt>
                <c:pt idx="43">
                  <c:v>42185</c:v>
                </c:pt>
                <c:pt idx="44">
                  <c:v>42216</c:v>
                </c:pt>
                <c:pt idx="45">
                  <c:v>42247</c:v>
                </c:pt>
                <c:pt idx="46">
                  <c:v>42277</c:v>
                </c:pt>
                <c:pt idx="47">
                  <c:v>42308</c:v>
                </c:pt>
                <c:pt idx="48">
                  <c:v>42338</c:v>
                </c:pt>
                <c:pt idx="49">
                  <c:v>42369</c:v>
                </c:pt>
                <c:pt idx="50">
                  <c:v>42400</c:v>
                </c:pt>
                <c:pt idx="51">
                  <c:v>42429</c:v>
                </c:pt>
                <c:pt idx="52">
                  <c:v>42460</c:v>
                </c:pt>
                <c:pt idx="53">
                  <c:v>42490</c:v>
                </c:pt>
                <c:pt idx="54">
                  <c:v>42521</c:v>
                </c:pt>
                <c:pt idx="55">
                  <c:v>42551</c:v>
                </c:pt>
                <c:pt idx="56">
                  <c:v>42582</c:v>
                </c:pt>
                <c:pt idx="57">
                  <c:v>42613</c:v>
                </c:pt>
                <c:pt idx="58">
                  <c:v>42643</c:v>
                </c:pt>
                <c:pt idx="59">
                  <c:v>42674</c:v>
                </c:pt>
                <c:pt idx="60">
                  <c:v>42704</c:v>
                </c:pt>
                <c:pt idx="61">
                  <c:v>42735</c:v>
                </c:pt>
                <c:pt idx="62">
                  <c:v>42766</c:v>
                </c:pt>
                <c:pt idx="63">
                  <c:v>42794</c:v>
                </c:pt>
                <c:pt idx="64">
                  <c:v>42825</c:v>
                </c:pt>
              </c:numCache>
            </c:numRef>
          </c:cat>
          <c:val>
            <c:numRef>
              <c:f>base_aux!$CT$3:$CT$89</c:f>
              <c:numCache>
                <c:formatCode>#,##0.0</c:formatCode>
                <c:ptCount val="65"/>
                <c:pt idx="0">
                  <c:v>27.9</c:v>
                </c:pt>
                <c:pt idx="1">
                  <c:v>26</c:v>
                </c:pt>
                <c:pt idx="2">
                  <c:v>26.9</c:v>
                </c:pt>
                <c:pt idx="3">
                  <c:v>27.5</c:v>
                </c:pt>
                <c:pt idx="4">
                  <c:v>27.4</c:v>
                </c:pt>
                <c:pt idx="5">
                  <c:v>27</c:v>
                </c:pt>
                <c:pt idx="6">
                  <c:v>25.6</c:v>
                </c:pt>
                <c:pt idx="7">
                  <c:v>25.1</c:v>
                </c:pt>
                <c:pt idx="8">
                  <c:v>24.9</c:v>
                </c:pt>
                <c:pt idx="9">
                  <c:v>24</c:v>
                </c:pt>
                <c:pt idx="10">
                  <c:v>24.1</c:v>
                </c:pt>
                <c:pt idx="11">
                  <c:v>23.5</c:v>
                </c:pt>
                <c:pt idx="12">
                  <c:v>23</c:v>
                </c:pt>
                <c:pt idx="13">
                  <c:v>21.7</c:v>
                </c:pt>
                <c:pt idx="14">
                  <c:v>21.7</c:v>
                </c:pt>
                <c:pt idx="15">
                  <c:v>22</c:v>
                </c:pt>
                <c:pt idx="16">
                  <c:v>21.5</c:v>
                </c:pt>
                <c:pt idx="17">
                  <c:v>21.3</c:v>
                </c:pt>
                <c:pt idx="18">
                  <c:v>20.9</c:v>
                </c:pt>
                <c:pt idx="19">
                  <c:v>20.3</c:v>
                </c:pt>
                <c:pt idx="20">
                  <c:v>20.7</c:v>
                </c:pt>
                <c:pt idx="21">
                  <c:v>20.399999999999999</c:v>
                </c:pt>
                <c:pt idx="22">
                  <c:v>20.399999999999999</c:v>
                </c:pt>
                <c:pt idx="23">
                  <c:v>21</c:v>
                </c:pt>
                <c:pt idx="24">
                  <c:v>20.8</c:v>
                </c:pt>
                <c:pt idx="25">
                  <c:v>20</c:v>
                </c:pt>
                <c:pt idx="26">
                  <c:v>20.7</c:v>
                </c:pt>
                <c:pt idx="27">
                  <c:v>22</c:v>
                </c:pt>
                <c:pt idx="28">
                  <c:v>22.1</c:v>
                </c:pt>
                <c:pt idx="29">
                  <c:v>22.1</c:v>
                </c:pt>
                <c:pt idx="30">
                  <c:v>22.2</c:v>
                </c:pt>
                <c:pt idx="31">
                  <c:v>22.6</c:v>
                </c:pt>
                <c:pt idx="32">
                  <c:v>22.7</c:v>
                </c:pt>
                <c:pt idx="33">
                  <c:v>22.5</c:v>
                </c:pt>
                <c:pt idx="34">
                  <c:v>22.2</c:v>
                </c:pt>
                <c:pt idx="35">
                  <c:v>22.6</c:v>
                </c:pt>
                <c:pt idx="36">
                  <c:v>22.5</c:v>
                </c:pt>
                <c:pt idx="37">
                  <c:v>21.53</c:v>
                </c:pt>
                <c:pt idx="38">
                  <c:v>22.82</c:v>
                </c:pt>
                <c:pt idx="39">
                  <c:v>23.7</c:v>
                </c:pt>
                <c:pt idx="40">
                  <c:v>23.47</c:v>
                </c:pt>
                <c:pt idx="41">
                  <c:v>24.44</c:v>
                </c:pt>
                <c:pt idx="42">
                  <c:v>24.88</c:v>
                </c:pt>
                <c:pt idx="43">
                  <c:v>25.21</c:v>
                </c:pt>
                <c:pt idx="44">
                  <c:v>26.05</c:v>
                </c:pt>
                <c:pt idx="45">
                  <c:v>26.53</c:v>
                </c:pt>
                <c:pt idx="46">
                  <c:v>26.33</c:v>
                </c:pt>
                <c:pt idx="47">
                  <c:v>27.43</c:v>
                </c:pt>
                <c:pt idx="48">
                  <c:v>27.44</c:v>
                </c:pt>
                <c:pt idx="49">
                  <c:v>26.66</c:v>
                </c:pt>
                <c:pt idx="50">
                  <c:v>27.98</c:v>
                </c:pt>
                <c:pt idx="51">
                  <c:v>28.92</c:v>
                </c:pt>
                <c:pt idx="52">
                  <c:v>30.17</c:v>
                </c:pt>
                <c:pt idx="53">
                  <c:v>31.39</c:v>
                </c:pt>
                <c:pt idx="54">
                  <c:v>32.11</c:v>
                </c:pt>
                <c:pt idx="55">
                  <c:v>31.89</c:v>
                </c:pt>
                <c:pt idx="56">
                  <c:v>32.17</c:v>
                </c:pt>
                <c:pt idx="57">
                  <c:v>32.159999999999997</c:v>
                </c:pt>
                <c:pt idx="58">
                  <c:v>32.909999999999997</c:v>
                </c:pt>
                <c:pt idx="59">
                  <c:v>33.479999999999997</c:v>
                </c:pt>
                <c:pt idx="60">
                  <c:v>33.6</c:v>
                </c:pt>
                <c:pt idx="61">
                  <c:v>32.4</c:v>
                </c:pt>
                <c:pt idx="62" formatCode="0.0_)">
                  <c:v>33.1</c:v>
                </c:pt>
                <c:pt idx="63" formatCode="0.0_)">
                  <c:v>33.5</c:v>
                </c:pt>
                <c:pt idx="64" formatCode="0.0_)">
                  <c:v>33.200000000000003</c:v>
                </c:pt>
              </c:numCache>
            </c:numRef>
          </c:val>
          <c:smooth val="0"/>
        </c:ser>
        <c:ser>
          <c:idx val="2"/>
          <c:order val="2"/>
          <c:tx>
            <c:strRef>
              <c:f>base_aux!$CU$2</c:f>
              <c:strCache>
                <c:ptCount val="1"/>
                <c:pt idx="0">
                  <c:v> Pessoas jurídicas </c:v>
                </c:pt>
              </c:strCache>
            </c:strRef>
          </c:tx>
          <c:marker>
            <c:symbol val="none"/>
          </c:marker>
          <c:dLbls>
            <c:dLbl>
              <c:idx val="63"/>
              <c:layout>
                <c:manualLayout>
                  <c:x val="-1.0445466235852871E-2"/>
                  <c:y val="-5.9274627907801664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base_aux!$B$3:$B$89</c:f>
              <c:numCache>
                <c:formatCode>mmm\-yy</c:formatCode>
                <c:ptCount val="65"/>
                <c:pt idx="0">
                  <c:v>40877</c:v>
                </c:pt>
                <c:pt idx="1">
                  <c:v>40908</c:v>
                </c:pt>
                <c:pt idx="2">
                  <c:v>40939</c:v>
                </c:pt>
                <c:pt idx="3">
                  <c:v>40968</c:v>
                </c:pt>
                <c:pt idx="4">
                  <c:v>40999</c:v>
                </c:pt>
                <c:pt idx="5">
                  <c:v>41029</c:v>
                </c:pt>
                <c:pt idx="6">
                  <c:v>41060</c:v>
                </c:pt>
                <c:pt idx="7">
                  <c:v>41090</c:v>
                </c:pt>
                <c:pt idx="8">
                  <c:v>41121</c:v>
                </c:pt>
                <c:pt idx="9">
                  <c:v>41152</c:v>
                </c:pt>
                <c:pt idx="10">
                  <c:v>41182</c:v>
                </c:pt>
                <c:pt idx="11">
                  <c:v>41213</c:v>
                </c:pt>
                <c:pt idx="12">
                  <c:v>41243</c:v>
                </c:pt>
                <c:pt idx="13">
                  <c:v>41274</c:v>
                </c:pt>
                <c:pt idx="14">
                  <c:v>41305</c:v>
                </c:pt>
                <c:pt idx="15">
                  <c:v>41333</c:v>
                </c:pt>
                <c:pt idx="16">
                  <c:v>41364</c:v>
                </c:pt>
                <c:pt idx="17">
                  <c:v>41394</c:v>
                </c:pt>
                <c:pt idx="18">
                  <c:v>41425</c:v>
                </c:pt>
                <c:pt idx="19">
                  <c:v>41455</c:v>
                </c:pt>
                <c:pt idx="20">
                  <c:v>41486</c:v>
                </c:pt>
                <c:pt idx="21">
                  <c:v>41517</c:v>
                </c:pt>
                <c:pt idx="22">
                  <c:v>41547</c:v>
                </c:pt>
                <c:pt idx="23">
                  <c:v>41578</c:v>
                </c:pt>
                <c:pt idx="24">
                  <c:v>41608</c:v>
                </c:pt>
                <c:pt idx="25">
                  <c:v>41639</c:v>
                </c:pt>
                <c:pt idx="26">
                  <c:v>41670</c:v>
                </c:pt>
                <c:pt idx="27">
                  <c:v>41698</c:v>
                </c:pt>
                <c:pt idx="28">
                  <c:v>41729</c:v>
                </c:pt>
                <c:pt idx="29">
                  <c:v>41759</c:v>
                </c:pt>
                <c:pt idx="30">
                  <c:v>41790</c:v>
                </c:pt>
                <c:pt idx="31">
                  <c:v>41820</c:v>
                </c:pt>
                <c:pt idx="32">
                  <c:v>41851</c:v>
                </c:pt>
                <c:pt idx="33">
                  <c:v>41882</c:v>
                </c:pt>
                <c:pt idx="34">
                  <c:v>41912</c:v>
                </c:pt>
                <c:pt idx="35">
                  <c:v>41943</c:v>
                </c:pt>
                <c:pt idx="36">
                  <c:v>41973</c:v>
                </c:pt>
                <c:pt idx="37">
                  <c:v>42004</c:v>
                </c:pt>
                <c:pt idx="38">
                  <c:v>42035</c:v>
                </c:pt>
                <c:pt idx="39">
                  <c:v>42063</c:v>
                </c:pt>
                <c:pt idx="40">
                  <c:v>42094</c:v>
                </c:pt>
                <c:pt idx="41">
                  <c:v>42124</c:v>
                </c:pt>
                <c:pt idx="42">
                  <c:v>42155</c:v>
                </c:pt>
                <c:pt idx="43">
                  <c:v>42185</c:v>
                </c:pt>
                <c:pt idx="44">
                  <c:v>42216</c:v>
                </c:pt>
                <c:pt idx="45">
                  <c:v>42247</c:v>
                </c:pt>
                <c:pt idx="46">
                  <c:v>42277</c:v>
                </c:pt>
                <c:pt idx="47">
                  <c:v>42308</c:v>
                </c:pt>
                <c:pt idx="48">
                  <c:v>42338</c:v>
                </c:pt>
                <c:pt idx="49">
                  <c:v>42369</c:v>
                </c:pt>
                <c:pt idx="50">
                  <c:v>42400</c:v>
                </c:pt>
                <c:pt idx="51">
                  <c:v>42429</c:v>
                </c:pt>
                <c:pt idx="52">
                  <c:v>42460</c:v>
                </c:pt>
                <c:pt idx="53">
                  <c:v>42490</c:v>
                </c:pt>
                <c:pt idx="54">
                  <c:v>42521</c:v>
                </c:pt>
                <c:pt idx="55">
                  <c:v>42551</c:v>
                </c:pt>
                <c:pt idx="56">
                  <c:v>42582</c:v>
                </c:pt>
                <c:pt idx="57">
                  <c:v>42613</c:v>
                </c:pt>
                <c:pt idx="58">
                  <c:v>42643</c:v>
                </c:pt>
                <c:pt idx="59">
                  <c:v>42674</c:v>
                </c:pt>
                <c:pt idx="60">
                  <c:v>42704</c:v>
                </c:pt>
                <c:pt idx="61">
                  <c:v>42735</c:v>
                </c:pt>
                <c:pt idx="62">
                  <c:v>42766</c:v>
                </c:pt>
                <c:pt idx="63">
                  <c:v>42794</c:v>
                </c:pt>
                <c:pt idx="64">
                  <c:v>42825</c:v>
                </c:pt>
              </c:numCache>
            </c:numRef>
          </c:cat>
          <c:val>
            <c:numRef>
              <c:f>base_aux!$CU$3:$CU$89</c:f>
              <c:numCache>
                <c:formatCode>#,##0.0</c:formatCode>
                <c:ptCount val="65"/>
                <c:pt idx="0">
                  <c:v>10.5</c:v>
                </c:pt>
                <c:pt idx="1">
                  <c:v>10</c:v>
                </c:pt>
                <c:pt idx="2">
                  <c:v>11</c:v>
                </c:pt>
                <c:pt idx="3">
                  <c:v>11</c:v>
                </c:pt>
                <c:pt idx="4">
                  <c:v>10.8</c:v>
                </c:pt>
                <c:pt idx="5">
                  <c:v>10.6</c:v>
                </c:pt>
                <c:pt idx="6">
                  <c:v>9.6999999999999993</c:v>
                </c:pt>
                <c:pt idx="7">
                  <c:v>8.9</c:v>
                </c:pt>
                <c:pt idx="8">
                  <c:v>9</c:v>
                </c:pt>
                <c:pt idx="9">
                  <c:v>8.9</c:v>
                </c:pt>
                <c:pt idx="10">
                  <c:v>8.5</c:v>
                </c:pt>
                <c:pt idx="11">
                  <c:v>8.1999999999999993</c:v>
                </c:pt>
                <c:pt idx="12">
                  <c:v>8.4</c:v>
                </c:pt>
                <c:pt idx="13">
                  <c:v>7.5</c:v>
                </c:pt>
                <c:pt idx="14">
                  <c:v>8.5</c:v>
                </c:pt>
                <c:pt idx="15">
                  <c:v>8.1999999999999993</c:v>
                </c:pt>
                <c:pt idx="16">
                  <c:v>8</c:v>
                </c:pt>
                <c:pt idx="17">
                  <c:v>8</c:v>
                </c:pt>
                <c:pt idx="18">
                  <c:v>7.4</c:v>
                </c:pt>
                <c:pt idx="19">
                  <c:v>7.4</c:v>
                </c:pt>
                <c:pt idx="20">
                  <c:v>7.7</c:v>
                </c:pt>
                <c:pt idx="21">
                  <c:v>7.7</c:v>
                </c:pt>
                <c:pt idx="22">
                  <c:v>7.6</c:v>
                </c:pt>
                <c:pt idx="23">
                  <c:v>7.6</c:v>
                </c:pt>
                <c:pt idx="24">
                  <c:v>7.7</c:v>
                </c:pt>
                <c:pt idx="25">
                  <c:v>7.5</c:v>
                </c:pt>
                <c:pt idx="26">
                  <c:v>8.1999999999999993</c:v>
                </c:pt>
                <c:pt idx="27">
                  <c:v>8.4</c:v>
                </c:pt>
                <c:pt idx="28">
                  <c:v>8.3000000000000007</c:v>
                </c:pt>
                <c:pt idx="29">
                  <c:v>8.5</c:v>
                </c:pt>
                <c:pt idx="30">
                  <c:v>8.6999999999999993</c:v>
                </c:pt>
                <c:pt idx="31">
                  <c:v>8.3000000000000007</c:v>
                </c:pt>
                <c:pt idx="32">
                  <c:v>8.8000000000000007</c:v>
                </c:pt>
                <c:pt idx="33">
                  <c:v>8.4</c:v>
                </c:pt>
                <c:pt idx="34">
                  <c:v>8.4</c:v>
                </c:pt>
                <c:pt idx="35">
                  <c:v>8.4</c:v>
                </c:pt>
                <c:pt idx="36">
                  <c:v>8.3000000000000007</c:v>
                </c:pt>
                <c:pt idx="37">
                  <c:v>8.0500000000000007</c:v>
                </c:pt>
                <c:pt idx="38">
                  <c:v>8.81</c:v>
                </c:pt>
                <c:pt idx="39">
                  <c:v>9.1999999999999993</c:v>
                </c:pt>
                <c:pt idx="40">
                  <c:v>8.99</c:v>
                </c:pt>
                <c:pt idx="41">
                  <c:v>9.33</c:v>
                </c:pt>
                <c:pt idx="42">
                  <c:v>9.4700000000000006</c:v>
                </c:pt>
                <c:pt idx="43">
                  <c:v>9.77</c:v>
                </c:pt>
                <c:pt idx="44">
                  <c:v>10.16</c:v>
                </c:pt>
                <c:pt idx="45">
                  <c:v>10.46</c:v>
                </c:pt>
                <c:pt idx="46">
                  <c:v>9.86</c:v>
                </c:pt>
                <c:pt idx="47">
                  <c:v>10.71</c:v>
                </c:pt>
                <c:pt idx="48">
                  <c:v>10.49</c:v>
                </c:pt>
                <c:pt idx="49">
                  <c:v>9.73</c:v>
                </c:pt>
                <c:pt idx="50">
                  <c:v>11.36</c:v>
                </c:pt>
                <c:pt idx="51">
                  <c:v>11.72</c:v>
                </c:pt>
                <c:pt idx="52">
                  <c:v>11.9</c:v>
                </c:pt>
                <c:pt idx="53">
                  <c:v>11.84</c:v>
                </c:pt>
                <c:pt idx="54">
                  <c:v>11.87</c:v>
                </c:pt>
                <c:pt idx="55">
                  <c:v>11.77</c:v>
                </c:pt>
                <c:pt idx="56">
                  <c:v>12.38</c:v>
                </c:pt>
                <c:pt idx="57">
                  <c:v>12.31</c:v>
                </c:pt>
                <c:pt idx="58">
                  <c:v>11.79</c:v>
                </c:pt>
                <c:pt idx="59">
                  <c:v>12.21</c:v>
                </c:pt>
                <c:pt idx="60">
                  <c:v>11.48</c:v>
                </c:pt>
                <c:pt idx="61">
                  <c:v>10.8</c:v>
                </c:pt>
                <c:pt idx="62" formatCode="0.0_)">
                  <c:v>12.3</c:v>
                </c:pt>
                <c:pt idx="63" formatCode="0.0_)">
                  <c:v>11.7</c:v>
                </c:pt>
                <c:pt idx="64" formatCode="0.0_)">
                  <c:v>11.7</c:v>
                </c:pt>
              </c:numCache>
            </c:numRef>
          </c:val>
          <c:smooth val="0"/>
        </c:ser>
        <c:dLbls>
          <c:showLegendKey val="0"/>
          <c:showVal val="0"/>
          <c:showCatName val="0"/>
          <c:showSerName val="0"/>
          <c:showPercent val="0"/>
          <c:showBubbleSize val="0"/>
        </c:dLbls>
        <c:smooth val="0"/>
        <c:axId val="388704168"/>
        <c:axId val="388704560"/>
      </c:lineChart>
      <c:dateAx>
        <c:axId val="388704168"/>
        <c:scaling>
          <c:orientation val="minMax"/>
        </c:scaling>
        <c:delete val="0"/>
        <c:axPos val="b"/>
        <c:numFmt formatCode="mmm\-yy" sourceLinked="1"/>
        <c:majorTickMark val="out"/>
        <c:minorTickMark val="none"/>
        <c:tickLblPos val="nextTo"/>
        <c:txPr>
          <a:bodyPr rot="-5400000" vert="horz"/>
          <a:lstStyle/>
          <a:p>
            <a:pPr>
              <a:defRPr/>
            </a:pPr>
            <a:endParaRPr lang="pt-BR"/>
          </a:p>
        </c:txPr>
        <c:crossAx val="388704560"/>
        <c:crosses val="autoZero"/>
        <c:auto val="1"/>
        <c:lblOffset val="100"/>
        <c:baseTimeUnit val="months"/>
        <c:majorUnit val="4"/>
        <c:majorTimeUnit val="months"/>
      </c:dateAx>
      <c:valAx>
        <c:axId val="388704560"/>
        <c:scaling>
          <c:orientation val="minMax"/>
        </c:scaling>
        <c:delete val="0"/>
        <c:axPos val="l"/>
        <c:numFmt formatCode="#,##0.0" sourceLinked="1"/>
        <c:majorTickMark val="out"/>
        <c:minorTickMark val="none"/>
        <c:tickLblPos val="nextTo"/>
        <c:crossAx val="388704168"/>
        <c:crosses val="autoZero"/>
        <c:crossBetween val="between"/>
      </c:valAx>
    </c:plotArea>
    <c:legend>
      <c:legendPos val="r"/>
      <c:layout>
        <c:manualLayout>
          <c:xMode val="edge"/>
          <c:yMode val="edge"/>
          <c:x val="0.30057730336616129"/>
          <c:y val="0.70312773403324591"/>
          <c:w val="0.66469151354408196"/>
          <c:h val="9.8373797025371829E-2"/>
        </c:manualLayout>
      </c:layout>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596714530753884E-2"/>
          <c:y val="5.9303876280627561E-2"/>
          <c:w val="0.89926819828353399"/>
          <c:h val="0.75451771653543309"/>
        </c:manualLayout>
      </c:layout>
      <c:lineChart>
        <c:grouping val="standard"/>
        <c:varyColors val="0"/>
        <c:ser>
          <c:idx val="0"/>
          <c:order val="0"/>
          <c:tx>
            <c:v>Spread Total</c:v>
          </c:tx>
          <c:marker>
            <c:symbol val="none"/>
          </c:marker>
          <c:dLbls>
            <c:dLbl>
              <c:idx val="50"/>
              <c:layout>
                <c:manualLayout>
                  <c:x val="-8.2644628099173556E-3"/>
                  <c:y val="3.9320822162645222E-2"/>
                </c:manualLayout>
              </c:layout>
              <c:showLegendKey val="0"/>
              <c:showVal val="1"/>
              <c:showCatName val="0"/>
              <c:showSerName val="0"/>
              <c:showPercent val="0"/>
              <c:showBubbleSize val="0"/>
              <c:extLst>
                <c:ext xmlns:c15="http://schemas.microsoft.com/office/drawing/2012/chart" uri="{CE6537A1-D6FC-4f65-9D91-7224C49458BB}"/>
              </c:extLst>
            </c:dLbl>
            <c:dLbl>
              <c:idx val="63"/>
              <c:layout>
                <c:manualLayout>
                  <c:x val="-1.0445466235852871E-2"/>
                  <c:y val="-4.741970232624132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2]base_aux!$B$39:$B$89</c:f>
              <c:numCache>
                <c:formatCode>mmm\-yy</c:formatCode>
                <c:ptCount val="51"/>
                <c:pt idx="0">
                  <c:v>41305</c:v>
                </c:pt>
                <c:pt idx="1">
                  <c:v>41333</c:v>
                </c:pt>
                <c:pt idx="2">
                  <c:v>41364</c:v>
                </c:pt>
                <c:pt idx="3">
                  <c:v>41394</c:v>
                </c:pt>
                <c:pt idx="4">
                  <c:v>41425</c:v>
                </c:pt>
                <c:pt idx="5">
                  <c:v>41455</c:v>
                </c:pt>
                <c:pt idx="6">
                  <c:v>41486</c:v>
                </c:pt>
                <c:pt idx="7">
                  <c:v>41517</c:v>
                </c:pt>
                <c:pt idx="8">
                  <c:v>41547</c:v>
                </c:pt>
                <c:pt idx="9">
                  <c:v>41578</c:v>
                </c:pt>
                <c:pt idx="10">
                  <c:v>41608</c:v>
                </c:pt>
                <c:pt idx="11">
                  <c:v>41639</c:v>
                </c:pt>
                <c:pt idx="12">
                  <c:v>41670</c:v>
                </c:pt>
                <c:pt idx="13">
                  <c:v>41698</c:v>
                </c:pt>
                <c:pt idx="14">
                  <c:v>41729</c:v>
                </c:pt>
                <c:pt idx="15">
                  <c:v>41759</c:v>
                </c:pt>
                <c:pt idx="16">
                  <c:v>41790</c:v>
                </c:pt>
                <c:pt idx="17">
                  <c:v>41820</c:v>
                </c:pt>
                <c:pt idx="18">
                  <c:v>41851</c:v>
                </c:pt>
                <c:pt idx="19">
                  <c:v>41882</c:v>
                </c:pt>
                <c:pt idx="20">
                  <c:v>41912</c:v>
                </c:pt>
                <c:pt idx="21">
                  <c:v>41943</c:v>
                </c:pt>
                <c:pt idx="22">
                  <c:v>41973</c:v>
                </c:pt>
                <c:pt idx="23">
                  <c:v>42004</c:v>
                </c:pt>
                <c:pt idx="24">
                  <c:v>42035</c:v>
                </c:pt>
                <c:pt idx="25">
                  <c:v>42063</c:v>
                </c:pt>
                <c:pt idx="26">
                  <c:v>42094</c:v>
                </c:pt>
                <c:pt idx="27">
                  <c:v>42124</c:v>
                </c:pt>
                <c:pt idx="28">
                  <c:v>42155</c:v>
                </c:pt>
                <c:pt idx="29">
                  <c:v>42185</c:v>
                </c:pt>
                <c:pt idx="30">
                  <c:v>42216</c:v>
                </c:pt>
                <c:pt idx="31">
                  <c:v>42247</c:v>
                </c:pt>
                <c:pt idx="32">
                  <c:v>42277</c:v>
                </c:pt>
                <c:pt idx="33">
                  <c:v>42308</c:v>
                </c:pt>
                <c:pt idx="34">
                  <c:v>42338</c:v>
                </c:pt>
                <c:pt idx="35">
                  <c:v>42369</c:v>
                </c:pt>
                <c:pt idx="36">
                  <c:v>42400</c:v>
                </c:pt>
                <c:pt idx="37">
                  <c:v>42429</c:v>
                </c:pt>
                <c:pt idx="38">
                  <c:v>42460</c:v>
                </c:pt>
                <c:pt idx="39">
                  <c:v>42490</c:v>
                </c:pt>
                <c:pt idx="40">
                  <c:v>42521</c:v>
                </c:pt>
                <c:pt idx="41">
                  <c:v>42551</c:v>
                </c:pt>
                <c:pt idx="42">
                  <c:v>42582</c:v>
                </c:pt>
                <c:pt idx="43">
                  <c:v>42613</c:v>
                </c:pt>
                <c:pt idx="44">
                  <c:v>42643</c:v>
                </c:pt>
                <c:pt idx="45">
                  <c:v>42674</c:v>
                </c:pt>
                <c:pt idx="46">
                  <c:v>42704</c:v>
                </c:pt>
                <c:pt idx="47">
                  <c:v>42735</c:v>
                </c:pt>
                <c:pt idx="48">
                  <c:v>42766</c:v>
                </c:pt>
                <c:pt idx="49">
                  <c:v>42794</c:v>
                </c:pt>
                <c:pt idx="50">
                  <c:v>42825</c:v>
                </c:pt>
              </c:numCache>
            </c:numRef>
          </c:cat>
          <c:val>
            <c:numRef>
              <c:f>[2]base_aux!$CS$39:$CS$89</c:f>
              <c:numCache>
                <c:formatCode>#,##0.0</c:formatCode>
                <c:ptCount val="51"/>
                <c:pt idx="0">
                  <c:v>15</c:v>
                </c:pt>
                <c:pt idx="1">
                  <c:v>15</c:v>
                </c:pt>
                <c:pt idx="2">
                  <c:v>14.6</c:v>
                </c:pt>
                <c:pt idx="3">
                  <c:v>14.6</c:v>
                </c:pt>
                <c:pt idx="4">
                  <c:v>14.1</c:v>
                </c:pt>
                <c:pt idx="5">
                  <c:v>13.8</c:v>
                </c:pt>
                <c:pt idx="6">
                  <c:v>14.2</c:v>
                </c:pt>
                <c:pt idx="7">
                  <c:v>14.1</c:v>
                </c:pt>
                <c:pt idx="8">
                  <c:v>14</c:v>
                </c:pt>
                <c:pt idx="9">
                  <c:v>14.3</c:v>
                </c:pt>
                <c:pt idx="10">
                  <c:v>14.3</c:v>
                </c:pt>
                <c:pt idx="11">
                  <c:v>13.8</c:v>
                </c:pt>
                <c:pt idx="12">
                  <c:v>14.5</c:v>
                </c:pt>
                <c:pt idx="13">
                  <c:v>15.2</c:v>
                </c:pt>
                <c:pt idx="14">
                  <c:v>15.3</c:v>
                </c:pt>
                <c:pt idx="15">
                  <c:v>15.3</c:v>
                </c:pt>
                <c:pt idx="16">
                  <c:v>15.5</c:v>
                </c:pt>
                <c:pt idx="17">
                  <c:v>15.5</c:v>
                </c:pt>
                <c:pt idx="18">
                  <c:v>15.8</c:v>
                </c:pt>
                <c:pt idx="19">
                  <c:v>15.6</c:v>
                </c:pt>
                <c:pt idx="20">
                  <c:v>15.4</c:v>
                </c:pt>
                <c:pt idx="21">
                  <c:v>15.7</c:v>
                </c:pt>
                <c:pt idx="22">
                  <c:v>15.5</c:v>
                </c:pt>
                <c:pt idx="23">
                  <c:v>14.92</c:v>
                </c:pt>
                <c:pt idx="24">
                  <c:v>15.99</c:v>
                </c:pt>
                <c:pt idx="25">
                  <c:v>16.64</c:v>
                </c:pt>
                <c:pt idx="26">
                  <c:v>16.45</c:v>
                </c:pt>
                <c:pt idx="27">
                  <c:v>17.13</c:v>
                </c:pt>
                <c:pt idx="28">
                  <c:v>17.440000000000001</c:v>
                </c:pt>
                <c:pt idx="29">
                  <c:v>17.760000000000002</c:v>
                </c:pt>
                <c:pt idx="30">
                  <c:v>18.420000000000002</c:v>
                </c:pt>
                <c:pt idx="31">
                  <c:v>18.829999999999998</c:v>
                </c:pt>
                <c:pt idx="32">
                  <c:v>18.440000000000001</c:v>
                </c:pt>
                <c:pt idx="33">
                  <c:v>19.45</c:v>
                </c:pt>
                <c:pt idx="34">
                  <c:v>19.399999999999999</c:v>
                </c:pt>
                <c:pt idx="35">
                  <c:v>18.61</c:v>
                </c:pt>
                <c:pt idx="36">
                  <c:v>20.059999999999999</c:v>
                </c:pt>
                <c:pt idx="37">
                  <c:v>20.8</c:v>
                </c:pt>
                <c:pt idx="38">
                  <c:v>21.6</c:v>
                </c:pt>
                <c:pt idx="39">
                  <c:v>22.3</c:v>
                </c:pt>
                <c:pt idx="40">
                  <c:v>22.75</c:v>
                </c:pt>
                <c:pt idx="41">
                  <c:v>22.62</c:v>
                </c:pt>
                <c:pt idx="42">
                  <c:v>23.13</c:v>
                </c:pt>
                <c:pt idx="43">
                  <c:v>23.16</c:v>
                </c:pt>
                <c:pt idx="44">
                  <c:v>23.37</c:v>
                </c:pt>
                <c:pt idx="45">
                  <c:v>23.91</c:v>
                </c:pt>
                <c:pt idx="46">
                  <c:v>23.47</c:v>
                </c:pt>
                <c:pt idx="47">
                  <c:v>22.7</c:v>
                </c:pt>
                <c:pt idx="48">
                  <c:v>23.9</c:v>
                </c:pt>
                <c:pt idx="49">
                  <c:v>24</c:v>
                </c:pt>
                <c:pt idx="50">
                  <c:v>23.9</c:v>
                </c:pt>
              </c:numCache>
            </c:numRef>
          </c:val>
          <c:smooth val="0"/>
        </c:ser>
        <c:ser>
          <c:idx val="3"/>
          <c:order val="1"/>
          <c:tx>
            <c:v>Spread ICC - Total</c:v>
          </c:tx>
          <c:spPr>
            <a:ln>
              <a:solidFill>
                <a:schemeClr val="accent1"/>
              </a:solidFill>
              <a:prstDash val="sysDash"/>
            </a:ln>
          </c:spPr>
          <c:marker>
            <c:symbol val="none"/>
          </c:marker>
          <c:dLbls>
            <c:dLbl>
              <c:idx val="49"/>
              <c:layout>
                <c:manualLayout>
                  <c:x val="0"/>
                  <c:y val="-2.8596961572832886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2]base_aux!$B$39:$B$89</c:f>
              <c:numCache>
                <c:formatCode>mmm\-yy</c:formatCode>
                <c:ptCount val="51"/>
                <c:pt idx="0">
                  <c:v>41305</c:v>
                </c:pt>
                <c:pt idx="1">
                  <c:v>41333</c:v>
                </c:pt>
                <c:pt idx="2">
                  <c:v>41364</c:v>
                </c:pt>
                <c:pt idx="3">
                  <c:v>41394</c:v>
                </c:pt>
                <c:pt idx="4">
                  <c:v>41425</c:v>
                </c:pt>
                <c:pt idx="5">
                  <c:v>41455</c:v>
                </c:pt>
                <c:pt idx="6">
                  <c:v>41486</c:v>
                </c:pt>
                <c:pt idx="7">
                  <c:v>41517</c:v>
                </c:pt>
                <c:pt idx="8">
                  <c:v>41547</c:v>
                </c:pt>
                <c:pt idx="9">
                  <c:v>41578</c:v>
                </c:pt>
                <c:pt idx="10">
                  <c:v>41608</c:v>
                </c:pt>
                <c:pt idx="11">
                  <c:v>41639</c:v>
                </c:pt>
                <c:pt idx="12">
                  <c:v>41670</c:v>
                </c:pt>
                <c:pt idx="13">
                  <c:v>41698</c:v>
                </c:pt>
                <c:pt idx="14">
                  <c:v>41729</c:v>
                </c:pt>
                <c:pt idx="15">
                  <c:v>41759</c:v>
                </c:pt>
                <c:pt idx="16">
                  <c:v>41790</c:v>
                </c:pt>
                <c:pt idx="17">
                  <c:v>41820</c:v>
                </c:pt>
                <c:pt idx="18">
                  <c:v>41851</c:v>
                </c:pt>
                <c:pt idx="19">
                  <c:v>41882</c:v>
                </c:pt>
                <c:pt idx="20">
                  <c:v>41912</c:v>
                </c:pt>
                <c:pt idx="21">
                  <c:v>41943</c:v>
                </c:pt>
                <c:pt idx="22">
                  <c:v>41973</c:v>
                </c:pt>
                <c:pt idx="23">
                  <c:v>42004</c:v>
                </c:pt>
                <c:pt idx="24">
                  <c:v>42035</c:v>
                </c:pt>
                <c:pt idx="25">
                  <c:v>42063</c:v>
                </c:pt>
                <c:pt idx="26">
                  <c:v>42094</c:v>
                </c:pt>
                <c:pt idx="27">
                  <c:v>42124</c:v>
                </c:pt>
                <c:pt idx="28">
                  <c:v>42155</c:v>
                </c:pt>
                <c:pt idx="29">
                  <c:v>42185</c:v>
                </c:pt>
                <c:pt idx="30">
                  <c:v>42216</c:v>
                </c:pt>
                <c:pt idx="31">
                  <c:v>42247</c:v>
                </c:pt>
                <c:pt idx="32">
                  <c:v>42277</c:v>
                </c:pt>
                <c:pt idx="33">
                  <c:v>42308</c:v>
                </c:pt>
                <c:pt idx="34">
                  <c:v>42338</c:v>
                </c:pt>
                <c:pt idx="35">
                  <c:v>42369</c:v>
                </c:pt>
                <c:pt idx="36">
                  <c:v>42400</c:v>
                </c:pt>
                <c:pt idx="37">
                  <c:v>42429</c:v>
                </c:pt>
                <c:pt idx="38">
                  <c:v>42460</c:v>
                </c:pt>
                <c:pt idx="39">
                  <c:v>42490</c:v>
                </c:pt>
                <c:pt idx="40">
                  <c:v>42521</c:v>
                </c:pt>
                <c:pt idx="41">
                  <c:v>42551</c:v>
                </c:pt>
                <c:pt idx="42">
                  <c:v>42582</c:v>
                </c:pt>
                <c:pt idx="43">
                  <c:v>42613</c:v>
                </c:pt>
                <c:pt idx="44">
                  <c:v>42643</c:v>
                </c:pt>
                <c:pt idx="45">
                  <c:v>42674</c:v>
                </c:pt>
                <c:pt idx="46">
                  <c:v>42704</c:v>
                </c:pt>
                <c:pt idx="47">
                  <c:v>42735</c:v>
                </c:pt>
                <c:pt idx="48">
                  <c:v>42766</c:v>
                </c:pt>
                <c:pt idx="49">
                  <c:v>42794</c:v>
                </c:pt>
                <c:pt idx="50">
                  <c:v>42825</c:v>
                </c:pt>
              </c:numCache>
            </c:numRef>
          </c:cat>
          <c:val>
            <c:numRef>
              <c:f>spreadicc!$H$2:$H$52</c:f>
              <c:numCache>
                <c:formatCode>General</c:formatCode>
                <c:ptCount val="51"/>
                <c:pt idx="0">
                  <c:v>13.799999999999999</c:v>
                </c:pt>
                <c:pt idx="1">
                  <c:v>13.67</c:v>
                </c:pt>
                <c:pt idx="2">
                  <c:v>13.319999999999999</c:v>
                </c:pt>
                <c:pt idx="3">
                  <c:v>13.2</c:v>
                </c:pt>
                <c:pt idx="4">
                  <c:v>12.899999999999999</c:v>
                </c:pt>
                <c:pt idx="5">
                  <c:v>12.040000000000001</c:v>
                </c:pt>
                <c:pt idx="6">
                  <c:v>11.859999999999998</c:v>
                </c:pt>
                <c:pt idx="7">
                  <c:v>11.469999999999999</c:v>
                </c:pt>
                <c:pt idx="8">
                  <c:v>11.44</c:v>
                </c:pt>
                <c:pt idx="9">
                  <c:v>11.29</c:v>
                </c:pt>
                <c:pt idx="10">
                  <c:v>10.989999999999998</c:v>
                </c:pt>
                <c:pt idx="11">
                  <c:v>10.55</c:v>
                </c:pt>
                <c:pt idx="12">
                  <c:v>10.459999999999999</c:v>
                </c:pt>
                <c:pt idx="13">
                  <c:v>11.010000000000002</c:v>
                </c:pt>
                <c:pt idx="14">
                  <c:v>10.870000000000001</c:v>
                </c:pt>
                <c:pt idx="15">
                  <c:v>11.130000000000003</c:v>
                </c:pt>
                <c:pt idx="16">
                  <c:v>11.15</c:v>
                </c:pt>
                <c:pt idx="17">
                  <c:v>11.440000000000003</c:v>
                </c:pt>
                <c:pt idx="18">
                  <c:v>11.319999999999999</c:v>
                </c:pt>
                <c:pt idx="19">
                  <c:v>11.270000000000001</c:v>
                </c:pt>
                <c:pt idx="20">
                  <c:v>11.31</c:v>
                </c:pt>
                <c:pt idx="21">
                  <c:v>11.080000000000002</c:v>
                </c:pt>
                <c:pt idx="22">
                  <c:v>10.9</c:v>
                </c:pt>
                <c:pt idx="23">
                  <c:v>10.55</c:v>
                </c:pt>
                <c:pt idx="24">
                  <c:v>10.709999999999999</c:v>
                </c:pt>
                <c:pt idx="25">
                  <c:v>10.96</c:v>
                </c:pt>
                <c:pt idx="26">
                  <c:v>10.600000000000001</c:v>
                </c:pt>
                <c:pt idx="27">
                  <c:v>10.91</c:v>
                </c:pt>
                <c:pt idx="28">
                  <c:v>10.759999999999998</c:v>
                </c:pt>
                <c:pt idx="29">
                  <c:v>10.84</c:v>
                </c:pt>
                <c:pt idx="30">
                  <c:v>10.770000000000003</c:v>
                </c:pt>
                <c:pt idx="31">
                  <c:v>10.720000000000002</c:v>
                </c:pt>
                <c:pt idx="32">
                  <c:v>10.360000000000003</c:v>
                </c:pt>
                <c:pt idx="33">
                  <c:v>10.46</c:v>
                </c:pt>
                <c:pt idx="34">
                  <c:v>10.709999999999997</c:v>
                </c:pt>
                <c:pt idx="35">
                  <c:v>10.250000000000004</c:v>
                </c:pt>
                <c:pt idx="36">
                  <c:v>10.55</c:v>
                </c:pt>
                <c:pt idx="37">
                  <c:v>11.21</c:v>
                </c:pt>
                <c:pt idx="38">
                  <c:v>11.899999999999999</c:v>
                </c:pt>
                <c:pt idx="39">
                  <c:v>12.420000000000002</c:v>
                </c:pt>
                <c:pt idx="40">
                  <c:v>12.750000000000004</c:v>
                </c:pt>
                <c:pt idx="41">
                  <c:v>12.910000000000004</c:v>
                </c:pt>
                <c:pt idx="42">
                  <c:v>12.989999999999998</c:v>
                </c:pt>
                <c:pt idx="43">
                  <c:v>13.149999999999999</c:v>
                </c:pt>
                <c:pt idx="44">
                  <c:v>13.450000000000003</c:v>
                </c:pt>
                <c:pt idx="45">
                  <c:v>13.829999999999998</c:v>
                </c:pt>
                <c:pt idx="46">
                  <c:v>13.610000000000007</c:v>
                </c:pt>
                <c:pt idx="47">
                  <c:v>13.29</c:v>
                </c:pt>
                <c:pt idx="48">
                  <c:v>14.120000000000001</c:v>
                </c:pt>
                <c:pt idx="49">
                  <c:v>14.900000000000002</c:v>
                </c:pt>
                <c:pt idx="50">
                  <c:v>14.690000000000001</c:v>
                </c:pt>
              </c:numCache>
            </c:numRef>
          </c:val>
          <c:smooth val="0"/>
        </c:ser>
        <c:ser>
          <c:idx val="1"/>
          <c:order val="2"/>
          <c:tx>
            <c:v>Spread - Operações com Recursos Livres</c:v>
          </c:tx>
          <c:marker>
            <c:symbol val="none"/>
          </c:marker>
          <c:dLbls>
            <c:dLbl>
              <c:idx val="50"/>
              <c:layout>
                <c:manualLayout>
                  <c:x val="0"/>
                  <c:y val="-4.6470062555853446E-2"/>
                </c:manualLayout>
              </c:layout>
              <c:showLegendKey val="0"/>
              <c:showVal val="1"/>
              <c:showCatName val="0"/>
              <c:showSerName val="0"/>
              <c:showPercent val="0"/>
              <c:showBubbleSize val="0"/>
              <c:extLst>
                <c:ext xmlns:c15="http://schemas.microsoft.com/office/drawing/2012/chart" uri="{CE6537A1-D6FC-4f65-9D91-7224C49458BB}"/>
              </c:extLst>
            </c:dLbl>
            <c:dLbl>
              <c:idx val="62"/>
              <c:layout>
                <c:manualLayout>
                  <c:x val="-1.8279565912742522E-2"/>
                  <c:y val="-8.6936120931442429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2]base_aux!$B$39:$B$89</c:f>
              <c:numCache>
                <c:formatCode>mmm\-yy</c:formatCode>
                <c:ptCount val="51"/>
                <c:pt idx="0">
                  <c:v>41305</c:v>
                </c:pt>
                <c:pt idx="1">
                  <c:v>41333</c:v>
                </c:pt>
                <c:pt idx="2">
                  <c:v>41364</c:v>
                </c:pt>
                <c:pt idx="3">
                  <c:v>41394</c:v>
                </c:pt>
                <c:pt idx="4">
                  <c:v>41425</c:v>
                </c:pt>
                <c:pt idx="5">
                  <c:v>41455</c:v>
                </c:pt>
                <c:pt idx="6">
                  <c:v>41486</c:v>
                </c:pt>
                <c:pt idx="7">
                  <c:v>41517</c:v>
                </c:pt>
                <c:pt idx="8">
                  <c:v>41547</c:v>
                </c:pt>
                <c:pt idx="9">
                  <c:v>41578</c:v>
                </c:pt>
                <c:pt idx="10">
                  <c:v>41608</c:v>
                </c:pt>
                <c:pt idx="11">
                  <c:v>41639</c:v>
                </c:pt>
                <c:pt idx="12">
                  <c:v>41670</c:v>
                </c:pt>
                <c:pt idx="13">
                  <c:v>41698</c:v>
                </c:pt>
                <c:pt idx="14">
                  <c:v>41729</c:v>
                </c:pt>
                <c:pt idx="15">
                  <c:v>41759</c:v>
                </c:pt>
                <c:pt idx="16">
                  <c:v>41790</c:v>
                </c:pt>
                <c:pt idx="17">
                  <c:v>41820</c:v>
                </c:pt>
                <c:pt idx="18">
                  <c:v>41851</c:v>
                </c:pt>
                <c:pt idx="19">
                  <c:v>41882</c:v>
                </c:pt>
                <c:pt idx="20">
                  <c:v>41912</c:v>
                </c:pt>
                <c:pt idx="21">
                  <c:v>41943</c:v>
                </c:pt>
                <c:pt idx="22">
                  <c:v>41973</c:v>
                </c:pt>
                <c:pt idx="23">
                  <c:v>42004</c:v>
                </c:pt>
                <c:pt idx="24">
                  <c:v>42035</c:v>
                </c:pt>
                <c:pt idx="25">
                  <c:v>42063</c:v>
                </c:pt>
                <c:pt idx="26">
                  <c:v>42094</c:v>
                </c:pt>
                <c:pt idx="27">
                  <c:v>42124</c:v>
                </c:pt>
                <c:pt idx="28">
                  <c:v>42155</c:v>
                </c:pt>
                <c:pt idx="29">
                  <c:v>42185</c:v>
                </c:pt>
                <c:pt idx="30">
                  <c:v>42216</c:v>
                </c:pt>
                <c:pt idx="31">
                  <c:v>42247</c:v>
                </c:pt>
                <c:pt idx="32">
                  <c:v>42277</c:v>
                </c:pt>
                <c:pt idx="33">
                  <c:v>42308</c:v>
                </c:pt>
                <c:pt idx="34">
                  <c:v>42338</c:v>
                </c:pt>
                <c:pt idx="35">
                  <c:v>42369</c:v>
                </c:pt>
                <c:pt idx="36">
                  <c:v>42400</c:v>
                </c:pt>
                <c:pt idx="37">
                  <c:v>42429</c:v>
                </c:pt>
                <c:pt idx="38">
                  <c:v>42460</c:v>
                </c:pt>
                <c:pt idx="39">
                  <c:v>42490</c:v>
                </c:pt>
                <c:pt idx="40">
                  <c:v>42521</c:v>
                </c:pt>
                <c:pt idx="41">
                  <c:v>42551</c:v>
                </c:pt>
                <c:pt idx="42">
                  <c:v>42582</c:v>
                </c:pt>
                <c:pt idx="43">
                  <c:v>42613</c:v>
                </c:pt>
                <c:pt idx="44">
                  <c:v>42643</c:v>
                </c:pt>
                <c:pt idx="45">
                  <c:v>42674</c:v>
                </c:pt>
                <c:pt idx="46">
                  <c:v>42704</c:v>
                </c:pt>
                <c:pt idx="47">
                  <c:v>42735</c:v>
                </c:pt>
                <c:pt idx="48">
                  <c:v>42766</c:v>
                </c:pt>
                <c:pt idx="49">
                  <c:v>42794</c:v>
                </c:pt>
                <c:pt idx="50">
                  <c:v>42825</c:v>
                </c:pt>
              </c:numCache>
            </c:numRef>
          </c:cat>
          <c:val>
            <c:numRef>
              <c:f>[2]base_aux!$CV$39:$CV$89</c:f>
              <c:numCache>
                <c:formatCode>#,##0.0</c:formatCode>
                <c:ptCount val="51"/>
                <c:pt idx="0">
                  <c:v>22.8</c:v>
                </c:pt>
                <c:pt idx="1">
                  <c:v>23</c:v>
                </c:pt>
                <c:pt idx="2">
                  <c:v>22.3</c:v>
                </c:pt>
                <c:pt idx="3">
                  <c:v>22.5</c:v>
                </c:pt>
                <c:pt idx="4">
                  <c:v>21.9</c:v>
                </c:pt>
                <c:pt idx="5">
                  <c:v>21.5</c:v>
                </c:pt>
                <c:pt idx="6">
                  <c:v>22.3</c:v>
                </c:pt>
                <c:pt idx="7">
                  <c:v>22.3</c:v>
                </c:pt>
                <c:pt idx="8">
                  <c:v>22.3</c:v>
                </c:pt>
                <c:pt idx="9">
                  <c:v>22.8</c:v>
                </c:pt>
                <c:pt idx="10">
                  <c:v>22.8</c:v>
                </c:pt>
                <c:pt idx="11">
                  <c:v>22.1</c:v>
                </c:pt>
                <c:pt idx="12">
                  <c:v>23.4</c:v>
                </c:pt>
                <c:pt idx="13">
                  <c:v>24.6</c:v>
                </c:pt>
                <c:pt idx="14">
                  <c:v>24.8</c:v>
                </c:pt>
                <c:pt idx="15">
                  <c:v>24.9</c:v>
                </c:pt>
                <c:pt idx="16">
                  <c:v>25.3</c:v>
                </c:pt>
                <c:pt idx="17">
                  <c:v>25.7</c:v>
                </c:pt>
                <c:pt idx="18">
                  <c:v>26.1</c:v>
                </c:pt>
                <c:pt idx="19">
                  <c:v>26</c:v>
                </c:pt>
                <c:pt idx="20">
                  <c:v>25.7</c:v>
                </c:pt>
                <c:pt idx="21">
                  <c:v>26.4</c:v>
                </c:pt>
                <c:pt idx="22">
                  <c:v>26.3</c:v>
                </c:pt>
                <c:pt idx="23">
                  <c:v>25.29</c:v>
                </c:pt>
                <c:pt idx="24">
                  <c:v>27.22</c:v>
                </c:pt>
                <c:pt idx="25">
                  <c:v>28.31</c:v>
                </c:pt>
                <c:pt idx="26">
                  <c:v>28.13</c:v>
                </c:pt>
                <c:pt idx="27">
                  <c:v>29.27</c:v>
                </c:pt>
                <c:pt idx="28">
                  <c:v>29.88</c:v>
                </c:pt>
                <c:pt idx="29">
                  <c:v>30.46</c:v>
                </c:pt>
                <c:pt idx="30">
                  <c:v>31.38</c:v>
                </c:pt>
                <c:pt idx="31">
                  <c:v>31.98</c:v>
                </c:pt>
                <c:pt idx="32">
                  <c:v>31.53</c:v>
                </c:pt>
                <c:pt idx="33">
                  <c:v>33.06</c:v>
                </c:pt>
                <c:pt idx="34">
                  <c:v>33.33</c:v>
                </c:pt>
                <c:pt idx="35">
                  <c:v>32.049999999999997</c:v>
                </c:pt>
                <c:pt idx="36">
                  <c:v>34.29</c:v>
                </c:pt>
                <c:pt idx="37">
                  <c:v>35.770000000000003</c:v>
                </c:pt>
                <c:pt idx="38">
                  <c:v>37.200000000000003</c:v>
                </c:pt>
                <c:pt idx="39">
                  <c:v>38.799999999999997</c:v>
                </c:pt>
                <c:pt idx="40">
                  <c:v>39.479999999999997</c:v>
                </c:pt>
                <c:pt idx="41">
                  <c:v>39.39</c:v>
                </c:pt>
                <c:pt idx="42">
                  <c:v>40.24</c:v>
                </c:pt>
                <c:pt idx="43">
                  <c:v>40.47</c:v>
                </c:pt>
                <c:pt idx="44">
                  <c:v>41.07</c:v>
                </c:pt>
                <c:pt idx="45">
                  <c:v>42.1</c:v>
                </c:pt>
                <c:pt idx="46">
                  <c:v>41.68</c:v>
                </c:pt>
                <c:pt idx="47">
                  <c:v>39.94</c:v>
                </c:pt>
                <c:pt idx="48" formatCode="0.0_)">
                  <c:v>42.1</c:v>
                </c:pt>
                <c:pt idx="49" formatCode="0.0_)">
                  <c:v>42.7</c:v>
                </c:pt>
                <c:pt idx="50" formatCode="0.0_)">
                  <c:v>42.3</c:v>
                </c:pt>
              </c:numCache>
            </c:numRef>
          </c:val>
          <c:smooth val="0"/>
        </c:ser>
        <c:ser>
          <c:idx val="4"/>
          <c:order val="3"/>
          <c:tx>
            <c:v> Spread ICC - Recursos Livres</c:v>
          </c:tx>
          <c:spPr>
            <a:ln>
              <a:solidFill>
                <a:srgbClr val="C00000"/>
              </a:solidFill>
              <a:prstDash val="sysDash"/>
            </a:ln>
          </c:spPr>
          <c:marker>
            <c:symbol val="none"/>
          </c:marker>
          <c:dLbls>
            <c:dLbl>
              <c:idx val="48"/>
              <c:layout>
                <c:manualLayout>
                  <c:x val="-8.2644628099173556E-3"/>
                  <c:y val="-5.004468275245752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2]base_aux!$B$39:$B$89</c:f>
              <c:numCache>
                <c:formatCode>mmm\-yy</c:formatCode>
                <c:ptCount val="51"/>
                <c:pt idx="0">
                  <c:v>41305</c:v>
                </c:pt>
                <c:pt idx="1">
                  <c:v>41333</c:v>
                </c:pt>
                <c:pt idx="2">
                  <c:v>41364</c:v>
                </c:pt>
                <c:pt idx="3">
                  <c:v>41394</c:v>
                </c:pt>
                <c:pt idx="4">
                  <c:v>41425</c:v>
                </c:pt>
                <c:pt idx="5">
                  <c:v>41455</c:v>
                </c:pt>
                <c:pt idx="6">
                  <c:v>41486</c:v>
                </c:pt>
                <c:pt idx="7">
                  <c:v>41517</c:v>
                </c:pt>
                <c:pt idx="8">
                  <c:v>41547</c:v>
                </c:pt>
                <c:pt idx="9">
                  <c:v>41578</c:v>
                </c:pt>
                <c:pt idx="10">
                  <c:v>41608</c:v>
                </c:pt>
                <c:pt idx="11">
                  <c:v>41639</c:v>
                </c:pt>
                <c:pt idx="12">
                  <c:v>41670</c:v>
                </c:pt>
                <c:pt idx="13">
                  <c:v>41698</c:v>
                </c:pt>
                <c:pt idx="14">
                  <c:v>41729</c:v>
                </c:pt>
                <c:pt idx="15">
                  <c:v>41759</c:v>
                </c:pt>
                <c:pt idx="16">
                  <c:v>41790</c:v>
                </c:pt>
                <c:pt idx="17">
                  <c:v>41820</c:v>
                </c:pt>
                <c:pt idx="18">
                  <c:v>41851</c:v>
                </c:pt>
                <c:pt idx="19">
                  <c:v>41882</c:v>
                </c:pt>
                <c:pt idx="20">
                  <c:v>41912</c:v>
                </c:pt>
                <c:pt idx="21">
                  <c:v>41943</c:v>
                </c:pt>
                <c:pt idx="22">
                  <c:v>41973</c:v>
                </c:pt>
                <c:pt idx="23">
                  <c:v>42004</c:v>
                </c:pt>
                <c:pt idx="24">
                  <c:v>42035</c:v>
                </c:pt>
                <c:pt idx="25">
                  <c:v>42063</c:v>
                </c:pt>
                <c:pt idx="26">
                  <c:v>42094</c:v>
                </c:pt>
                <c:pt idx="27">
                  <c:v>42124</c:v>
                </c:pt>
                <c:pt idx="28">
                  <c:v>42155</c:v>
                </c:pt>
                <c:pt idx="29">
                  <c:v>42185</c:v>
                </c:pt>
                <c:pt idx="30">
                  <c:v>42216</c:v>
                </c:pt>
                <c:pt idx="31">
                  <c:v>42247</c:v>
                </c:pt>
                <c:pt idx="32">
                  <c:v>42277</c:v>
                </c:pt>
                <c:pt idx="33">
                  <c:v>42308</c:v>
                </c:pt>
                <c:pt idx="34">
                  <c:v>42338</c:v>
                </c:pt>
                <c:pt idx="35">
                  <c:v>42369</c:v>
                </c:pt>
                <c:pt idx="36">
                  <c:v>42400</c:v>
                </c:pt>
                <c:pt idx="37">
                  <c:v>42429</c:v>
                </c:pt>
                <c:pt idx="38">
                  <c:v>42460</c:v>
                </c:pt>
                <c:pt idx="39">
                  <c:v>42490</c:v>
                </c:pt>
                <c:pt idx="40">
                  <c:v>42521</c:v>
                </c:pt>
                <c:pt idx="41">
                  <c:v>42551</c:v>
                </c:pt>
                <c:pt idx="42">
                  <c:v>42582</c:v>
                </c:pt>
                <c:pt idx="43">
                  <c:v>42613</c:v>
                </c:pt>
                <c:pt idx="44">
                  <c:v>42643</c:v>
                </c:pt>
                <c:pt idx="45">
                  <c:v>42674</c:v>
                </c:pt>
                <c:pt idx="46">
                  <c:v>42704</c:v>
                </c:pt>
                <c:pt idx="47">
                  <c:v>42735</c:v>
                </c:pt>
                <c:pt idx="48">
                  <c:v>42766</c:v>
                </c:pt>
                <c:pt idx="49">
                  <c:v>42794</c:v>
                </c:pt>
                <c:pt idx="50">
                  <c:v>42825</c:v>
                </c:pt>
              </c:numCache>
            </c:numRef>
          </c:cat>
          <c:val>
            <c:numRef>
              <c:f>spreadicc!$I$2:$I$52</c:f>
              <c:numCache>
                <c:formatCode>General</c:formatCode>
                <c:ptCount val="51"/>
                <c:pt idx="0">
                  <c:v>20.99</c:v>
                </c:pt>
                <c:pt idx="1">
                  <c:v>20.94</c:v>
                </c:pt>
                <c:pt idx="2">
                  <c:v>20.470000000000002</c:v>
                </c:pt>
                <c:pt idx="3">
                  <c:v>20.41</c:v>
                </c:pt>
                <c:pt idx="4">
                  <c:v>19.96</c:v>
                </c:pt>
                <c:pt idx="5">
                  <c:v>18.78</c:v>
                </c:pt>
                <c:pt idx="6">
                  <c:v>18.770000000000003</c:v>
                </c:pt>
                <c:pt idx="7">
                  <c:v>18.380000000000003</c:v>
                </c:pt>
                <c:pt idx="8">
                  <c:v>18.36</c:v>
                </c:pt>
                <c:pt idx="9">
                  <c:v>18.28</c:v>
                </c:pt>
                <c:pt idx="10">
                  <c:v>17.849999999999998</c:v>
                </c:pt>
                <c:pt idx="11">
                  <c:v>17.209999999999997</c:v>
                </c:pt>
                <c:pt idx="12">
                  <c:v>17.509999999999994</c:v>
                </c:pt>
                <c:pt idx="13">
                  <c:v>18.18</c:v>
                </c:pt>
                <c:pt idx="14">
                  <c:v>18.310000000000002</c:v>
                </c:pt>
                <c:pt idx="15">
                  <c:v>18.73</c:v>
                </c:pt>
                <c:pt idx="16">
                  <c:v>18.999999999999996</c:v>
                </c:pt>
                <c:pt idx="17">
                  <c:v>19.610000000000003</c:v>
                </c:pt>
                <c:pt idx="18">
                  <c:v>19.650000000000002</c:v>
                </c:pt>
                <c:pt idx="19">
                  <c:v>19.72</c:v>
                </c:pt>
                <c:pt idx="20">
                  <c:v>19.86</c:v>
                </c:pt>
                <c:pt idx="21">
                  <c:v>19.649999999999999</c:v>
                </c:pt>
                <c:pt idx="22">
                  <c:v>19.419999999999998</c:v>
                </c:pt>
                <c:pt idx="23">
                  <c:v>18.760000000000002</c:v>
                </c:pt>
                <c:pt idx="24">
                  <c:v>19.610000000000003</c:v>
                </c:pt>
                <c:pt idx="25">
                  <c:v>20.009999999999998</c:v>
                </c:pt>
                <c:pt idx="26">
                  <c:v>19.809999999999995</c:v>
                </c:pt>
                <c:pt idx="27">
                  <c:v>20.549999999999997</c:v>
                </c:pt>
                <c:pt idx="28">
                  <c:v>20.640000000000004</c:v>
                </c:pt>
                <c:pt idx="29">
                  <c:v>20.900000000000002</c:v>
                </c:pt>
                <c:pt idx="30">
                  <c:v>21.180000000000003</c:v>
                </c:pt>
                <c:pt idx="31">
                  <c:v>21.06</c:v>
                </c:pt>
                <c:pt idx="32">
                  <c:v>20.420000000000005</c:v>
                </c:pt>
                <c:pt idx="33">
                  <c:v>20.869999999999997</c:v>
                </c:pt>
                <c:pt idx="34">
                  <c:v>21.410000000000004</c:v>
                </c:pt>
                <c:pt idx="35">
                  <c:v>20.190000000000005</c:v>
                </c:pt>
                <c:pt idx="36">
                  <c:v>21.259999999999998</c:v>
                </c:pt>
                <c:pt idx="37">
                  <c:v>22.57</c:v>
                </c:pt>
                <c:pt idx="38">
                  <c:v>23.92</c:v>
                </c:pt>
                <c:pt idx="39">
                  <c:v>24.97</c:v>
                </c:pt>
                <c:pt idx="40">
                  <c:v>25.67</c:v>
                </c:pt>
                <c:pt idx="41">
                  <c:v>26.050000000000004</c:v>
                </c:pt>
                <c:pt idx="42">
                  <c:v>26.450000000000003</c:v>
                </c:pt>
                <c:pt idx="43">
                  <c:v>26.589999999999996</c:v>
                </c:pt>
                <c:pt idx="44">
                  <c:v>27.060000000000002</c:v>
                </c:pt>
                <c:pt idx="45">
                  <c:v>27.64</c:v>
                </c:pt>
                <c:pt idx="46">
                  <c:v>27.29</c:v>
                </c:pt>
                <c:pt idx="47">
                  <c:v>26.410000000000004</c:v>
                </c:pt>
                <c:pt idx="48">
                  <c:v>28.040000000000006</c:v>
                </c:pt>
                <c:pt idx="49">
                  <c:v>28.739999999999995</c:v>
                </c:pt>
                <c:pt idx="50">
                  <c:v>28.559999999999995</c:v>
                </c:pt>
              </c:numCache>
            </c:numRef>
          </c:val>
          <c:smooth val="0"/>
        </c:ser>
        <c:ser>
          <c:idx val="2"/>
          <c:order val="4"/>
          <c:tx>
            <c:v>Spread Operações Direcionadas</c:v>
          </c:tx>
          <c:marker>
            <c:symbol val="none"/>
          </c:marker>
          <c:dLbls>
            <c:dLbl>
              <c:idx val="50"/>
              <c:layout>
                <c:manualLayout>
                  <c:x val="-1.3774104683195593E-2"/>
                  <c:y val="-3.9320822162645222E-2"/>
                </c:manualLayout>
              </c:layout>
              <c:showLegendKey val="0"/>
              <c:showVal val="1"/>
              <c:showCatName val="0"/>
              <c:showSerName val="0"/>
              <c:showPercent val="0"/>
              <c:showBubbleSize val="0"/>
              <c:extLst>
                <c:ext xmlns:c15="http://schemas.microsoft.com/office/drawing/2012/chart" uri="{CE6537A1-D6FC-4f65-9D91-7224C49458BB}"/>
              </c:extLst>
            </c:dLbl>
            <c:dLbl>
              <c:idx val="63"/>
              <c:layout>
                <c:manualLayout>
                  <c:x val="-1.0445466235852871E-2"/>
                  <c:y val="-5.9274627907801664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2]base_aux!$B$39:$B$89</c:f>
              <c:numCache>
                <c:formatCode>mmm\-yy</c:formatCode>
                <c:ptCount val="51"/>
                <c:pt idx="0">
                  <c:v>41305</c:v>
                </c:pt>
                <c:pt idx="1">
                  <c:v>41333</c:v>
                </c:pt>
                <c:pt idx="2">
                  <c:v>41364</c:v>
                </c:pt>
                <c:pt idx="3">
                  <c:v>41394</c:v>
                </c:pt>
                <c:pt idx="4">
                  <c:v>41425</c:v>
                </c:pt>
                <c:pt idx="5">
                  <c:v>41455</c:v>
                </c:pt>
                <c:pt idx="6">
                  <c:v>41486</c:v>
                </c:pt>
                <c:pt idx="7">
                  <c:v>41517</c:v>
                </c:pt>
                <c:pt idx="8">
                  <c:v>41547</c:v>
                </c:pt>
                <c:pt idx="9">
                  <c:v>41578</c:v>
                </c:pt>
                <c:pt idx="10">
                  <c:v>41608</c:v>
                </c:pt>
                <c:pt idx="11">
                  <c:v>41639</c:v>
                </c:pt>
                <c:pt idx="12">
                  <c:v>41670</c:v>
                </c:pt>
                <c:pt idx="13">
                  <c:v>41698</c:v>
                </c:pt>
                <c:pt idx="14">
                  <c:v>41729</c:v>
                </c:pt>
                <c:pt idx="15">
                  <c:v>41759</c:v>
                </c:pt>
                <c:pt idx="16">
                  <c:v>41790</c:v>
                </c:pt>
                <c:pt idx="17">
                  <c:v>41820</c:v>
                </c:pt>
                <c:pt idx="18">
                  <c:v>41851</c:v>
                </c:pt>
                <c:pt idx="19">
                  <c:v>41882</c:v>
                </c:pt>
                <c:pt idx="20">
                  <c:v>41912</c:v>
                </c:pt>
                <c:pt idx="21">
                  <c:v>41943</c:v>
                </c:pt>
                <c:pt idx="22">
                  <c:v>41973</c:v>
                </c:pt>
                <c:pt idx="23">
                  <c:v>42004</c:v>
                </c:pt>
                <c:pt idx="24">
                  <c:v>42035</c:v>
                </c:pt>
                <c:pt idx="25">
                  <c:v>42063</c:v>
                </c:pt>
                <c:pt idx="26">
                  <c:v>42094</c:v>
                </c:pt>
                <c:pt idx="27">
                  <c:v>42124</c:v>
                </c:pt>
                <c:pt idx="28">
                  <c:v>42155</c:v>
                </c:pt>
                <c:pt idx="29">
                  <c:v>42185</c:v>
                </c:pt>
                <c:pt idx="30">
                  <c:v>42216</c:v>
                </c:pt>
                <c:pt idx="31">
                  <c:v>42247</c:v>
                </c:pt>
                <c:pt idx="32">
                  <c:v>42277</c:v>
                </c:pt>
                <c:pt idx="33">
                  <c:v>42308</c:v>
                </c:pt>
                <c:pt idx="34">
                  <c:v>42338</c:v>
                </c:pt>
                <c:pt idx="35">
                  <c:v>42369</c:v>
                </c:pt>
                <c:pt idx="36">
                  <c:v>42400</c:v>
                </c:pt>
                <c:pt idx="37">
                  <c:v>42429</c:v>
                </c:pt>
                <c:pt idx="38">
                  <c:v>42460</c:v>
                </c:pt>
                <c:pt idx="39">
                  <c:v>42490</c:v>
                </c:pt>
                <c:pt idx="40">
                  <c:v>42521</c:v>
                </c:pt>
                <c:pt idx="41">
                  <c:v>42551</c:v>
                </c:pt>
                <c:pt idx="42">
                  <c:v>42582</c:v>
                </c:pt>
                <c:pt idx="43">
                  <c:v>42613</c:v>
                </c:pt>
                <c:pt idx="44">
                  <c:v>42643</c:v>
                </c:pt>
                <c:pt idx="45">
                  <c:v>42674</c:v>
                </c:pt>
                <c:pt idx="46">
                  <c:v>42704</c:v>
                </c:pt>
                <c:pt idx="47">
                  <c:v>42735</c:v>
                </c:pt>
                <c:pt idx="48">
                  <c:v>42766</c:v>
                </c:pt>
                <c:pt idx="49">
                  <c:v>42794</c:v>
                </c:pt>
                <c:pt idx="50">
                  <c:v>42825</c:v>
                </c:pt>
              </c:numCache>
            </c:numRef>
          </c:cat>
          <c:val>
            <c:numRef>
              <c:f>[2]base_aux!$CY$39:$CY$89</c:f>
              <c:numCache>
                <c:formatCode>#,##0.0</c:formatCode>
                <c:ptCount val="51"/>
                <c:pt idx="0">
                  <c:v>3</c:v>
                </c:pt>
                <c:pt idx="1">
                  <c:v>2.9</c:v>
                </c:pt>
                <c:pt idx="2">
                  <c:v>2.9</c:v>
                </c:pt>
                <c:pt idx="3">
                  <c:v>2.7</c:v>
                </c:pt>
                <c:pt idx="4">
                  <c:v>2.5</c:v>
                </c:pt>
                <c:pt idx="5">
                  <c:v>2.6</c:v>
                </c:pt>
                <c:pt idx="6">
                  <c:v>2.4</c:v>
                </c:pt>
                <c:pt idx="7">
                  <c:v>2.2999999999999998</c:v>
                </c:pt>
                <c:pt idx="8">
                  <c:v>2.2999999999999998</c:v>
                </c:pt>
                <c:pt idx="9">
                  <c:v>2.4</c:v>
                </c:pt>
                <c:pt idx="10">
                  <c:v>2.4</c:v>
                </c:pt>
                <c:pt idx="11">
                  <c:v>2.5</c:v>
                </c:pt>
                <c:pt idx="12">
                  <c:v>2.6</c:v>
                </c:pt>
                <c:pt idx="13">
                  <c:v>2.9</c:v>
                </c:pt>
                <c:pt idx="14">
                  <c:v>2.8</c:v>
                </c:pt>
                <c:pt idx="15">
                  <c:v>3.1</c:v>
                </c:pt>
                <c:pt idx="16">
                  <c:v>3.1</c:v>
                </c:pt>
                <c:pt idx="17">
                  <c:v>2.7</c:v>
                </c:pt>
                <c:pt idx="18">
                  <c:v>3</c:v>
                </c:pt>
                <c:pt idx="19">
                  <c:v>2.8</c:v>
                </c:pt>
                <c:pt idx="20">
                  <c:v>2.9</c:v>
                </c:pt>
                <c:pt idx="21">
                  <c:v>2.7</c:v>
                </c:pt>
                <c:pt idx="22">
                  <c:v>2.7</c:v>
                </c:pt>
                <c:pt idx="23">
                  <c:v>2.67</c:v>
                </c:pt>
                <c:pt idx="24">
                  <c:v>2.88</c:v>
                </c:pt>
                <c:pt idx="25">
                  <c:v>3.05</c:v>
                </c:pt>
                <c:pt idx="26">
                  <c:v>2.89</c:v>
                </c:pt>
                <c:pt idx="27">
                  <c:v>3.08</c:v>
                </c:pt>
                <c:pt idx="28">
                  <c:v>3.04</c:v>
                </c:pt>
                <c:pt idx="29">
                  <c:v>3.09</c:v>
                </c:pt>
                <c:pt idx="30">
                  <c:v>3.46</c:v>
                </c:pt>
                <c:pt idx="31">
                  <c:v>3.71</c:v>
                </c:pt>
                <c:pt idx="32">
                  <c:v>3.36</c:v>
                </c:pt>
                <c:pt idx="33">
                  <c:v>3.87</c:v>
                </c:pt>
                <c:pt idx="34">
                  <c:v>3.51</c:v>
                </c:pt>
                <c:pt idx="35">
                  <c:v>3.34</c:v>
                </c:pt>
                <c:pt idx="36">
                  <c:v>3.9</c:v>
                </c:pt>
                <c:pt idx="37">
                  <c:v>3.88</c:v>
                </c:pt>
                <c:pt idx="38">
                  <c:v>4.0599999999999996</c:v>
                </c:pt>
                <c:pt idx="39">
                  <c:v>3.89</c:v>
                </c:pt>
                <c:pt idx="40">
                  <c:v>4.1500000000000004</c:v>
                </c:pt>
                <c:pt idx="41">
                  <c:v>4.0599999999999996</c:v>
                </c:pt>
                <c:pt idx="42">
                  <c:v>4.41</c:v>
                </c:pt>
                <c:pt idx="43">
                  <c:v>4.3499999999999996</c:v>
                </c:pt>
                <c:pt idx="44">
                  <c:v>4.22</c:v>
                </c:pt>
                <c:pt idx="45">
                  <c:v>4.18</c:v>
                </c:pt>
                <c:pt idx="46">
                  <c:v>3.77</c:v>
                </c:pt>
                <c:pt idx="47">
                  <c:v>3.75</c:v>
                </c:pt>
                <c:pt idx="48" formatCode="0.0_)">
                  <c:v>4.5999999999999996</c:v>
                </c:pt>
                <c:pt idx="49" formatCode="0.0_)">
                  <c:v>4.0999999999999996</c:v>
                </c:pt>
                <c:pt idx="50" formatCode="0.0_)">
                  <c:v>4.3</c:v>
                </c:pt>
              </c:numCache>
            </c:numRef>
          </c:val>
          <c:smooth val="0"/>
        </c:ser>
        <c:ser>
          <c:idx val="5"/>
          <c:order val="5"/>
          <c:tx>
            <c:v>Spread ICC- Direcionadas</c:v>
          </c:tx>
          <c:spPr>
            <a:ln>
              <a:solidFill>
                <a:schemeClr val="accent3"/>
              </a:solidFill>
              <a:prstDash val="sysDash"/>
            </a:ln>
          </c:spPr>
          <c:marker>
            <c:symbol val="none"/>
          </c:marker>
          <c:dLbls>
            <c:dLbl>
              <c:idx val="49"/>
              <c:layout>
                <c:manualLayout>
                  <c:x val="0"/>
                  <c:y val="3.574620196604110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2]base_aux!$B$39:$B$89</c:f>
              <c:numCache>
                <c:formatCode>mmm\-yy</c:formatCode>
                <c:ptCount val="51"/>
                <c:pt idx="0">
                  <c:v>41305</c:v>
                </c:pt>
                <c:pt idx="1">
                  <c:v>41333</c:v>
                </c:pt>
                <c:pt idx="2">
                  <c:v>41364</c:v>
                </c:pt>
                <c:pt idx="3">
                  <c:v>41394</c:v>
                </c:pt>
                <c:pt idx="4">
                  <c:v>41425</c:v>
                </c:pt>
                <c:pt idx="5">
                  <c:v>41455</c:v>
                </c:pt>
                <c:pt idx="6">
                  <c:v>41486</c:v>
                </c:pt>
                <c:pt idx="7">
                  <c:v>41517</c:v>
                </c:pt>
                <c:pt idx="8">
                  <c:v>41547</c:v>
                </c:pt>
                <c:pt idx="9">
                  <c:v>41578</c:v>
                </c:pt>
                <c:pt idx="10">
                  <c:v>41608</c:v>
                </c:pt>
                <c:pt idx="11">
                  <c:v>41639</c:v>
                </c:pt>
                <c:pt idx="12">
                  <c:v>41670</c:v>
                </c:pt>
                <c:pt idx="13">
                  <c:v>41698</c:v>
                </c:pt>
                <c:pt idx="14">
                  <c:v>41729</c:v>
                </c:pt>
                <c:pt idx="15">
                  <c:v>41759</c:v>
                </c:pt>
                <c:pt idx="16">
                  <c:v>41790</c:v>
                </c:pt>
                <c:pt idx="17">
                  <c:v>41820</c:v>
                </c:pt>
                <c:pt idx="18">
                  <c:v>41851</c:v>
                </c:pt>
                <c:pt idx="19">
                  <c:v>41882</c:v>
                </c:pt>
                <c:pt idx="20">
                  <c:v>41912</c:v>
                </c:pt>
                <c:pt idx="21">
                  <c:v>41943</c:v>
                </c:pt>
                <c:pt idx="22">
                  <c:v>41973</c:v>
                </c:pt>
                <c:pt idx="23">
                  <c:v>42004</c:v>
                </c:pt>
                <c:pt idx="24">
                  <c:v>42035</c:v>
                </c:pt>
                <c:pt idx="25">
                  <c:v>42063</c:v>
                </c:pt>
                <c:pt idx="26">
                  <c:v>42094</c:v>
                </c:pt>
                <c:pt idx="27">
                  <c:v>42124</c:v>
                </c:pt>
                <c:pt idx="28">
                  <c:v>42155</c:v>
                </c:pt>
                <c:pt idx="29">
                  <c:v>42185</c:v>
                </c:pt>
                <c:pt idx="30">
                  <c:v>42216</c:v>
                </c:pt>
                <c:pt idx="31">
                  <c:v>42247</c:v>
                </c:pt>
                <c:pt idx="32">
                  <c:v>42277</c:v>
                </c:pt>
                <c:pt idx="33">
                  <c:v>42308</c:v>
                </c:pt>
                <c:pt idx="34">
                  <c:v>42338</c:v>
                </c:pt>
                <c:pt idx="35">
                  <c:v>42369</c:v>
                </c:pt>
                <c:pt idx="36">
                  <c:v>42400</c:v>
                </c:pt>
                <c:pt idx="37">
                  <c:v>42429</c:v>
                </c:pt>
                <c:pt idx="38">
                  <c:v>42460</c:v>
                </c:pt>
                <c:pt idx="39">
                  <c:v>42490</c:v>
                </c:pt>
                <c:pt idx="40">
                  <c:v>42521</c:v>
                </c:pt>
                <c:pt idx="41">
                  <c:v>42551</c:v>
                </c:pt>
                <c:pt idx="42">
                  <c:v>42582</c:v>
                </c:pt>
                <c:pt idx="43">
                  <c:v>42613</c:v>
                </c:pt>
                <c:pt idx="44">
                  <c:v>42643</c:v>
                </c:pt>
                <c:pt idx="45">
                  <c:v>42674</c:v>
                </c:pt>
                <c:pt idx="46">
                  <c:v>42704</c:v>
                </c:pt>
                <c:pt idx="47">
                  <c:v>42735</c:v>
                </c:pt>
                <c:pt idx="48">
                  <c:v>42766</c:v>
                </c:pt>
                <c:pt idx="49">
                  <c:v>42794</c:v>
                </c:pt>
                <c:pt idx="50">
                  <c:v>42825</c:v>
                </c:pt>
              </c:numCache>
            </c:numRef>
          </c:cat>
          <c:val>
            <c:numRef>
              <c:f>spreadicc!$J$2:$J$52</c:f>
              <c:numCache>
                <c:formatCode>General</c:formatCode>
                <c:ptCount val="51"/>
                <c:pt idx="0">
                  <c:v>4.6900000000000004</c:v>
                </c:pt>
                <c:pt idx="1">
                  <c:v>4.6500000000000004</c:v>
                </c:pt>
                <c:pt idx="2">
                  <c:v>4.5600000000000005</c:v>
                </c:pt>
                <c:pt idx="3">
                  <c:v>4.4899999999999984</c:v>
                </c:pt>
                <c:pt idx="4">
                  <c:v>4.4399999999999995</c:v>
                </c:pt>
                <c:pt idx="5">
                  <c:v>4.26</c:v>
                </c:pt>
                <c:pt idx="6">
                  <c:v>3.99</c:v>
                </c:pt>
                <c:pt idx="7">
                  <c:v>3.7900000000000009</c:v>
                </c:pt>
                <c:pt idx="8">
                  <c:v>3.7</c:v>
                </c:pt>
                <c:pt idx="9">
                  <c:v>3.49</c:v>
                </c:pt>
                <c:pt idx="10">
                  <c:v>3.4800000000000013</c:v>
                </c:pt>
                <c:pt idx="11">
                  <c:v>3.4099999999999993</c:v>
                </c:pt>
                <c:pt idx="12">
                  <c:v>3.120000000000001</c:v>
                </c:pt>
                <c:pt idx="13">
                  <c:v>3.67</c:v>
                </c:pt>
                <c:pt idx="14">
                  <c:v>3.2100000000000009</c:v>
                </c:pt>
                <c:pt idx="15">
                  <c:v>3.4399999999999995</c:v>
                </c:pt>
                <c:pt idx="16">
                  <c:v>3.1999999999999993</c:v>
                </c:pt>
                <c:pt idx="17">
                  <c:v>3.2</c:v>
                </c:pt>
                <c:pt idx="18">
                  <c:v>3</c:v>
                </c:pt>
                <c:pt idx="19">
                  <c:v>2.92</c:v>
                </c:pt>
                <c:pt idx="20">
                  <c:v>2.9800000000000013</c:v>
                </c:pt>
                <c:pt idx="21">
                  <c:v>2.88</c:v>
                </c:pt>
                <c:pt idx="22">
                  <c:v>2.8600000000000012</c:v>
                </c:pt>
                <c:pt idx="23">
                  <c:v>2.91</c:v>
                </c:pt>
                <c:pt idx="24">
                  <c:v>2.5000000000000009</c:v>
                </c:pt>
                <c:pt idx="25">
                  <c:v>2.7500000000000009</c:v>
                </c:pt>
                <c:pt idx="26">
                  <c:v>2.3200000000000003</c:v>
                </c:pt>
                <c:pt idx="27">
                  <c:v>2.2399999999999993</c:v>
                </c:pt>
                <c:pt idx="28">
                  <c:v>1.8899999999999988</c:v>
                </c:pt>
                <c:pt idx="29">
                  <c:v>1.7899999999999991</c:v>
                </c:pt>
                <c:pt idx="30">
                  <c:v>1.4399999999999995</c:v>
                </c:pt>
                <c:pt idx="31">
                  <c:v>1.6400000000000006</c:v>
                </c:pt>
                <c:pt idx="32">
                  <c:v>1.8000000000000007</c:v>
                </c:pt>
                <c:pt idx="33">
                  <c:v>1.6500000000000004</c:v>
                </c:pt>
                <c:pt idx="34">
                  <c:v>1.5500000000000007</c:v>
                </c:pt>
                <c:pt idx="35">
                  <c:v>1.8399999999999999</c:v>
                </c:pt>
                <c:pt idx="36">
                  <c:v>1.58</c:v>
                </c:pt>
                <c:pt idx="37">
                  <c:v>1.6800000000000006</c:v>
                </c:pt>
                <c:pt idx="38">
                  <c:v>1.6299999999999981</c:v>
                </c:pt>
                <c:pt idx="39">
                  <c:v>1.7200000000000006</c:v>
                </c:pt>
                <c:pt idx="40">
                  <c:v>1.6600000000000001</c:v>
                </c:pt>
                <c:pt idx="41">
                  <c:v>1.6499999999999995</c:v>
                </c:pt>
                <c:pt idx="42">
                  <c:v>1.5400000000000009</c:v>
                </c:pt>
                <c:pt idx="43">
                  <c:v>1.7799999999999994</c:v>
                </c:pt>
                <c:pt idx="44">
                  <c:v>1.9300000000000006</c:v>
                </c:pt>
                <c:pt idx="45">
                  <c:v>2.0600000000000005</c:v>
                </c:pt>
                <c:pt idx="46">
                  <c:v>1.9599999999999991</c:v>
                </c:pt>
                <c:pt idx="47">
                  <c:v>1.9299999999999997</c:v>
                </c:pt>
                <c:pt idx="48">
                  <c:v>2.1300000000000008</c:v>
                </c:pt>
                <c:pt idx="49">
                  <c:v>3.0600000000000005</c:v>
                </c:pt>
                <c:pt idx="50">
                  <c:v>2.669999999999999</c:v>
                </c:pt>
              </c:numCache>
            </c:numRef>
          </c:val>
          <c:smooth val="0"/>
        </c:ser>
        <c:dLbls>
          <c:showLegendKey val="0"/>
          <c:showVal val="0"/>
          <c:showCatName val="0"/>
          <c:showSerName val="0"/>
          <c:showPercent val="0"/>
          <c:showBubbleSize val="0"/>
        </c:dLbls>
        <c:smooth val="0"/>
        <c:axId val="437388760"/>
        <c:axId val="437389152"/>
      </c:lineChart>
      <c:dateAx>
        <c:axId val="437388760"/>
        <c:scaling>
          <c:orientation val="minMax"/>
        </c:scaling>
        <c:delete val="0"/>
        <c:axPos val="b"/>
        <c:numFmt formatCode="mmm\-yy" sourceLinked="1"/>
        <c:majorTickMark val="out"/>
        <c:minorTickMark val="none"/>
        <c:tickLblPos val="nextTo"/>
        <c:txPr>
          <a:bodyPr rot="-5400000" vert="horz"/>
          <a:lstStyle/>
          <a:p>
            <a:pPr>
              <a:defRPr/>
            </a:pPr>
            <a:endParaRPr lang="pt-BR"/>
          </a:p>
        </c:txPr>
        <c:crossAx val="437389152"/>
        <c:crosses val="autoZero"/>
        <c:auto val="1"/>
        <c:lblOffset val="100"/>
        <c:baseTimeUnit val="months"/>
        <c:majorUnit val="5"/>
        <c:majorTimeUnit val="months"/>
      </c:dateAx>
      <c:valAx>
        <c:axId val="437389152"/>
        <c:scaling>
          <c:orientation val="minMax"/>
        </c:scaling>
        <c:delete val="0"/>
        <c:axPos val="l"/>
        <c:numFmt formatCode="#,##0.0" sourceLinked="1"/>
        <c:majorTickMark val="out"/>
        <c:minorTickMark val="none"/>
        <c:tickLblPos val="nextTo"/>
        <c:crossAx val="437388760"/>
        <c:crosses val="autoZero"/>
        <c:crossBetween val="between"/>
      </c:valAx>
    </c:plotArea>
    <c:legend>
      <c:legendPos val="r"/>
      <c:layout>
        <c:manualLayout>
          <c:xMode val="edge"/>
          <c:yMode val="edge"/>
          <c:x val="6.3402529229300883E-2"/>
          <c:y val="1.3475473742725856E-2"/>
          <c:w val="0.66469151354408196"/>
          <c:h val="0.2801493160548052"/>
        </c:manualLayout>
      </c:layout>
      <c:overlay val="0"/>
    </c:legend>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1" y="0"/>
            <a:ext cx="2946078" cy="498145"/>
          </a:xfrm>
          <a:prstGeom prst="rect">
            <a:avLst/>
          </a:prstGeom>
        </p:spPr>
        <p:txBody>
          <a:bodyPr vert="horz" lIns="90699" tIns="45350" rIns="90699" bIns="45350" rtlCol="0"/>
          <a:lstStyle>
            <a:lvl1pPr algn="l">
              <a:defRPr sz="1200"/>
            </a:lvl1pPr>
          </a:lstStyle>
          <a:p>
            <a:endParaRPr lang="pt-BR"/>
          </a:p>
        </p:txBody>
      </p:sp>
      <p:sp>
        <p:nvSpPr>
          <p:cNvPr id="3" name="Espaço Reservado para Data 2"/>
          <p:cNvSpPr>
            <a:spLocks noGrp="1"/>
          </p:cNvSpPr>
          <p:nvPr>
            <p:ph type="dt" sz="quarter" idx="1"/>
          </p:nvPr>
        </p:nvSpPr>
        <p:spPr>
          <a:xfrm>
            <a:off x="3850026" y="0"/>
            <a:ext cx="2946078" cy="498145"/>
          </a:xfrm>
          <a:prstGeom prst="rect">
            <a:avLst/>
          </a:prstGeom>
        </p:spPr>
        <p:txBody>
          <a:bodyPr vert="horz" lIns="90699" tIns="45350" rIns="90699" bIns="45350" rtlCol="0"/>
          <a:lstStyle>
            <a:lvl1pPr algn="r">
              <a:defRPr sz="1200"/>
            </a:lvl1pPr>
          </a:lstStyle>
          <a:p>
            <a:fld id="{381B2111-0DC1-4EE5-B822-ACDF7F4112D4}" type="datetimeFigureOut">
              <a:rPr lang="pt-BR" smtClean="0"/>
              <a:t>03/05/2017</a:t>
            </a:fld>
            <a:endParaRPr lang="pt-BR"/>
          </a:p>
        </p:txBody>
      </p:sp>
      <p:sp>
        <p:nvSpPr>
          <p:cNvPr id="4" name="Espaço Reservado para Rodapé 3"/>
          <p:cNvSpPr>
            <a:spLocks noGrp="1"/>
          </p:cNvSpPr>
          <p:nvPr>
            <p:ph type="ftr" sz="quarter" idx="2"/>
          </p:nvPr>
        </p:nvSpPr>
        <p:spPr>
          <a:xfrm>
            <a:off x="1" y="9428493"/>
            <a:ext cx="2946078" cy="498145"/>
          </a:xfrm>
          <a:prstGeom prst="rect">
            <a:avLst/>
          </a:prstGeom>
        </p:spPr>
        <p:txBody>
          <a:bodyPr vert="horz" lIns="90699" tIns="45350" rIns="90699" bIns="4535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50026" y="9428493"/>
            <a:ext cx="2946078" cy="498145"/>
          </a:xfrm>
          <a:prstGeom prst="rect">
            <a:avLst/>
          </a:prstGeom>
        </p:spPr>
        <p:txBody>
          <a:bodyPr vert="horz" lIns="90699" tIns="45350" rIns="90699" bIns="45350" rtlCol="0" anchor="b"/>
          <a:lstStyle>
            <a:lvl1pPr algn="r">
              <a:defRPr sz="1200"/>
            </a:lvl1pPr>
          </a:lstStyle>
          <a:p>
            <a:fld id="{76329738-F482-4F37-B64B-EC72EDC00A27}" type="slidenum">
              <a:rPr lang="pt-BR" smtClean="0"/>
              <a:t>‹nº›</a:t>
            </a:fld>
            <a:endParaRPr lang="pt-BR"/>
          </a:p>
        </p:txBody>
      </p:sp>
    </p:spTree>
    <p:extLst>
      <p:ext uri="{BB962C8B-B14F-4D97-AF65-F5344CB8AC3E}">
        <p14:creationId xmlns:p14="http://schemas.microsoft.com/office/powerpoint/2010/main" val="84635679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1"/>
            <a:ext cx="2945659" cy="496332"/>
          </a:xfrm>
          <a:prstGeom prst="rect">
            <a:avLst/>
          </a:prstGeom>
        </p:spPr>
        <p:txBody>
          <a:bodyPr vert="horz" lIns="91888" tIns="45944" rIns="91888" bIns="45944" rtlCol="0"/>
          <a:lstStyle>
            <a:lvl1pPr algn="l">
              <a:defRPr sz="1200"/>
            </a:lvl1pPr>
          </a:lstStyle>
          <a:p>
            <a:endParaRPr lang="pt-BR"/>
          </a:p>
        </p:txBody>
      </p:sp>
      <p:sp>
        <p:nvSpPr>
          <p:cNvPr id="3" name="Espaço Reservado para Data 2"/>
          <p:cNvSpPr>
            <a:spLocks noGrp="1"/>
          </p:cNvSpPr>
          <p:nvPr>
            <p:ph type="dt" idx="1"/>
          </p:nvPr>
        </p:nvSpPr>
        <p:spPr>
          <a:xfrm>
            <a:off x="3850443" y="1"/>
            <a:ext cx="2945659" cy="496332"/>
          </a:xfrm>
          <a:prstGeom prst="rect">
            <a:avLst/>
          </a:prstGeom>
        </p:spPr>
        <p:txBody>
          <a:bodyPr vert="horz" lIns="91888" tIns="45944" rIns="91888" bIns="45944" rtlCol="0"/>
          <a:lstStyle>
            <a:lvl1pPr algn="r">
              <a:defRPr sz="1200"/>
            </a:lvl1pPr>
          </a:lstStyle>
          <a:p>
            <a:fld id="{59281314-EB59-4828-B440-799480C46DC7}" type="datetimeFigureOut">
              <a:rPr lang="pt-BR" smtClean="0"/>
              <a:pPr/>
              <a:t>03/05/2017</a:t>
            </a:fld>
            <a:endParaRPr lang="pt-BR"/>
          </a:p>
        </p:txBody>
      </p:sp>
      <p:sp>
        <p:nvSpPr>
          <p:cNvPr id="4" name="Espaço Reservado para Imagem de Slide 3"/>
          <p:cNvSpPr>
            <a:spLocks noGrp="1" noRot="1" noChangeAspect="1"/>
          </p:cNvSpPr>
          <p:nvPr>
            <p:ph type="sldImg" idx="2"/>
          </p:nvPr>
        </p:nvSpPr>
        <p:spPr>
          <a:xfrm>
            <a:off x="919163" y="746125"/>
            <a:ext cx="4959350" cy="3721100"/>
          </a:xfrm>
          <a:prstGeom prst="rect">
            <a:avLst/>
          </a:prstGeom>
          <a:noFill/>
          <a:ln w="12700">
            <a:solidFill>
              <a:prstClr val="black"/>
            </a:solidFill>
          </a:ln>
        </p:spPr>
        <p:txBody>
          <a:bodyPr vert="horz" lIns="91888" tIns="45944" rIns="91888" bIns="45944" rtlCol="0" anchor="ctr"/>
          <a:lstStyle/>
          <a:p>
            <a:endParaRPr lang="pt-BR"/>
          </a:p>
        </p:txBody>
      </p:sp>
      <p:sp>
        <p:nvSpPr>
          <p:cNvPr id="5" name="Espaço Reservado para Anotações 4"/>
          <p:cNvSpPr>
            <a:spLocks noGrp="1"/>
          </p:cNvSpPr>
          <p:nvPr>
            <p:ph type="body" sz="quarter" idx="3"/>
          </p:nvPr>
        </p:nvSpPr>
        <p:spPr>
          <a:xfrm>
            <a:off x="679768" y="4715153"/>
            <a:ext cx="5438140" cy="4466987"/>
          </a:xfrm>
          <a:prstGeom prst="rect">
            <a:avLst/>
          </a:prstGeom>
        </p:spPr>
        <p:txBody>
          <a:bodyPr vert="horz" lIns="91888" tIns="45944" rIns="91888" bIns="45944"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0" y="9428583"/>
            <a:ext cx="2945659" cy="496332"/>
          </a:xfrm>
          <a:prstGeom prst="rect">
            <a:avLst/>
          </a:prstGeom>
        </p:spPr>
        <p:txBody>
          <a:bodyPr vert="horz" lIns="91888" tIns="45944" rIns="91888" bIns="45944"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50443" y="9428583"/>
            <a:ext cx="2945659" cy="496332"/>
          </a:xfrm>
          <a:prstGeom prst="rect">
            <a:avLst/>
          </a:prstGeom>
        </p:spPr>
        <p:txBody>
          <a:bodyPr vert="horz" lIns="91888" tIns="45944" rIns="91888" bIns="45944" rtlCol="0" anchor="b"/>
          <a:lstStyle>
            <a:lvl1pPr algn="r">
              <a:defRPr sz="1200"/>
            </a:lvl1pPr>
          </a:lstStyle>
          <a:p>
            <a:fld id="{8C49EE92-D9E9-40CD-966D-8320A5A2A3D9}" type="slidenum">
              <a:rPr lang="pt-BR" smtClean="0"/>
              <a:pPr/>
              <a:t>‹nº›</a:t>
            </a:fld>
            <a:endParaRPr lang="pt-BR"/>
          </a:p>
        </p:txBody>
      </p:sp>
    </p:spTree>
    <p:extLst>
      <p:ext uri="{BB962C8B-B14F-4D97-AF65-F5344CB8AC3E}">
        <p14:creationId xmlns:p14="http://schemas.microsoft.com/office/powerpoint/2010/main" val="343377477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F6857E6E-EEA3-4C2A-BD99-CE4E8C4CE6FF}" type="slidenum">
              <a:rPr lang="pt-BR" smtClean="0"/>
              <a:pPr/>
              <a:t>1</a:t>
            </a:fld>
            <a:endParaRPr lang="pt-BR" smtClean="0"/>
          </a:p>
        </p:txBody>
      </p:sp>
      <p:sp>
        <p:nvSpPr>
          <p:cNvPr id="40963" name="Rectangle 2"/>
          <p:cNvSpPr>
            <a:spLocks noGrp="1" noRot="1" noChangeAspect="1" noChangeArrowheads="1" noTextEdit="1"/>
          </p:cNvSpPr>
          <p:nvPr>
            <p:ph type="sldImg"/>
          </p:nvPr>
        </p:nvSpPr>
        <p:spPr>
          <a:ln/>
        </p:spPr>
      </p:sp>
      <p:sp>
        <p:nvSpPr>
          <p:cNvPr id="40964"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449001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eaLnBrk="0" hangingPunct="0">
              <a:defRPr sz="3000" b="1">
                <a:solidFill>
                  <a:schemeClr val="tx1"/>
                </a:solidFill>
                <a:latin typeface="Arial" panose="020B0604020202020204" pitchFamily="34" charset="0"/>
              </a:defRPr>
            </a:lvl1pPr>
            <a:lvl2pPr marL="742950" indent="-285750" defTabSz="966788" eaLnBrk="0" hangingPunct="0">
              <a:defRPr sz="3000" b="1">
                <a:solidFill>
                  <a:schemeClr val="tx1"/>
                </a:solidFill>
                <a:latin typeface="Arial" panose="020B0604020202020204" pitchFamily="34" charset="0"/>
              </a:defRPr>
            </a:lvl2pPr>
            <a:lvl3pPr marL="1143000" indent="-228600" defTabSz="966788" eaLnBrk="0" hangingPunct="0">
              <a:defRPr sz="3000" b="1">
                <a:solidFill>
                  <a:schemeClr val="tx1"/>
                </a:solidFill>
                <a:latin typeface="Arial" panose="020B0604020202020204" pitchFamily="34" charset="0"/>
              </a:defRPr>
            </a:lvl3pPr>
            <a:lvl4pPr marL="1600200" indent="-228600" defTabSz="966788" eaLnBrk="0" hangingPunct="0">
              <a:defRPr sz="3000" b="1">
                <a:solidFill>
                  <a:schemeClr val="tx1"/>
                </a:solidFill>
                <a:latin typeface="Arial" panose="020B0604020202020204" pitchFamily="34" charset="0"/>
              </a:defRPr>
            </a:lvl4pPr>
            <a:lvl5pPr marL="2057400" indent="-228600" defTabSz="966788" eaLnBrk="0" hangingPunct="0">
              <a:defRPr sz="3000" b="1">
                <a:solidFill>
                  <a:schemeClr val="tx1"/>
                </a:solidFill>
                <a:latin typeface="Arial" panose="020B0604020202020204" pitchFamily="34" charset="0"/>
              </a:defRPr>
            </a:lvl5pPr>
            <a:lvl6pPr marL="2514600" indent="-228600" defTabSz="966788" eaLnBrk="0" fontAlgn="base" hangingPunct="0">
              <a:spcBef>
                <a:spcPct val="50000"/>
              </a:spcBef>
              <a:spcAft>
                <a:spcPct val="0"/>
              </a:spcAft>
              <a:defRPr sz="3000" b="1">
                <a:solidFill>
                  <a:schemeClr val="tx1"/>
                </a:solidFill>
                <a:latin typeface="Arial" panose="020B0604020202020204" pitchFamily="34" charset="0"/>
              </a:defRPr>
            </a:lvl6pPr>
            <a:lvl7pPr marL="2971800" indent="-228600" defTabSz="966788" eaLnBrk="0" fontAlgn="base" hangingPunct="0">
              <a:spcBef>
                <a:spcPct val="50000"/>
              </a:spcBef>
              <a:spcAft>
                <a:spcPct val="0"/>
              </a:spcAft>
              <a:defRPr sz="3000" b="1">
                <a:solidFill>
                  <a:schemeClr val="tx1"/>
                </a:solidFill>
                <a:latin typeface="Arial" panose="020B0604020202020204" pitchFamily="34" charset="0"/>
              </a:defRPr>
            </a:lvl7pPr>
            <a:lvl8pPr marL="3429000" indent="-228600" defTabSz="966788" eaLnBrk="0" fontAlgn="base" hangingPunct="0">
              <a:spcBef>
                <a:spcPct val="50000"/>
              </a:spcBef>
              <a:spcAft>
                <a:spcPct val="0"/>
              </a:spcAft>
              <a:defRPr sz="3000" b="1">
                <a:solidFill>
                  <a:schemeClr val="tx1"/>
                </a:solidFill>
                <a:latin typeface="Arial" panose="020B0604020202020204" pitchFamily="34" charset="0"/>
              </a:defRPr>
            </a:lvl8pPr>
            <a:lvl9pPr marL="3886200" indent="-228600" defTabSz="966788"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fld id="{27A5F2E3-6297-4446-A683-2BA802BCB5E0}" type="slidenum">
              <a:rPr lang="pt-BR" altLang="pt-BR" sz="1300" b="0">
                <a:latin typeface="Times New Roman" panose="02020603050405020304" pitchFamily="18" charset="0"/>
              </a:rPr>
              <a:pPr eaLnBrk="1" hangingPunct="1"/>
              <a:t>17</a:t>
            </a:fld>
            <a:endParaRPr lang="pt-BR" altLang="pt-BR" sz="1300" b="0">
              <a:latin typeface="Times New Roman" panose="02020603050405020304" pitchFamily="18" charset="0"/>
            </a:endParaRPr>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pt-BR" smtClean="0"/>
          </a:p>
        </p:txBody>
      </p:sp>
    </p:spTree>
    <p:extLst>
      <p:ext uri="{BB962C8B-B14F-4D97-AF65-F5344CB8AC3E}">
        <p14:creationId xmlns:p14="http://schemas.microsoft.com/office/powerpoint/2010/main" val="1351042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eaLnBrk="0" hangingPunct="0">
              <a:defRPr sz="3000" b="1">
                <a:solidFill>
                  <a:schemeClr val="tx1"/>
                </a:solidFill>
                <a:latin typeface="Arial" panose="020B0604020202020204" pitchFamily="34" charset="0"/>
              </a:defRPr>
            </a:lvl1pPr>
            <a:lvl2pPr marL="742950" indent="-285750" defTabSz="966788" eaLnBrk="0" hangingPunct="0">
              <a:defRPr sz="3000" b="1">
                <a:solidFill>
                  <a:schemeClr val="tx1"/>
                </a:solidFill>
                <a:latin typeface="Arial" panose="020B0604020202020204" pitchFamily="34" charset="0"/>
              </a:defRPr>
            </a:lvl2pPr>
            <a:lvl3pPr marL="1143000" indent="-228600" defTabSz="966788" eaLnBrk="0" hangingPunct="0">
              <a:defRPr sz="3000" b="1">
                <a:solidFill>
                  <a:schemeClr val="tx1"/>
                </a:solidFill>
                <a:latin typeface="Arial" panose="020B0604020202020204" pitchFamily="34" charset="0"/>
              </a:defRPr>
            </a:lvl3pPr>
            <a:lvl4pPr marL="1600200" indent="-228600" defTabSz="966788" eaLnBrk="0" hangingPunct="0">
              <a:defRPr sz="3000" b="1">
                <a:solidFill>
                  <a:schemeClr val="tx1"/>
                </a:solidFill>
                <a:latin typeface="Arial" panose="020B0604020202020204" pitchFamily="34" charset="0"/>
              </a:defRPr>
            </a:lvl4pPr>
            <a:lvl5pPr marL="2057400" indent="-228600" defTabSz="966788" eaLnBrk="0" hangingPunct="0">
              <a:defRPr sz="3000" b="1">
                <a:solidFill>
                  <a:schemeClr val="tx1"/>
                </a:solidFill>
                <a:latin typeface="Arial" panose="020B0604020202020204" pitchFamily="34" charset="0"/>
              </a:defRPr>
            </a:lvl5pPr>
            <a:lvl6pPr marL="2514600" indent="-228600" defTabSz="966788" eaLnBrk="0" fontAlgn="base" hangingPunct="0">
              <a:spcBef>
                <a:spcPct val="50000"/>
              </a:spcBef>
              <a:spcAft>
                <a:spcPct val="0"/>
              </a:spcAft>
              <a:defRPr sz="3000" b="1">
                <a:solidFill>
                  <a:schemeClr val="tx1"/>
                </a:solidFill>
                <a:latin typeface="Arial" panose="020B0604020202020204" pitchFamily="34" charset="0"/>
              </a:defRPr>
            </a:lvl6pPr>
            <a:lvl7pPr marL="2971800" indent="-228600" defTabSz="966788" eaLnBrk="0" fontAlgn="base" hangingPunct="0">
              <a:spcBef>
                <a:spcPct val="50000"/>
              </a:spcBef>
              <a:spcAft>
                <a:spcPct val="0"/>
              </a:spcAft>
              <a:defRPr sz="3000" b="1">
                <a:solidFill>
                  <a:schemeClr val="tx1"/>
                </a:solidFill>
                <a:latin typeface="Arial" panose="020B0604020202020204" pitchFamily="34" charset="0"/>
              </a:defRPr>
            </a:lvl7pPr>
            <a:lvl8pPr marL="3429000" indent="-228600" defTabSz="966788" eaLnBrk="0" fontAlgn="base" hangingPunct="0">
              <a:spcBef>
                <a:spcPct val="50000"/>
              </a:spcBef>
              <a:spcAft>
                <a:spcPct val="0"/>
              </a:spcAft>
              <a:defRPr sz="3000" b="1">
                <a:solidFill>
                  <a:schemeClr val="tx1"/>
                </a:solidFill>
                <a:latin typeface="Arial" panose="020B0604020202020204" pitchFamily="34" charset="0"/>
              </a:defRPr>
            </a:lvl8pPr>
            <a:lvl9pPr marL="3886200" indent="-228600" defTabSz="966788"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fld id="{B57735B0-3AAC-446F-AB2E-0091993CFC45}" type="slidenum">
              <a:rPr lang="pt-BR" altLang="pt-BR" sz="1300" b="0">
                <a:latin typeface="Times New Roman" panose="02020603050405020304" pitchFamily="18" charset="0"/>
              </a:rPr>
              <a:pPr eaLnBrk="1" hangingPunct="1"/>
              <a:t>18</a:t>
            </a:fld>
            <a:endParaRPr lang="pt-BR" altLang="pt-BR" sz="1300" b="0">
              <a:latin typeface="Times New Roman" panose="02020603050405020304" pitchFamily="18"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pt-BR" smtClean="0"/>
          </a:p>
        </p:txBody>
      </p:sp>
    </p:spTree>
    <p:extLst>
      <p:ext uri="{BB962C8B-B14F-4D97-AF65-F5344CB8AC3E}">
        <p14:creationId xmlns:p14="http://schemas.microsoft.com/office/powerpoint/2010/main" val="1875822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F6857E6E-EEA3-4C2A-BD99-CE4E8C4CE6FF}" type="slidenum">
              <a:rPr lang="pt-BR" smtClean="0">
                <a:solidFill>
                  <a:prstClr val="black"/>
                </a:solidFill>
              </a:rPr>
              <a:pPr/>
              <a:t>27</a:t>
            </a:fld>
            <a:endParaRPr lang="pt-BR" smtClean="0">
              <a:solidFill>
                <a:prstClr val="black"/>
              </a:solidFill>
            </a:endParaRPr>
          </a:p>
        </p:txBody>
      </p:sp>
      <p:sp>
        <p:nvSpPr>
          <p:cNvPr id="40963" name="Rectangle 2"/>
          <p:cNvSpPr>
            <a:spLocks noGrp="1" noRot="1" noChangeAspect="1" noChangeArrowheads="1" noTextEdit="1"/>
          </p:cNvSpPr>
          <p:nvPr>
            <p:ph type="sldImg"/>
          </p:nvPr>
        </p:nvSpPr>
        <p:spPr>
          <a:xfrm>
            <a:off x="917575" y="746125"/>
            <a:ext cx="4962525" cy="3721100"/>
          </a:xfrm>
          <a:ln/>
        </p:spPr>
      </p:sp>
      <p:sp>
        <p:nvSpPr>
          <p:cNvPr id="40964"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4139371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5AF583FD-C969-4326-8539-38F18E301B71}" type="slidenum">
              <a:rPr lang="pt-BR" smtClean="0">
                <a:solidFill>
                  <a:srgbClr val="000000"/>
                </a:solidFill>
              </a:rPr>
              <a:pPr/>
              <a:t>5</a:t>
            </a:fld>
            <a:endParaRPr lang="pt-BR" dirty="0">
              <a:solidFill>
                <a:srgbClr val="000000"/>
              </a:solidFill>
            </a:endParaRPr>
          </a:p>
        </p:txBody>
      </p:sp>
    </p:spTree>
    <p:extLst>
      <p:ext uri="{BB962C8B-B14F-4D97-AF65-F5344CB8AC3E}">
        <p14:creationId xmlns:p14="http://schemas.microsoft.com/office/powerpoint/2010/main" val="718875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5AF583FD-C969-4326-8539-38F18E301B71}" type="slidenum">
              <a:rPr lang="pt-BR" smtClean="0">
                <a:solidFill>
                  <a:srgbClr val="000000"/>
                </a:solidFill>
              </a:rPr>
              <a:pPr/>
              <a:t>6</a:t>
            </a:fld>
            <a:endParaRPr lang="pt-BR" dirty="0">
              <a:solidFill>
                <a:srgbClr val="000000"/>
              </a:solidFill>
            </a:endParaRPr>
          </a:p>
        </p:txBody>
      </p:sp>
    </p:spTree>
    <p:extLst>
      <p:ext uri="{BB962C8B-B14F-4D97-AF65-F5344CB8AC3E}">
        <p14:creationId xmlns:p14="http://schemas.microsoft.com/office/powerpoint/2010/main" val="1483186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5AF583FD-C969-4326-8539-38F18E301B71}" type="slidenum">
              <a:rPr lang="pt-BR" smtClean="0">
                <a:solidFill>
                  <a:srgbClr val="000000"/>
                </a:solidFill>
              </a:rPr>
              <a:pPr/>
              <a:t>7</a:t>
            </a:fld>
            <a:endParaRPr lang="pt-BR" dirty="0">
              <a:solidFill>
                <a:srgbClr val="000000"/>
              </a:solidFill>
            </a:endParaRPr>
          </a:p>
        </p:txBody>
      </p:sp>
    </p:spTree>
    <p:extLst>
      <p:ext uri="{BB962C8B-B14F-4D97-AF65-F5344CB8AC3E}">
        <p14:creationId xmlns:p14="http://schemas.microsoft.com/office/powerpoint/2010/main" val="2967286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5AF583FD-C969-4326-8539-38F18E301B71}" type="slidenum">
              <a:rPr lang="pt-BR" smtClean="0">
                <a:solidFill>
                  <a:srgbClr val="000000"/>
                </a:solidFill>
              </a:rPr>
              <a:pPr/>
              <a:t>11</a:t>
            </a:fld>
            <a:endParaRPr lang="pt-BR" dirty="0">
              <a:solidFill>
                <a:srgbClr val="000000"/>
              </a:solidFill>
            </a:endParaRPr>
          </a:p>
        </p:txBody>
      </p:sp>
    </p:spTree>
    <p:extLst>
      <p:ext uri="{BB962C8B-B14F-4D97-AF65-F5344CB8AC3E}">
        <p14:creationId xmlns:p14="http://schemas.microsoft.com/office/powerpoint/2010/main" val="4192720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spcBef>
                <a:spcPct val="30000"/>
              </a:spcBef>
              <a:defRPr sz="1200">
                <a:solidFill>
                  <a:schemeClr val="tx1"/>
                </a:solidFill>
                <a:latin typeface="Times New Roman" pitchFamily="18" charset="0"/>
              </a:defRPr>
            </a:lvl1pPr>
            <a:lvl2pPr marL="742950" indent="-285750" defTabSz="966788">
              <a:spcBef>
                <a:spcPct val="30000"/>
              </a:spcBef>
              <a:defRPr sz="1200">
                <a:solidFill>
                  <a:schemeClr val="tx1"/>
                </a:solidFill>
                <a:latin typeface="Times New Roman" pitchFamily="18" charset="0"/>
              </a:defRPr>
            </a:lvl2pPr>
            <a:lvl3pPr marL="1143000" indent="-228600" defTabSz="966788">
              <a:spcBef>
                <a:spcPct val="30000"/>
              </a:spcBef>
              <a:defRPr sz="1200">
                <a:solidFill>
                  <a:schemeClr val="tx1"/>
                </a:solidFill>
                <a:latin typeface="Times New Roman" pitchFamily="18" charset="0"/>
              </a:defRPr>
            </a:lvl3pPr>
            <a:lvl4pPr marL="1600200" indent="-228600" defTabSz="966788">
              <a:spcBef>
                <a:spcPct val="30000"/>
              </a:spcBef>
              <a:defRPr sz="1200">
                <a:solidFill>
                  <a:schemeClr val="tx1"/>
                </a:solidFill>
                <a:latin typeface="Times New Roman" pitchFamily="18" charset="0"/>
              </a:defRPr>
            </a:lvl4pPr>
            <a:lvl5pPr marL="2057400" indent="-228600" defTabSz="966788">
              <a:spcBef>
                <a:spcPct val="30000"/>
              </a:spcBef>
              <a:defRPr sz="1200">
                <a:solidFill>
                  <a:schemeClr val="tx1"/>
                </a:solidFill>
                <a:latin typeface="Times New Roman" pitchFamily="18" charset="0"/>
              </a:defRPr>
            </a:lvl5pPr>
            <a:lvl6pPr marL="2514600" indent="-228600" defTabSz="966788" eaLnBrk="0" fontAlgn="base" hangingPunct="0">
              <a:spcBef>
                <a:spcPct val="30000"/>
              </a:spcBef>
              <a:spcAft>
                <a:spcPct val="0"/>
              </a:spcAft>
              <a:defRPr sz="1200">
                <a:solidFill>
                  <a:schemeClr val="tx1"/>
                </a:solidFill>
                <a:latin typeface="Times New Roman" pitchFamily="18" charset="0"/>
              </a:defRPr>
            </a:lvl6pPr>
            <a:lvl7pPr marL="2971800" indent="-228600" defTabSz="966788" eaLnBrk="0" fontAlgn="base" hangingPunct="0">
              <a:spcBef>
                <a:spcPct val="30000"/>
              </a:spcBef>
              <a:spcAft>
                <a:spcPct val="0"/>
              </a:spcAft>
              <a:defRPr sz="1200">
                <a:solidFill>
                  <a:schemeClr val="tx1"/>
                </a:solidFill>
                <a:latin typeface="Times New Roman" pitchFamily="18" charset="0"/>
              </a:defRPr>
            </a:lvl7pPr>
            <a:lvl8pPr marL="3429000" indent="-228600" defTabSz="966788" eaLnBrk="0" fontAlgn="base" hangingPunct="0">
              <a:spcBef>
                <a:spcPct val="30000"/>
              </a:spcBef>
              <a:spcAft>
                <a:spcPct val="0"/>
              </a:spcAft>
              <a:defRPr sz="1200">
                <a:solidFill>
                  <a:schemeClr val="tx1"/>
                </a:solidFill>
                <a:latin typeface="Times New Roman" pitchFamily="18" charset="0"/>
              </a:defRPr>
            </a:lvl8pPr>
            <a:lvl9pPr marL="3886200" indent="-228600" defTabSz="966788"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7B3DC334-BC96-4273-9676-2E2131DD2CC6}" type="slidenum">
              <a:rPr lang="pt-BR" altLang="pt-BR" sz="1300">
                <a:solidFill>
                  <a:srgbClr val="000000"/>
                </a:solidFill>
              </a:rPr>
              <a:pPr>
                <a:spcBef>
                  <a:spcPct val="0"/>
                </a:spcBef>
              </a:pPr>
              <a:t>13</a:t>
            </a:fld>
            <a:endParaRPr lang="pt-BR" altLang="pt-BR" sz="1300">
              <a:solidFill>
                <a:srgbClr val="000000"/>
              </a:solidFill>
            </a:endParaRPr>
          </a:p>
        </p:txBody>
      </p:sp>
      <p:sp>
        <p:nvSpPr>
          <p:cNvPr id="162819" name="Rectangle 2"/>
          <p:cNvSpPr>
            <a:spLocks noGrp="1" noRot="1" noChangeAspect="1" noChangeArrowheads="1" noTextEdit="1"/>
          </p:cNvSpPr>
          <p:nvPr>
            <p:ph type="sldImg"/>
          </p:nvPr>
        </p:nvSpPr>
        <p:spPr>
          <a:ln/>
        </p:spPr>
      </p:sp>
      <p:sp>
        <p:nvSpPr>
          <p:cNvPr id="162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pt-BR" smtClean="0"/>
          </a:p>
        </p:txBody>
      </p:sp>
    </p:spTree>
    <p:extLst>
      <p:ext uri="{BB962C8B-B14F-4D97-AF65-F5344CB8AC3E}">
        <p14:creationId xmlns:p14="http://schemas.microsoft.com/office/powerpoint/2010/main" val="1119816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spcBef>
                <a:spcPct val="30000"/>
              </a:spcBef>
              <a:defRPr sz="1200">
                <a:solidFill>
                  <a:schemeClr val="tx1"/>
                </a:solidFill>
                <a:latin typeface="Times New Roman" pitchFamily="18" charset="0"/>
              </a:defRPr>
            </a:lvl1pPr>
            <a:lvl2pPr marL="742950" indent="-285750" defTabSz="966788">
              <a:spcBef>
                <a:spcPct val="30000"/>
              </a:spcBef>
              <a:defRPr sz="1200">
                <a:solidFill>
                  <a:schemeClr val="tx1"/>
                </a:solidFill>
                <a:latin typeface="Times New Roman" pitchFamily="18" charset="0"/>
              </a:defRPr>
            </a:lvl2pPr>
            <a:lvl3pPr marL="1143000" indent="-228600" defTabSz="966788">
              <a:spcBef>
                <a:spcPct val="30000"/>
              </a:spcBef>
              <a:defRPr sz="1200">
                <a:solidFill>
                  <a:schemeClr val="tx1"/>
                </a:solidFill>
                <a:latin typeface="Times New Roman" pitchFamily="18" charset="0"/>
              </a:defRPr>
            </a:lvl3pPr>
            <a:lvl4pPr marL="1600200" indent="-228600" defTabSz="966788">
              <a:spcBef>
                <a:spcPct val="30000"/>
              </a:spcBef>
              <a:defRPr sz="1200">
                <a:solidFill>
                  <a:schemeClr val="tx1"/>
                </a:solidFill>
                <a:latin typeface="Times New Roman" pitchFamily="18" charset="0"/>
              </a:defRPr>
            </a:lvl4pPr>
            <a:lvl5pPr marL="2057400" indent="-228600" defTabSz="966788">
              <a:spcBef>
                <a:spcPct val="30000"/>
              </a:spcBef>
              <a:defRPr sz="1200">
                <a:solidFill>
                  <a:schemeClr val="tx1"/>
                </a:solidFill>
                <a:latin typeface="Times New Roman" pitchFamily="18" charset="0"/>
              </a:defRPr>
            </a:lvl5pPr>
            <a:lvl6pPr marL="2514600" indent="-228600" defTabSz="966788" eaLnBrk="0" fontAlgn="base" hangingPunct="0">
              <a:spcBef>
                <a:spcPct val="30000"/>
              </a:spcBef>
              <a:spcAft>
                <a:spcPct val="0"/>
              </a:spcAft>
              <a:defRPr sz="1200">
                <a:solidFill>
                  <a:schemeClr val="tx1"/>
                </a:solidFill>
                <a:latin typeface="Times New Roman" pitchFamily="18" charset="0"/>
              </a:defRPr>
            </a:lvl6pPr>
            <a:lvl7pPr marL="2971800" indent="-228600" defTabSz="966788" eaLnBrk="0" fontAlgn="base" hangingPunct="0">
              <a:spcBef>
                <a:spcPct val="30000"/>
              </a:spcBef>
              <a:spcAft>
                <a:spcPct val="0"/>
              </a:spcAft>
              <a:defRPr sz="1200">
                <a:solidFill>
                  <a:schemeClr val="tx1"/>
                </a:solidFill>
                <a:latin typeface="Times New Roman" pitchFamily="18" charset="0"/>
              </a:defRPr>
            </a:lvl7pPr>
            <a:lvl8pPr marL="3429000" indent="-228600" defTabSz="966788" eaLnBrk="0" fontAlgn="base" hangingPunct="0">
              <a:spcBef>
                <a:spcPct val="30000"/>
              </a:spcBef>
              <a:spcAft>
                <a:spcPct val="0"/>
              </a:spcAft>
              <a:defRPr sz="1200">
                <a:solidFill>
                  <a:schemeClr val="tx1"/>
                </a:solidFill>
                <a:latin typeface="Times New Roman" pitchFamily="18" charset="0"/>
              </a:defRPr>
            </a:lvl8pPr>
            <a:lvl9pPr marL="3886200" indent="-228600" defTabSz="966788"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E5DA33DB-3D30-4D43-A770-3563CDD295F8}" type="slidenum">
              <a:rPr lang="pt-BR" altLang="pt-BR" sz="1300">
                <a:solidFill>
                  <a:srgbClr val="000000"/>
                </a:solidFill>
              </a:rPr>
              <a:pPr>
                <a:spcBef>
                  <a:spcPct val="0"/>
                </a:spcBef>
              </a:pPr>
              <a:t>14</a:t>
            </a:fld>
            <a:endParaRPr lang="pt-BR" altLang="pt-BR" sz="1300">
              <a:solidFill>
                <a:srgbClr val="000000"/>
              </a:solidFill>
            </a:endParaRPr>
          </a:p>
        </p:txBody>
      </p:sp>
      <p:sp>
        <p:nvSpPr>
          <p:cNvPr id="164867" name="Rectangle 2"/>
          <p:cNvSpPr>
            <a:spLocks noGrp="1" noRot="1" noChangeAspect="1" noChangeArrowheads="1" noTextEdit="1"/>
          </p:cNvSpPr>
          <p:nvPr>
            <p:ph type="sldImg"/>
          </p:nvPr>
        </p:nvSpPr>
        <p:spPr>
          <a:ln/>
        </p:spPr>
      </p:sp>
      <p:sp>
        <p:nvSpPr>
          <p:cNvPr id="1648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pt-BR" smtClean="0"/>
          </a:p>
        </p:txBody>
      </p:sp>
    </p:spTree>
    <p:extLst>
      <p:ext uri="{BB962C8B-B14F-4D97-AF65-F5344CB8AC3E}">
        <p14:creationId xmlns:p14="http://schemas.microsoft.com/office/powerpoint/2010/main" val="2130691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5AF583FD-C969-4326-8539-38F18E301B71}" type="slidenum">
              <a:rPr lang="pt-BR" smtClean="0"/>
              <a:pPr/>
              <a:t>15</a:t>
            </a:fld>
            <a:endParaRPr lang="pt-BR" dirty="0"/>
          </a:p>
        </p:txBody>
      </p:sp>
    </p:spTree>
    <p:extLst>
      <p:ext uri="{BB962C8B-B14F-4D97-AF65-F5344CB8AC3E}">
        <p14:creationId xmlns:p14="http://schemas.microsoft.com/office/powerpoint/2010/main" val="7860787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eaLnBrk="0" hangingPunct="0">
              <a:defRPr sz="3000" b="1">
                <a:solidFill>
                  <a:schemeClr val="tx1"/>
                </a:solidFill>
                <a:latin typeface="Arial" panose="020B0604020202020204" pitchFamily="34" charset="0"/>
              </a:defRPr>
            </a:lvl1pPr>
            <a:lvl2pPr marL="742950" indent="-285750" defTabSz="966788" eaLnBrk="0" hangingPunct="0">
              <a:defRPr sz="3000" b="1">
                <a:solidFill>
                  <a:schemeClr val="tx1"/>
                </a:solidFill>
                <a:latin typeface="Arial" panose="020B0604020202020204" pitchFamily="34" charset="0"/>
              </a:defRPr>
            </a:lvl2pPr>
            <a:lvl3pPr marL="1143000" indent="-228600" defTabSz="966788" eaLnBrk="0" hangingPunct="0">
              <a:defRPr sz="3000" b="1">
                <a:solidFill>
                  <a:schemeClr val="tx1"/>
                </a:solidFill>
                <a:latin typeface="Arial" panose="020B0604020202020204" pitchFamily="34" charset="0"/>
              </a:defRPr>
            </a:lvl3pPr>
            <a:lvl4pPr marL="1600200" indent="-228600" defTabSz="966788" eaLnBrk="0" hangingPunct="0">
              <a:defRPr sz="3000" b="1">
                <a:solidFill>
                  <a:schemeClr val="tx1"/>
                </a:solidFill>
                <a:latin typeface="Arial" panose="020B0604020202020204" pitchFamily="34" charset="0"/>
              </a:defRPr>
            </a:lvl4pPr>
            <a:lvl5pPr marL="2057400" indent="-228600" defTabSz="966788" eaLnBrk="0" hangingPunct="0">
              <a:defRPr sz="3000" b="1">
                <a:solidFill>
                  <a:schemeClr val="tx1"/>
                </a:solidFill>
                <a:latin typeface="Arial" panose="020B0604020202020204" pitchFamily="34" charset="0"/>
              </a:defRPr>
            </a:lvl5pPr>
            <a:lvl6pPr marL="2514600" indent="-228600" defTabSz="966788" eaLnBrk="0" fontAlgn="base" hangingPunct="0">
              <a:spcBef>
                <a:spcPct val="50000"/>
              </a:spcBef>
              <a:spcAft>
                <a:spcPct val="0"/>
              </a:spcAft>
              <a:defRPr sz="3000" b="1">
                <a:solidFill>
                  <a:schemeClr val="tx1"/>
                </a:solidFill>
                <a:latin typeface="Arial" panose="020B0604020202020204" pitchFamily="34" charset="0"/>
              </a:defRPr>
            </a:lvl6pPr>
            <a:lvl7pPr marL="2971800" indent="-228600" defTabSz="966788" eaLnBrk="0" fontAlgn="base" hangingPunct="0">
              <a:spcBef>
                <a:spcPct val="50000"/>
              </a:spcBef>
              <a:spcAft>
                <a:spcPct val="0"/>
              </a:spcAft>
              <a:defRPr sz="3000" b="1">
                <a:solidFill>
                  <a:schemeClr val="tx1"/>
                </a:solidFill>
                <a:latin typeface="Arial" panose="020B0604020202020204" pitchFamily="34" charset="0"/>
              </a:defRPr>
            </a:lvl7pPr>
            <a:lvl8pPr marL="3429000" indent="-228600" defTabSz="966788" eaLnBrk="0" fontAlgn="base" hangingPunct="0">
              <a:spcBef>
                <a:spcPct val="50000"/>
              </a:spcBef>
              <a:spcAft>
                <a:spcPct val="0"/>
              </a:spcAft>
              <a:defRPr sz="3000" b="1">
                <a:solidFill>
                  <a:schemeClr val="tx1"/>
                </a:solidFill>
                <a:latin typeface="Arial" panose="020B0604020202020204" pitchFamily="34" charset="0"/>
              </a:defRPr>
            </a:lvl8pPr>
            <a:lvl9pPr marL="3886200" indent="-228600" defTabSz="966788"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fld id="{8F184623-9674-470D-8E34-F67F81104C8D}" type="slidenum">
              <a:rPr lang="pt-BR" altLang="pt-BR" sz="1300" b="0">
                <a:latin typeface="Times New Roman" panose="02020603050405020304" pitchFamily="18" charset="0"/>
              </a:rPr>
              <a:pPr eaLnBrk="1" hangingPunct="1"/>
              <a:t>16</a:t>
            </a:fld>
            <a:endParaRPr lang="pt-BR" altLang="pt-BR" sz="1300" b="0">
              <a:latin typeface="Times New Roman" panose="02020603050405020304" pitchFamily="18" charset="0"/>
            </a:endParaRPr>
          </a:p>
        </p:txBody>
      </p:sp>
      <p:sp>
        <p:nvSpPr>
          <p:cNvPr id="9219" name="Rectangle 2"/>
          <p:cNvSpPr>
            <a:spLocks noGrp="1" noRot="1" noChangeAspect="1" noChangeArrowheads="1" noTextEdit="1"/>
          </p:cNvSpPr>
          <p:nvPr>
            <p:ph type="sldImg"/>
          </p:nvPr>
        </p:nvSpPr>
        <p:spPr>
          <a:ln/>
        </p:spPr>
      </p:sp>
      <p:sp>
        <p:nvSpPr>
          <p:cNvPr id="92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pt-BR" smtClean="0"/>
          </a:p>
        </p:txBody>
      </p:sp>
    </p:spTree>
    <p:extLst>
      <p:ext uri="{BB962C8B-B14F-4D97-AF65-F5344CB8AC3E}">
        <p14:creationId xmlns:p14="http://schemas.microsoft.com/office/powerpoint/2010/main" val="11329745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8.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0.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1.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2.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98137A4-986C-44B7-BC96-9776515981F1}" type="slidenum">
              <a:rPr lang="pt-BR" smtClean="0"/>
              <a:pPr/>
              <a:t>‹nº›</a:t>
            </a:fld>
            <a:endParaRPr lang="pt-B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98137A4-986C-44B7-BC96-9776515981F1}" type="slidenum">
              <a:rPr lang="pt-BR" smtClean="0"/>
              <a:pPr/>
              <a:t>‹nº›</a:t>
            </a:fld>
            <a:endParaRPr lang="pt-BR"/>
          </a:p>
        </p:txBody>
      </p:sp>
      <p:sp>
        <p:nvSpPr>
          <p:cNvPr id="7" name="Rectangle 6"/>
          <p:cNvSpPr txBox="1">
            <a:spLocks noChangeArrowheads="1"/>
          </p:cNvSpPr>
          <p:nvPr userDrawn="1"/>
        </p:nvSpPr>
        <p:spPr>
          <a:xfrm>
            <a:off x="8460432" y="6423025"/>
            <a:ext cx="683568" cy="438150"/>
          </a:xfrm>
          <a:prstGeom prst="rect">
            <a:avLst/>
          </a:prstGeom>
        </p:spPr>
        <p:txBody>
          <a:bodyPr vert="horz" lIns="91440" tIns="45720" rIns="91440" bIns="45720" rtlCol="0" anchor="ctr"/>
          <a:lstStyle>
            <a:defPPr>
              <a:defRPr lang="pt-BR"/>
            </a:defPPr>
            <a:lvl1pPr marL="0" algn="r" defTabSz="914400" rtl="0" eaLnBrk="1" latinLnBrk="0" hangingPunct="1">
              <a:defRPr sz="1400" kern="1200">
                <a:solidFill>
                  <a:schemeClr val="bg1">
                    <a:lumMod val="65000"/>
                  </a:schemeClr>
                </a:solidFill>
                <a:latin typeface="Trebuchet M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66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25267698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5813" y="4509889"/>
            <a:ext cx="3163634" cy="646331"/>
          </a:xfrm>
          <a:noFill/>
        </p:spPr>
        <p:txBody>
          <a:bodyPr wrap="square" anchor="t" anchorCtr="0">
            <a:spAutoFit/>
          </a:bodyPr>
          <a:lstStyle>
            <a:lvl1pPr>
              <a:defRPr sz="2100">
                <a:solidFill>
                  <a:srgbClr val="002266"/>
                </a:solidFill>
              </a:defRPr>
            </a:lvl1pPr>
          </a:lstStyle>
          <a:p>
            <a:r>
              <a:rPr lang="pt-BR" dirty="0"/>
              <a:t>Click to edit Master title style</a:t>
            </a:r>
          </a:p>
        </p:txBody>
      </p:sp>
      <p:sp>
        <p:nvSpPr>
          <p:cNvPr id="3" name="Subtitle 2"/>
          <p:cNvSpPr>
            <a:spLocks noGrp="1"/>
          </p:cNvSpPr>
          <p:nvPr>
            <p:ph type="subTitle" idx="1"/>
          </p:nvPr>
        </p:nvSpPr>
        <p:spPr>
          <a:xfrm>
            <a:off x="435219" y="5547385"/>
            <a:ext cx="3026996" cy="207749"/>
          </a:xfrm>
        </p:spPr>
        <p:txBody>
          <a:bodyPr/>
          <a:lstStyle>
            <a:lvl1pPr marL="0" indent="0" algn="l">
              <a:buNone/>
              <a:defRPr sz="1350">
                <a:solidFill>
                  <a:srgbClr val="2F539C"/>
                </a:solidFill>
              </a:defRPr>
            </a:lvl1pPr>
            <a:lvl2pPr marL="342883" indent="0" algn="ctr">
              <a:buNone/>
              <a:defRPr>
                <a:solidFill>
                  <a:schemeClr val="tx1">
                    <a:tint val="75000"/>
                  </a:schemeClr>
                </a:solidFill>
              </a:defRPr>
            </a:lvl2pPr>
            <a:lvl3pPr marL="685767" indent="0" algn="ctr">
              <a:buNone/>
              <a:defRPr>
                <a:solidFill>
                  <a:schemeClr val="tx1">
                    <a:tint val="75000"/>
                  </a:schemeClr>
                </a:solidFill>
              </a:defRPr>
            </a:lvl3pPr>
            <a:lvl4pPr marL="1028648"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2" indent="0" algn="ctr">
              <a:buNone/>
              <a:defRPr>
                <a:solidFill>
                  <a:schemeClr val="tx1">
                    <a:tint val="75000"/>
                  </a:schemeClr>
                </a:solidFill>
              </a:defRPr>
            </a:lvl9pPr>
          </a:lstStyle>
          <a:p>
            <a:r>
              <a:rPr lang="pt-BR" dirty="0"/>
              <a:t>Click to edit Master subtitle style</a:t>
            </a:r>
          </a:p>
        </p:txBody>
      </p:sp>
      <p:cxnSp>
        <p:nvCxnSpPr>
          <p:cNvPr id="54" name="Straight Connector 9"/>
          <p:cNvCxnSpPr>
            <a:cxnSpLocks noChangeShapeType="1"/>
          </p:cNvCxnSpPr>
          <p:nvPr userDrawn="1"/>
        </p:nvCxnSpPr>
        <p:spPr bwMode="auto">
          <a:xfrm>
            <a:off x="435221" y="1112935"/>
            <a:ext cx="8708783" cy="0"/>
          </a:xfrm>
          <a:prstGeom prst="line">
            <a:avLst/>
          </a:prstGeom>
          <a:noFill/>
          <a:ln w="12700">
            <a:solidFill>
              <a:schemeClr val="tx1"/>
            </a:solidFill>
            <a:round/>
            <a:headEnd/>
            <a:tailEnd/>
          </a:ln>
        </p:spPr>
      </p:cxnSp>
      <p:grpSp>
        <p:nvGrpSpPr>
          <p:cNvPr id="55" name="Group 54"/>
          <p:cNvGrpSpPr/>
          <p:nvPr userDrawn="1"/>
        </p:nvGrpSpPr>
        <p:grpSpPr>
          <a:xfrm>
            <a:off x="435222" y="366058"/>
            <a:ext cx="2061150" cy="1062376"/>
            <a:chOff x="471488" y="366051"/>
            <a:chExt cx="2232912" cy="1062375"/>
          </a:xfrm>
        </p:grpSpPr>
        <p:sp>
          <p:nvSpPr>
            <p:cNvPr id="56" name="Freeform 14"/>
            <p:cNvSpPr>
              <a:spLocks/>
            </p:cNvSpPr>
            <p:nvPr userDrawn="1"/>
          </p:nvSpPr>
          <p:spPr bwMode="auto">
            <a:xfrm>
              <a:off x="1754457" y="366051"/>
              <a:ext cx="206884" cy="211195"/>
            </a:xfrm>
            <a:custGeom>
              <a:avLst/>
              <a:gdLst/>
              <a:ahLst/>
              <a:cxnLst>
                <a:cxn ang="0">
                  <a:pos x="0" y="0"/>
                </a:cxn>
                <a:cxn ang="0">
                  <a:pos x="0" y="52"/>
                </a:cxn>
                <a:cxn ang="0">
                  <a:pos x="0" y="359"/>
                </a:cxn>
                <a:cxn ang="0">
                  <a:pos x="12" y="364"/>
                </a:cxn>
                <a:cxn ang="0">
                  <a:pos x="44" y="376"/>
                </a:cxn>
                <a:cxn ang="0">
                  <a:pos x="95" y="396"/>
                </a:cxn>
                <a:cxn ang="0">
                  <a:pos x="162" y="421"/>
                </a:cxn>
                <a:cxn ang="0">
                  <a:pos x="241" y="452"/>
                </a:cxn>
                <a:cxn ang="0">
                  <a:pos x="330" y="486"/>
                </a:cxn>
                <a:cxn ang="0">
                  <a:pos x="427" y="524"/>
                </a:cxn>
                <a:cxn ang="0">
                  <a:pos x="529" y="563"/>
                </a:cxn>
                <a:cxn ang="0">
                  <a:pos x="631" y="603"/>
                </a:cxn>
                <a:cxn ang="0">
                  <a:pos x="733" y="642"/>
                </a:cxn>
                <a:cxn ang="0">
                  <a:pos x="832" y="680"/>
                </a:cxn>
                <a:cxn ang="0">
                  <a:pos x="923" y="715"/>
                </a:cxn>
                <a:cxn ang="0">
                  <a:pos x="1005" y="747"/>
                </a:cxn>
                <a:cxn ang="0">
                  <a:pos x="1074" y="773"/>
                </a:cxn>
                <a:cxn ang="0">
                  <a:pos x="1130" y="795"/>
                </a:cxn>
                <a:cxn ang="0">
                  <a:pos x="1167" y="809"/>
                </a:cxn>
                <a:cxn ang="0">
                  <a:pos x="1130" y="824"/>
                </a:cxn>
                <a:cxn ang="0">
                  <a:pos x="1074" y="845"/>
                </a:cxn>
                <a:cxn ang="0">
                  <a:pos x="1005" y="872"/>
                </a:cxn>
                <a:cxn ang="0">
                  <a:pos x="923" y="903"/>
                </a:cxn>
                <a:cxn ang="0">
                  <a:pos x="832" y="939"/>
                </a:cxn>
                <a:cxn ang="0">
                  <a:pos x="733" y="976"/>
                </a:cxn>
                <a:cxn ang="0">
                  <a:pos x="631" y="1016"/>
                </a:cxn>
                <a:cxn ang="0">
                  <a:pos x="529" y="1054"/>
                </a:cxn>
                <a:cxn ang="0">
                  <a:pos x="427" y="1093"/>
                </a:cxn>
                <a:cxn ang="0">
                  <a:pos x="330" y="1131"/>
                </a:cxn>
                <a:cxn ang="0">
                  <a:pos x="241" y="1165"/>
                </a:cxn>
                <a:cxn ang="0">
                  <a:pos x="162" y="1196"/>
                </a:cxn>
                <a:cxn ang="0">
                  <a:pos x="95" y="1221"/>
                </a:cxn>
                <a:cxn ang="0">
                  <a:pos x="44" y="1241"/>
                </a:cxn>
                <a:cxn ang="0">
                  <a:pos x="12" y="1254"/>
                </a:cxn>
                <a:cxn ang="0">
                  <a:pos x="0" y="1258"/>
                </a:cxn>
                <a:cxn ang="0">
                  <a:pos x="0" y="1616"/>
                </a:cxn>
                <a:cxn ang="0">
                  <a:pos x="1587" y="973"/>
                </a:cxn>
                <a:cxn ang="0">
                  <a:pos x="1587" y="644"/>
                </a:cxn>
                <a:cxn ang="0">
                  <a:pos x="0" y="0"/>
                </a:cxn>
              </a:cxnLst>
              <a:rect l="0" t="0" r="r" b="b"/>
              <a:pathLst>
                <a:path w="1587" h="1616">
                  <a:moveTo>
                    <a:pt x="0" y="0"/>
                  </a:moveTo>
                  <a:lnTo>
                    <a:pt x="0" y="52"/>
                  </a:lnTo>
                  <a:lnTo>
                    <a:pt x="0" y="359"/>
                  </a:lnTo>
                  <a:lnTo>
                    <a:pt x="12" y="364"/>
                  </a:lnTo>
                  <a:lnTo>
                    <a:pt x="44" y="376"/>
                  </a:lnTo>
                  <a:lnTo>
                    <a:pt x="95" y="396"/>
                  </a:lnTo>
                  <a:lnTo>
                    <a:pt x="162" y="421"/>
                  </a:lnTo>
                  <a:lnTo>
                    <a:pt x="241" y="452"/>
                  </a:lnTo>
                  <a:lnTo>
                    <a:pt x="330" y="486"/>
                  </a:lnTo>
                  <a:lnTo>
                    <a:pt x="427" y="524"/>
                  </a:lnTo>
                  <a:lnTo>
                    <a:pt x="529" y="563"/>
                  </a:lnTo>
                  <a:lnTo>
                    <a:pt x="631" y="603"/>
                  </a:lnTo>
                  <a:lnTo>
                    <a:pt x="733" y="642"/>
                  </a:lnTo>
                  <a:lnTo>
                    <a:pt x="832" y="680"/>
                  </a:lnTo>
                  <a:lnTo>
                    <a:pt x="923" y="715"/>
                  </a:lnTo>
                  <a:lnTo>
                    <a:pt x="1005" y="747"/>
                  </a:lnTo>
                  <a:lnTo>
                    <a:pt x="1074" y="773"/>
                  </a:lnTo>
                  <a:lnTo>
                    <a:pt x="1130" y="795"/>
                  </a:lnTo>
                  <a:lnTo>
                    <a:pt x="1167" y="809"/>
                  </a:lnTo>
                  <a:lnTo>
                    <a:pt x="1130" y="824"/>
                  </a:lnTo>
                  <a:lnTo>
                    <a:pt x="1074" y="845"/>
                  </a:lnTo>
                  <a:lnTo>
                    <a:pt x="1005" y="872"/>
                  </a:lnTo>
                  <a:lnTo>
                    <a:pt x="923" y="903"/>
                  </a:lnTo>
                  <a:lnTo>
                    <a:pt x="832" y="939"/>
                  </a:lnTo>
                  <a:lnTo>
                    <a:pt x="733" y="976"/>
                  </a:lnTo>
                  <a:lnTo>
                    <a:pt x="631" y="1016"/>
                  </a:lnTo>
                  <a:lnTo>
                    <a:pt x="529" y="1054"/>
                  </a:lnTo>
                  <a:lnTo>
                    <a:pt x="427" y="1093"/>
                  </a:lnTo>
                  <a:lnTo>
                    <a:pt x="330" y="1131"/>
                  </a:lnTo>
                  <a:lnTo>
                    <a:pt x="241" y="1165"/>
                  </a:lnTo>
                  <a:lnTo>
                    <a:pt x="162" y="1196"/>
                  </a:lnTo>
                  <a:lnTo>
                    <a:pt x="95" y="1221"/>
                  </a:lnTo>
                  <a:lnTo>
                    <a:pt x="44" y="1241"/>
                  </a:lnTo>
                  <a:lnTo>
                    <a:pt x="12" y="1254"/>
                  </a:lnTo>
                  <a:lnTo>
                    <a:pt x="0" y="1258"/>
                  </a:lnTo>
                  <a:lnTo>
                    <a:pt x="0" y="1616"/>
                  </a:lnTo>
                  <a:lnTo>
                    <a:pt x="1587" y="973"/>
                  </a:lnTo>
                  <a:lnTo>
                    <a:pt x="1587" y="644"/>
                  </a:lnTo>
                  <a:lnTo>
                    <a:pt x="0" y="0"/>
                  </a:lnTo>
                  <a:close/>
                </a:path>
              </a:pathLst>
            </a:custGeom>
            <a:solidFill>
              <a:srgbClr val="00BBEE"/>
            </a:solid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nvGrpSpPr>
            <p:cNvPr id="57" name="Group 56"/>
            <p:cNvGrpSpPr/>
            <p:nvPr userDrawn="1"/>
          </p:nvGrpSpPr>
          <p:grpSpPr>
            <a:xfrm>
              <a:off x="471488" y="605980"/>
              <a:ext cx="2232912" cy="822446"/>
              <a:chOff x="471488" y="605980"/>
              <a:chExt cx="2232912" cy="822446"/>
            </a:xfrm>
          </p:grpSpPr>
          <p:sp>
            <p:nvSpPr>
              <p:cNvPr id="58" name="Freeform 8"/>
              <p:cNvSpPr>
                <a:spLocks noEditPoints="1"/>
              </p:cNvSpPr>
              <p:nvPr userDrawn="1"/>
            </p:nvSpPr>
            <p:spPr bwMode="auto">
              <a:xfrm>
                <a:off x="483200" y="1226389"/>
                <a:ext cx="2221200" cy="202037"/>
              </a:xfrm>
              <a:custGeom>
                <a:avLst/>
                <a:gdLst/>
                <a:ahLst/>
                <a:cxnLst>
                  <a:cxn ang="0">
                    <a:pos x="13149" y="878"/>
                  </a:cxn>
                  <a:cxn ang="0">
                    <a:pos x="13235" y="367"/>
                  </a:cxn>
                  <a:cxn ang="0">
                    <a:pos x="12964" y="772"/>
                  </a:cxn>
                  <a:cxn ang="0">
                    <a:pos x="13323" y="363"/>
                  </a:cxn>
                  <a:cxn ang="0">
                    <a:pos x="12496" y="598"/>
                  </a:cxn>
                  <a:cxn ang="0">
                    <a:pos x="12646" y="959"/>
                  </a:cxn>
                  <a:cxn ang="0">
                    <a:pos x="12469" y="346"/>
                  </a:cxn>
                  <a:cxn ang="0">
                    <a:pos x="12040" y="947"/>
                  </a:cxn>
                  <a:cxn ang="0">
                    <a:pos x="12139" y="598"/>
                  </a:cxn>
                  <a:cxn ang="0">
                    <a:pos x="11567" y="727"/>
                  </a:cxn>
                  <a:cxn ang="0">
                    <a:pos x="11612" y="935"/>
                  </a:cxn>
                  <a:cxn ang="0">
                    <a:pos x="11573" y="307"/>
                  </a:cxn>
                  <a:cxn ang="0">
                    <a:pos x="11420" y="296"/>
                  </a:cxn>
                  <a:cxn ang="0">
                    <a:pos x="10152" y="380"/>
                  </a:cxn>
                  <a:cxn ang="0">
                    <a:pos x="10243" y="955"/>
                  </a:cxn>
                  <a:cxn ang="0">
                    <a:pos x="9857" y="437"/>
                  </a:cxn>
                  <a:cxn ang="0">
                    <a:pos x="10305" y="453"/>
                  </a:cxn>
                  <a:cxn ang="0">
                    <a:pos x="9631" y="498"/>
                  </a:cxn>
                  <a:cxn ang="0">
                    <a:pos x="9529" y="30"/>
                  </a:cxn>
                  <a:cxn ang="0">
                    <a:pos x="9627" y="860"/>
                  </a:cxn>
                  <a:cxn ang="0">
                    <a:pos x="8359" y="361"/>
                  </a:cxn>
                  <a:cxn ang="0">
                    <a:pos x="8418" y="962"/>
                  </a:cxn>
                  <a:cxn ang="0">
                    <a:pos x="8131" y="389"/>
                  </a:cxn>
                  <a:cxn ang="0">
                    <a:pos x="8564" y="560"/>
                  </a:cxn>
                  <a:cxn ang="0">
                    <a:pos x="7676" y="703"/>
                  </a:cxn>
                  <a:cxn ang="0">
                    <a:pos x="7759" y="943"/>
                  </a:cxn>
                  <a:cxn ang="0">
                    <a:pos x="7683" y="314"/>
                  </a:cxn>
                  <a:cxn ang="0">
                    <a:pos x="7330" y="422"/>
                  </a:cxn>
                  <a:cxn ang="0">
                    <a:pos x="7101" y="379"/>
                  </a:cxn>
                  <a:cxn ang="0">
                    <a:pos x="6529" y="690"/>
                  </a:cxn>
                  <a:cxn ang="0">
                    <a:pos x="6707" y="794"/>
                  </a:cxn>
                  <a:cxn ang="0">
                    <a:pos x="6363" y="801"/>
                  </a:cxn>
                  <a:cxn ang="0">
                    <a:pos x="6673" y="369"/>
                  </a:cxn>
                  <a:cxn ang="0">
                    <a:pos x="6590" y="282"/>
                  </a:cxn>
                  <a:cxn ang="0">
                    <a:pos x="6091" y="378"/>
                  </a:cxn>
                  <a:cxn ang="0">
                    <a:pos x="5748" y="380"/>
                  </a:cxn>
                  <a:cxn ang="0">
                    <a:pos x="5665" y="294"/>
                  </a:cxn>
                  <a:cxn ang="0">
                    <a:pos x="6153" y="294"/>
                  </a:cxn>
                  <a:cxn ang="0">
                    <a:pos x="5307" y="392"/>
                  </a:cxn>
                  <a:cxn ang="0">
                    <a:pos x="4526" y="581"/>
                  </a:cxn>
                  <a:cxn ang="0">
                    <a:pos x="4830" y="751"/>
                  </a:cxn>
                  <a:cxn ang="0">
                    <a:pos x="4502" y="891"/>
                  </a:cxn>
                  <a:cxn ang="0">
                    <a:pos x="4702" y="282"/>
                  </a:cxn>
                  <a:cxn ang="0">
                    <a:pos x="4846" y="911"/>
                  </a:cxn>
                  <a:cxn ang="0">
                    <a:pos x="4109" y="206"/>
                  </a:cxn>
                  <a:cxn ang="0">
                    <a:pos x="3748" y="360"/>
                  </a:cxn>
                  <a:cxn ang="0">
                    <a:pos x="3222" y="369"/>
                  </a:cxn>
                  <a:cxn ang="0">
                    <a:pos x="3209" y="823"/>
                  </a:cxn>
                  <a:cxn ang="0">
                    <a:pos x="3097" y="860"/>
                  </a:cxn>
                  <a:cxn ang="0">
                    <a:pos x="3277" y="281"/>
                  </a:cxn>
                  <a:cxn ang="0">
                    <a:pos x="2577" y="475"/>
                  </a:cxn>
                  <a:cxn ang="0">
                    <a:pos x="2827" y="752"/>
                  </a:cxn>
                  <a:cxn ang="0">
                    <a:pos x="2556" y="840"/>
                  </a:cxn>
                  <a:cxn ang="0">
                    <a:pos x="2934" y="471"/>
                  </a:cxn>
                  <a:cxn ang="0">
                    <a:pos x="1927" y="403"/>
                  </a:cxn>
                  <a:cxn ang="0">
                    <a:pos x="1720" y="364"/>
                  </a:cxn>
                  <a:cxn ang="0">
                    <a:pos x="1117" y="405"/>
                  </a:cxn>
                  <a:cxn ang="0">
                    <a:pos x="1286" y="827"/>
                  </a:cxn>
                  <a:cxn ang="0">
                    <a:pos x="994" y="1115"/>
                  </a:cxn>
                  <a:cxn ang="0">
                    <a:pos x="1262" y="928"/>
                  </a:cxn>
                  <a:cxn ang="0">
                    <a:pos x="1017" y="376"/>
                  </a:cxn>
                  <a:cxn ang="0">
                    <a:pos x="1421" y="1097"/>
                  </a:cxn>
                  <a:cxn ang="0">
                    <a:pos x="604" y="947"/>
                  </a:cxn>
                </a:cxnLst>
                <a:rect l="0" t="0" r="r" b="b"/>
                <a:pathLst>
                  <a:path w="13694" h="1240">
                    <a:moveTo>
                      <a:pt x="13557" y="947"/>
                    </a:moveTo>
                    <a:lnTo>
                      <a:pt x="13557" y="811"/>
                    </a:lnTo>
                    <a:lnTo>
                      <a:pt x="13694" y="811"/>
                    </a:lnTo>
                    <a:lnTo>
                      <a:pt x="13694" y="947"/>
                    </a:lnTo>
                    <a:lnTo>
                      <a:pt x="13557" y="947"/>
                    </a:lnTo>
                    <a:close/>
                    <a:moveTo>
                      <a:pt x="13193" y="359"/>
                    </a:moveTo>
                    <a:lnTo>
                      <a:pt x="13181" y="360"/>
                    </a:lnTo>
                    <a:lnTo>
                      <a:pt x="13170" y="361"/>
                    </a:lnTo>
                    <a:lnTo>
                      <a:pt x="13160" y="365"/>
                    </a:lnTo>
                    <a:lnTo>
                      <a:pt x="13150" y="368"/>
                    </a:lnTo>
                    <a:lnTo>
                      <a:pt x="13142" y="372"/>
                    </a:lnTo>
                    <a:lnTo>
                      <a:pt x="13133" y="378"/>
                    </a:lnTo>
                    <a:lnTo>
                      <a:pt x="13125" y="384"/>
                    </a:lnTo>
                    <a:lnTo>
                      <a:pt x="13118" y="391"/>
                    </a:lnTo>
                    <a:lnTo>
                      <a:pt x="13111" y="399"/>
                    </a:lnTo>
                    <a:lnTo>
                      <a:pt x="13105" y="407"/>
                    </a:lnTo>
                    <a:lnTo>
                      <a:pt x="13098" y="417"/>
                    </a:lnTo>
                    <a:lnTo>
                      <a:pt x="13093" y="426"/>
                    </a:lnTo>
                    <a:lnTo>
                      <a:pt x="13084" y="446"/>
                    </a:lnTo>
                    <a:lnTo>
                      <a:pt x="13076" y="468"/>
                    </a:lnTo>
                    <a:lnTo>
                      <a:pt x="13070" y="492"/>
                    </a:lnTo>
                    <a:lnTo>
                      <a:pt x="13064" y="515"/>
                    </a:lnTo>
                    <a:lnTo>
                      <a:pt x="13061" y="538"/>
                    </a:lnTo>
                    <a:lnTo>
                      <a:pt x="13058" y="562"/>
                    </a:lnTo>
                    <a:lnTo>
                      <a:pt x="13056" y="607"/>
                    </a:lnTo>
                    <a:lnTo>
                      <a:pt x="13055" y="645"/>
                    </a:lnTo>
                    <a:lnTo>
                      <a:pt x="13055" y="662"/>
                    </a:lnTo>
                    <a:lnTo>
                      <a:pt x="13056" y="681"/>
                    </a:lnTo>
                    <a:lnTo>
                      <a:pt x="13057" y="700"/>
                    </a:lnTo>
                    <a:lnTo>
                      <a:pt x="13059" y="721"/>
                    </a:lnTo>
                    <a:lnTo>
                      <a:pt x="13062" y="740"/>
                    </a:lnTo>
                    <a:lnTo>
                      <a:pt x="13066" y="760"/>
                    </a:lnTo>
                    <a:lnTo>
                      <a:pt x="13071" y="779"/>
                    </a:lnTo>
                    <a:lnTo>
                      <a:pt x="13078" y="799"/>
                    </a:lnTo>
                    <a:lnTo>
                      <a:pt x="13085" y="816"/>
                    </a:lnTo>
                    <a:lnTo>
                      <a:pt x="13094" y="833"/>
                    </a:lnTo>
                    <a:lnTo>
                      <a:pt x="13099" y="840"/>
                    </a:lnTo>
                    <a:lnTo>
                      <a:pt x="13106" y="847"/>
                    </a:lnTo>
                    <a:lnTo>
                      <a:pt x="13111" y="853"/>
                    </a:lnTo>
                    <a:lnTo>
                      <a:pt x="13118" y="860"/>
                    </a:lnTo>
                    <a:lnTo>
                      <a:pt x="13125" y="865"/>
                    </a:lnTo>
                    <a:lnTo>
                      <a:pt x="13133" y="870"/>
                    </a:lnTo>
                    <a:lnTo>
                      <a:pt x="13140" y="874"/>
                    </a:lnTo>
                    <a:lnTo>
                      <a:pt x="13149" y="878"/>
                    </a:lnTo>
                    <a:lnTo>
                      <a:pt x="13159" y="880"/>
                    </a:lnTo>
                    <a:lnTo>
                      <a:pt x="13169" y="883"/>
                    </a:lnTo>
                    <a:lnTo>
                      <a:pt x="13178" y="884"/>
                    </a:lnTo>
                    <a:lnTo>
                      <a:pt x="13190" y="885"/>
                    </a:lnTo>
                    <a:lnTo>
                      <a:pt x="13200" y="884"/>
                    </a:lnTo>
                    <a:lnTo>
                      <a:pt x="13211" y="883"/>
                    </a:lnTo>
                    <a:lnTo>
                      <a:pt x="13221" y="880"/>
                    </a:lnTo>
                    <a:lnTo>
                      <a:pt x="13229" y="877"/>
                    </a:lnTo>
                    <a:lnTo>
                      <a:pt x="13239" y="873"/>
                    </a:lnTo>
                    <a:lnTo>
                      <a:pt x="13247" y="869"/>
                    </a:lnTo>
                    <a:lnTo>
                      <a:pt x="13255" y="863"/>
                    </a:lnTo>
                    <a:lnTo>
                      <a:pt x="13263" y="857"/>
                    </a:lnTo>
                    <a:lnTo>
                      <a:pt x="13270" y="850"/>
                    </a:lnTo>
                    <a:lnTo>
                      <a:pt x="13277" y="842"/>
                    </a:lnTo>
                    <a:lnTo>
                      <a:pt x="13284" y="835"/>
                    </a:lnTo>
                    <a:lnTo>
                      <a:pt x="13289" y="826"/>
                    </a:lnTo>
                    <a:lnTo>
                      <a:pt x="13300" y="808"/>
                    </a:lnTo>
                    <a:lnTo>
                      <a:pt x="13310" y="788"/>
                    </a:lnTo>
                    <a:lnTo>
                      <a:pt x="13318" y="768"/>
                    </a:lnTo>
                    <a:lnTo>
                      <a:pt x="13325" y="747"/>
                    </a:lnTo>
                    <a:lnTo>
                      <a:pt x="13331" y="725"/>
                    </a:lnTo>
                    <a:lnTo>
                      <a:pt x="13336" y="703"/>
                    </a:lnTo>
                    <a:lnTo>
                      <a:pt x="13339" y="682"/>
                    </a:lnTo>
                    <a:lnTo>
                      <a:pt x="13341" y="661"/>
                    </a:lnTo>
                    <a:lnTo>
                      <a:pt x="13342" y="643"/>
                    </a:lnTo>
                    <a:lnTo>
                      <a:pt x="13343" y="624"/>
                    </a:lnTo>
                    <a:lnTo>
                      <a:pt x="13342" y="607"/>
                    </a:lnTo>
                    <a:lnTo>
                      <a:pt x="13341" y="587"/>
                    </a:lnTo>
                    <a:lnTo>
                      <a:pt x="13340" y="566"/>
                    </a:lnTo>
                    <a:lnTo>
                      <a:pt x="13337" y="545"/>
                    </a:lnTo>
                    <a:lnTo>
                      <a:pt x="13333" y="522"/>
                    </a:lnTo>
                    <a:lnTo>
                      <a:pt x="13328" y="500"/>
                    </a:lnTo>
                    <a:lnTo>
                      <a:pt x="13322" y="479"/>
                    </a:lnTo>
                    <a:lnTo>
                      <a:pt x="13314" y="458"/>
                    </a:lnTo>
                    <a:lnTo>
                      <a:pt x="13305" y="437"/>
                    </a:lnTo>
                    <a:lnTo>
                      <a:pt x="13295" y="419"/>
                    </a:lnTo>
                    <a:lnTo>
                      <a:pt x="13288" y="410"/>
                    </a:lnTo>
                    <a:lnTo>
                      <a:pt x="13283" y="403"/>
                    </a:lnTo>
                    <a:lnTo>
                      <a:pt x="13275" y="395"/>
                    </a:lnTo>
                    <a:lnTo>
                      <a:pt x="13268" y="388"/>
                    </a:lnTo>
                    <a:lnTo>
                      <a:pt x="13261" y="382"/>
                    </a:lnTo>
                    <a:lnTo>
                      <a:pt x="13252" y="376"/>
                    </a:lnTo>
                    <a:lnTo>
                      <a:pt x="13244" y="371"/>
                    </a:lnTo>
                    <a:lnTo>
                      <a:pt x="13235" y="367"/>
                    </a:lnTo>
                    <a:lnTo>
                      <a:pt x="13225" y="364"/>
                    </a:lnTo>
                    <a:lnTo>
                      <a:pt x="13214" y="361"/>
                    </a:lnTo>
                    <a:lnTo>
                      <a:pt x="13203" y="360"/>
                    </a:lnTo>
                    <a:lnTo>
                      <a:pt x="13193" y="359"/>
                    </a:lnTo>
                    <a:close/>
                    <a:moveTo>
                      <a:pt x="13344" y="947"/>
                    </a:moveTo>
                    <a:lnTo>
                      <a:pt x="13344" y="836"/>
                    </a:lnTo>
                    <a:lnTo>
                      <a:pt x="13341" y="836"/>
                    </a:lnTo>
                    <a:lnTo>
                      <a:pt x="13337" y="850"/>
                    </a:lnTo>
                    <a:lnTo>
                      <a:pt x="13331" y="863"/>
                    </a:lnTo>
                    <a:lnTo>
                      <a:pt x="13324" y="876"/>
                    </a:lnTo>
                    <a:lnTo>
                      <a:pt x="13316" y="888"/>
                    </a:lnTo>
                    <a:lnTo>
                      <a:pt x="13308" y="899"/>
                    </a:lnTo>
                    <a:lnTo>
                      <a:pt x="13299" y="910"/>
                    </a:lnTo>
                    <a:lnTo>
                      <a:pt x="13288" y="918"/>
                    </a:lnTo>
                    <a:lnTo>
                      <a:pt x="13277" y="927"/>
                    </a:lnTo>
                    <a:lnTo>
                      <a:pt x="13266" y="936"/>
                    </a:lnTo>
                    <a:lnTo>
                      <a:pt x="13254" y="942"/>
                    </a:lnTo>
                    <a:lnTo>
                      <a:pt x="13241" y="948"/>
                    </a:lnTo>
                    <a:lnTo>
                      <a:pt x="13228" y="953"/>
                    </a:lnTo>
                    <a:lnTo>
                      <a:pt x="13214" y="958"/>
                    </a:lnTo>
                    <a:lnTo>
                      <a:pt x="13200" y="960"/>
                    </a:lnTo>
                    <a:lnTo>
                      <a:pt x="13186" y="962"/>
                    </a:lnTo>
                    <a:lnTo>
                      <a:pt x="13172" y="962"/>
                    </a:lnTo>
                    <a:lnTo>
                      <a:pt x="13155" y="962"/>
                    </a:lnTo>
                    <a:lnTo>
                      <a:pt x="13138" y="960"/>
                    </a:lnTo>
                    <a:lnTo>
                      <a:pt x="13123" y="958"/>
                    </a:lnTo>
                    <a:lnTo>
                      <a:pt x="13109" y="954"/>
                    </a:lnTo>
                    <a:lnTo>
                      <a:pt x="13095" y="950"/>
                    </a:lnTo>
                    <a:lnTo>
                      <a:pt x="13082" y="945"/>
                    </a:lnTo>
                    <a:lnTo>
                      <a:pt x="13070" y="938"/>
                    </a:lnTo>
                    <a:lnTo>
                      <a:pt x="13058" y="931"/>
                    </a:lnTo>
                    <a:lnTo>
                      <a:pt x="13047" y="924"/>
                    </a:lnTo>
                    <a:lnTo>
                      <a:pt x="13037" y="915"/>
                    </a:lnTo>
                    <a:lnTo>
                      <a:pt x="13028" y="907"/>
                    </a:lnTo>
                    <a:lnTo>
                      <a:pt x="13019" y="897"/>
                    </a:lnTo>
                    <a:lnTo>
                      <a:pt x="13011" y="886"/>
                    </a:lnTo>
                    <a:lnTo>
                      <a:pt x="13004" y="875"/>
                    </a:lnTo>
                    <a:lnTo>
                      <a:pt x="12996" y="863"/>
                    </a:lnTo>
                    <a:lnTo>
                      <a:pt x="12991" y="851"/>
                    </a:lnTo>
                    <a:lnTo>
                      <a:pt x="12984" y="839"/>
                    </a:lnTo>
                    <a:lnTo>
                      <a:pt x="12979" y="826"/>
                    </a:lnTo>
                    <a:lnTo>
                      <a:pt x="12974" y="813"/>
                    </a:lnTo>
                    <a:lnTo>
                      <a:pt x="12970" y="800"/>
                    </a:lnTo>
                    <a:lnTo>
                      <a:pt x="12964" y="772"/>
                    </a:lnTo>
                    <a:lnTo>
                      <a:pt x="12958" y="744"/>
                    </a:lnTo>
                    <a:lnTo>
                      <a:pt x="12954" y="714"/>
                    </a:lnTo>
                    <a:lnTo>
                      <a:pt x="12951" y="685"/>
                    </a:lnTo>
                    <a:lnTo>
                      <a:pt x="12949" y="656"/>
                    </a:lnTo>
                    <a:lnTo>
                      <a:pt x="12949" y="627"/>
                    </a:lnTo>
                    <a:lnTo>
                      <a:pt x="12949" y="600"/>
                    </a:lnTo>
                    <a:lnTo>
                      <a:pt x="12952" y="572"/>
                    </a:lnTo>
                    <a:lnTo>
                      <a:pt x="12954" y="543"/>
                    </a:lnTo>
                    <a:lnTo>
                      <a:pt x="12959" y="513"/>
                    </a:lnTo>
                    <a:lnTo>
                      <a:pt x="12965" y="484"/>
                    </a:lnTo>
                    <a:lnTo>
                      <a:pt x="12972" y="456"/>
                    </a:lnTo>
                    <a:lnTo>
                      <a:pt x="12977" y="442"/>
                    </a:lnTo>
                    <a:lnTo>
                      <a:pt x="12982" y="428"/>
                    </a:lnTo>
                    <a:lnTo>
                      <a:pt x="12987" y="415"/>
                    </a:lnTo>
                    <a:lnTo>
                      <a:pt x="12993" y="402"/>
                    </a:lnTo>
                    <a:lnTo>
                      <a:pt x="12999" y="389"/>
                    </a:lnTo>
                    <a:lnTo>
                      <a:pt x="13007" y="377"/>
                    </a:lnTo>
                    <a:lnTo>
                      <a:pt x="13015" y="365"/>
                    </a:lnTo>
                    <a:lnTo>
                      <a:pt x="13022" y="354"/>
                    </a:lnTo>
                    <a:lnTo>
                      <a:pt x="13031" y="343"/>
                    </a:lnTo>
                    <a:lnTo>
                      <a:pt x="13041" y="333"/>
                    </a:lnTo>
                    <a:lnTo>
                      <a:pt x="13050" y="323"/>
                    </a:lnTo>
                    <a:lnTo>
                      <a:pt x="13061" y="316"/>
                    </a:lnTo>
                    <a:lnTo>
                      <a:pt x="13072" y="308"/>
                    </a:lnTo>
                    <a:lnTo>
                      <a:pt x="13084" y="301"/>
                    </a:lnTo>
                    <a:lnTo>
                      <a:pt x="13097" y="295"/>
                    </a:lnTo>
                    <a:lnTo>
                      <a:pt x="13110" y="290"/>
                    </a:lnTo>
                    <a:lnTo>
                      <a:pt x="13124" y="287"/>
                    </a:lnTo>
                    <a:lnTo>
                      <a:pt x="13138" y="283"/>
                    </a:lnTo>
                    <a:lnTo>
                      <a:pt x="13155" y="282"/>
                    </a:lnTo>
                    <a:lnTo>
                      <a:pt x="13171" y="281"/>
                    </a:lnTo>
                    <a:lnTo>
                      <a:pt x="13186" y="282"/>
                    </a:lnTo>
                    <a:lnTo>
                      <a:pt x="13201" y="283"/>
                    </a:lnTo>
                    <a:lnTo>
                      <a:pt x="13215" y="285"/>
                    </a:lnTo>
                    <a:lnTo>
                      <a:pt x="13229" y="289"/>
                    </a:lnTo>
                    <a:lnTo>
                      <a:pt x="13242" y="293"/>
                    </a:lnTo>
                    <a:lnTo>
                      <a:pt x="13254" y="298"/>
                    </a:lnTo>
                    <a:lnTo>
                      <a:pt x="13266" y="305"/>
                    </a:lnTo>
                    <a:lnTo>
                      <a:pt x="13277" y="313"/>
                    </a:lnTo>
                    <a:lnTo>
                      <a:pt x="13288" y="320"/>
                    </a:lnTo>
                    <a:lnTo>
                      <a:pt x="13298" y="330"/>
                    </a:lnTo>
                    <a:lnTo>
                      <a:pt x="13306" y="340"/>
                    </a:lnTo>
                    <a:lnTo>
                      <a:pt x="13315" y="351"/>
                    </a:lnTo>
                    <a:lnTo>
                      <a:pt x="13323" y="363"/>
                    </a:lnTo>
                    <a:lnTo>
                      <a:pt x="13329" y="376"/>
                    </a:lnTo>
                    <a:lnTo>
                      <a:pt x="13336" y="389"/>
                    </a:lnTo>
                    <a:lnTo>
                      <a:pt x="13341" y="403"/>
                    </a:lnTo>
                    <a:lnTo>
                      <a:pt x="13344" y="403"/>
                    </a:lnTo>
                    <a:lnTo>
                      <a:pt x="13344" y="4"/>
                    </a:lnTo>
                    <a:lnTo>
                      <a:pt x="13437" y="4"/>
                    </a:lnTo>
                    <a:lnTo>
                      <a:pt x="13437" y="947"/>
                    </a:lnTo>
                    <a:lnTo>
                      <a:pt x="13344" y="947"/>
                    </a:lnTo>
                    <a:close/>
                    <a:moveTo>
                      <a:pt x="12639" y="359"/>
                    </a:moveTo>
                    <a:lnTo>
                      <a:pt x="12625" y="360"/>
                    </a:lnTo>
                    <a:lnTo>
                      <a:pt x="12612" y="361"/>
                    </a:lnTo>
                    <a:lnTo>
                      <a:pt x="12599" y="365"/>
                    </a:lnTo>
                    <a:lnTo>
                      <a:pt x="12587" y="369"/>
                    </a:lnTo>
                    <a:lnTo>
                      <a:pt x="12576" y="373"/>
                    </a:lnTo>
                    <a:lnTo>
                      <a:pt x="12565" y="380"/>
                    </a:lnTo>
                    <a:lnTo>
                      <a:pt x="12557" y="386"/>
                    </a:lnTo>
                    <a:lnTo>
                      <a:pt x="12547" y="394"/>
                    </a:lnTo>
                    <a:lnTo>
                      <a:pt x="12539" y="403"/>
                    </a:lnTo>
                    <a:lnTo>
                      <a:pt x="12532" y="412"/>
                    </a:lnTo>
                    <a:lnTo>
                      <a:pt x="12525" y="422"/>
                    </a:lnTo>
                    <a:lnTo>
                      <a:pt x="12519" y="433"/>
                    </a:lnTo>
                    <a:lnTo>
                      <a:pt x="12513" y="445"/>
                    </a:lnTo>
                    <a:lnTo>
                      <a:pt x="12509" y="457"/>
                    </a:lnTo>
                    <a:lnTo>
                      <a:pt x="12506" y="469"/>
                    </a:lnTo>
                    <a:lnTo>
                      <a:pt x="12502" y="482"/>
                    </a:lnTo>
                    <a:lnTo>
                      <a:pt x="12764" y="482"/>
                    </a:lnTo>
                    <a:lnTo>
                      <a:pt x="12763" y="469"/>
                    </a:lnTo>
                    <a:lnTo>
                      <a:pt x="12761" y="457"/>
                    </a:lnTo>
                    <a:lnTo>
                      <a:pt x="12759" y="445"/>
                    </a:lnTo>
                    <a:lnTo>
                      <a:pt x="12754" y="433"/>
                    </a:lnTo>
                    <a:lnTo>
                      <a:pt x="12749" y="422"/>
                    </a:lnTo>
                    <a:lnTo>
                      <a:pt x="12743" y="412"/>
                    </a:lnTo>
                    <a:lnTo>
                      <a:pt x="12736" y="403"/>
                    </a:lnTo>
                    <a:lnTo>
                      <a:pt x="12728" y="394"/>
                    </a:lnTo>
                    <a:lnTo>
                      <a:pt x="12719" y="386"/>
                    </a:lnTo>
                    <a:lnTo>
                      <a:pt x="12710" y="380"/>
                    </a:lnTo>
                    <a:lnTo>
                      <a:pt x="12700" y="373"/>
                    </a:lnTo>
                    <a:lnTo>
                      <a:pt x="12688" y="369"/>
                    </a:lnTo>
                    <a:lnTo>
                      <a:pt x="12677" y="365"/>
                    </a:lnTo>
                    <a:lnTo>
                      <a:pt x="12665" y="361"/>
                    </a:lnTo>
                    <a:lnTo>
                      <a:pt x="12652" y="360"/>
                    </a:lnTo>
                    <a:lnTo>
                      <a:pt x="12639" y="359"/>
                    </a:lnTo>
                    <a:close/>
                    <a:moveTo>
                      <a:pt x="12496" y="560"/>
                    </a:moveTo>
                    <a:lnTo>
                      <a:pt x="12496" y="598"/>
                    </a:lnTo>
                    <a:lnTo>
                      <a:pt x="12496" y="625"/>
                    </a:lnTo>
                    <a:lnTo>
                      <a:pt x="12499" y="651"/>
                    </a:lnTo>
                    <a:lnTo>
                      <a:pt x="12504" y="677"/>
                    </a:lnTo>
                    <a:lnTo>
                      <a:pt x="12509" y="703"/>
                    </a:lnTo>
                    <a:lnTo>
                      <a:pt x="12517" y="727"/>
                    </a:lnTo>
                    <a:lnTo>
                      <a:pt x="12526" y="751"/>
                    </a:lnTo>
                    <a:lnTo>
                      <a:pt x="12532" y="763"/>
                    </a:lnTo>
                    <a:lnTo>
                      <a:pt x="12538" y="774"/>
                    </a:lnTo>
                    <a:lnTo>
                      <a:pt x="12545" y="785"/>
                    </a:lnTo>
                    <a:lnTo>
                      <a:pt x="12551" y="795"/>
                    </a:lnTo>
                    <a:lnTo>
                      <a:pt x="12559" y="804"/>
                    </a:lnTo>
                    <a:lnTo>
                      <a:pt x="12566" y="814"/>
                    </a:lnTo>
                    <a:lnTo>
                      <a:pt x="12574" y="823"/>
                    </a:lnTo>
                    <a:lnTo>
                      <a:pt x="12583" y="832"/>
                    </a:lnTo>
                    <a:lnTo>
                      <a:pt x="12592" y="839"/>
                    </a:lnTo>
                    <a:lnTo>
                      <a:pt x="12602" y="847"/>
                    </a:lnTo>
                    <a:lnTo>
                      <a:pt x="12612" y="853"/>
                    </a:lnTo>
                    <a:lnTo>
                      <a:pt x="12623" y="860"/>
                    </a:lnTo>
                    <a:lnTo>
                      <a:pt x="12634" y="865"/>
                    </a:lnTo>
                    <a:lnTo>
                      <a:pt x="12646" y="871"/>
                    </a:lnTo>
                    <a:lnTo>
                      <a:pt x="12658" y="874"/>
                    </a:lnTo>
                    <a:lnTo>
                      <a:pt x="12671" y="878"/>
                    </a:lnTo>
                    <a:lnTo>
                      <a:pt x="12684" y="880"/>
                    </a:lnTo>
                    <a:lnTo>
                      <a:pt x="12698" y="883"/>
                    </a:lnTo>
                    <a:lnTo>
                      <a:pt x="12712" y="884"/>
                    </a:lnTo>
                    <a:lnTo>
                      <a:pt x="12727" y="885"/>
                    </a:lnTo>
                    <a:lnTo>
                      <a:pt x="12743" y="884"/>
                    </a:lnTo>
                    <a:lnTo>
                      <a:pt x="12760" y="883"/>
                    </a:lnTo>
                    <a:lnTo>
                      <a:pt x="12776" y="882"/>
                    </a:lnTo>
                    <a:lnTo>
                      <a:pt x="12791" y="879"/>
                    </a:lnTo>
                    <a:lnTo>
                      <a:pt x="12823" y="874"/>
                    </a:lnTo>
                    <a:lnTo>
                      <a:pt x="12855" y="866"/>
                    </a:lnTo>
                    <a:lnTo>
                      <a:pt x="12855" y="943"/>
                    </a:lnTo>
                    <a:lnTo>
                      <a:pt x="12837" y="948"/>
                    </a:lnTo>
                    <a:lnTo>
                      <a:pt x="12818" y="952"/>
                    </a:lnTo>
                    <a:lnTo>
                      <a:pt x="12800" y="955"/>
                    </a:lnTo>
                    <a:lnTo>
                      <a:pt x="12781" y="959"/>
                    </a:lnTo>
                    <a:lnTo>
                      <a:pt x="12763" y="960"/>
                    </a:lnTo>
                    <a:lnTo>
                      <a:pt x="12744" y="962"/>
                    </a:lnTo>
                    <a:lnTo>
                      <a:pt x="12725" y="962"/>
                    </a:lnTo>
                    <a:lnTo>
                      <a:pt x="12706" y="962"/>
                    </a:lnTo>
                    <a:lnTo>
                      <a:pt x="12686" y="962"/>
                    </a:lnTo>
                    <a:lnTo>
                      <a:pt x="12665" y="961"/>
                    </a:lnTo>
                    <a:lnTo>
                      <a:pt x="12646" y="959"/>
                    </a:lnTo>
                    <a:lnTo>
                      <a:pt x="12627" y="955"/>
                    </a:lnTo>
                    <a:lnTo>
                      <a:pt x="12610" y="951"/>
                    </a:lnTo>
                    <a:lnTo>
                      <a:pt x="12592" y="947"/>
                    </a:lnTo>
                    <a:lnTo>
                      <a:pt x="12577" y="941"/>
                    </a:lnTo>
                    <a:lnTo>
                      <a:pt x="12561" y="935"/>
                    </a:lnTo>
                    <a:lnTo>
                      <a:pt x="12547" y="928"/>
                    </a:lnTo>
                    <a:lnTo>
                      <a:pt x="12533" y="921"/>
                    </a:lnTo>
                    <a:lnTo>
                      <a:pt x="12519" y="912"/>
                    </a:lnTo>
                    <a:lnTo>
                      <a:pt x="12507" y="903"/>
                    </a:lnTo>
                    <a:lnTo>
                      <a:pt x="12495" y="893"/>
                    </a:lnTo>
                    <a:lnTo>
                      <a:pt x="12483" y="883"/>
                    </a:lnTo>
                    <a:lnTo>
                      <a:pt x="12473" y="872"/>
                    </a:lnTo>
                    <a:lnTo>
                      <a:pt x="12463" y="860"/>
                    </a:lnTo>
                    <a:lnTo>
                      <a:pt x="12454" y="848"/>
                    </a:lnTo>
                    <a:lnTo>
                      <a:pt x="12445" y="835"/>
                    </a:lnTo>
                    <a:lnTo>
                      <a:pt x="12437" y="821"/>
                    </a:lnTo>
                    <a:lnTo>
                      <a:pt x="12430" y="807"/>
                    </a:lnTo>
                    <a:lnTo>
                      <a:pt x="12423" y="793"/>
                    </a:lnTo>
                    <a:lnTo>
                      <a:pt x="12417" y="777"/>
                    </a:lnTo>
                    <a:lnTo>
                      <a:pt x="12411" y="762"/>
                    </a:lnTo>
                    <a:lnTo>
                      <a:pt x="12407" y="746"/>
                    </a:lnTo>
                    <a:lnTo>
                      <a:pt x="12403" y="728"/>
                    </a:lnTo>
                    <a:lnTo>
                      <a:pt x="12399" y="711"/>
                    </a:lnTo>
                    <a:lnTo>
                      <a:pt x="12396" y="694"/>
                    </a:lnTo>
                    <a:lnTo>
                      <a:pt x="12393" y="676"/>
                    </a:lnTo>
                    <a:lnTo>
                      <a:pt x="12392" y="658"/>
                    </a:lnTo>
                    <a:lnTo>
                      <a:pt x="12390" y="638"/>
                    </a:lnTo>
                    <a:lnTo>
                      <a:pt x="12390" y="620"/>
                    </a:lnTo>
                    <a:lnTo>
                      <a:pt x="12389" y="600"/>
                    </a:lnTo>
                    <a:lnTo>
                      <a:pt x="12390" y="569"/>
                    </a:lnTo>
                    <a:lnTo>
                      <a:pt x="12392" y="537"/>
                    </a:lnTo>
                    <a:lnTo>
                      <a:pt x="12396" y="508"/>
                    </a:lnTo>
                    <a:lnTo>
                      <a:pt x="12402" y="479"/>
                    </a:lnTo>
                    <a:lnTo>
                      <a:pt x="12405" y="465"/>
                    </a:lnTo>
                    <a:lnTo>
                      <a:pt x="12409" y="450"/>
                    </a:lnTo>
                    <a:lnTo>
                      <a:pt x="12413" y="437"/>
                    </a:lnTo>
                    <a:lnTo>
                      <a:pt x="12419" y="424"/>
                    </a:lnTo>
                    <a:lnTo>
                      <a:pt x="12424" y="412"/>
                    </a:lnTo>
                    <a:lnTo>
                      <a:pt x="12431" y="399"/>
                    </a:lnTo>
                    <a:lnTo>
                      <a:pt x="12437" y="389"/>
                    </a:lnTo>
                    <a:lnTo>
                      <a:pt x="12444" y="377"/>
                    </a:lnTo>
                    <a:lnTo>
                      <a:pt x="12453" y="366"/>
                    </a:lnTo>
                    <a:lnTo>
                      <a:pt x="12460" y="356"/>
                    </a:lnTo>
                    <a:lnTo>
                      <a:pt x="12469" y="346"/>
                    </a:lnTo>
                    <a:lnTo>
                      <a:pt x="12479" y="338"/>
                    </a:lnTo>
                    <a:lnTo>
                      <a:pt x="12488" y="329"/>
                    </a:lnTo>
                    <a:lnTo>
                      <a:pt x="12499" y="321"/>
                    </a:lnTo>
                    <a:lnTo>
                      <a:pt x="12511" y="314"/>
                    </a:lnTo>
                    <a:lnTo>
                      <a:pt x="12523" y="307"/>
                    </a:lnTo>
                    <a:lnTo>
                      <a:pt x="12535" y="302"/>
                    </a:lnTo>
                    <a:lnTo>
                      <a:pt x="12549" y="296"/>
                    </a:lnTo>
                    <a:lnTo>
                      <a:pt x="12562" y="292"/>
                    </a:lnTo>
                    <a:lnTo>
                      <a:pt x="12577" y="288"/>
                    </a:lnTo>
                    <a:lnTo>
                      <a:pt x="12592" y="285"/>
                    </a:lnTo>
                    <a:lnTo>
                      <a:pt x="12609" y="283"/>
                    </a:lnTo>
                    <a:lnTo>
                      <a:pt x="12626" y="282"/>
                    </a:lnTo>
                    <a:lnTo>
                      <a:pt x="12643" y="281"/>
                    </a:lnTo>
                    <a:lnTo>
                      <a:pt x="12658" y="281"/>
                    </a:lnTo>
                    <a:lnTo>
                      <a:pt x="12671" y="282"/>
                    </a:lnTo>
                    <a:lnTo>
                      <a:pt x="12684" y="284"/>
                    </a:lnTo>
                    <a:lnTo>
                      <a:pt x="12697" y="285"/>
                    </a:lnTo>
                    <a:lnTo>
                      <a:pt x="12709" y="289"/>
                    </a:lnTo>
                    <a:lnTo>
                      <a:pt x="12721" y="292"/>
                    </a:lnTo>
                    <a:lnTo>
                      <a:pt x="12731" y="295"/>
                    </a:lnTo>
                    <a:lnTo>
                      <a:pt x="12742" y="300"/>
                    </a:lnTo>
                    <a:lnTo>
                      <a:pt x="12753" y="305"/>
                    </a:lnTo>
                    <a:lnTo>
                      <a:pt x="12763" y="309"/>
                    </a:lnTo>
                    <a:lnTo>
                      <a:pt x="12773" y="316"/>
                    </a:lnTo>
                    <a:lnTo>
                      <a:pt x="12781" y="321"/>
                    </a:lnTo>
                    <a:lnTo>
                      <a:pt x="12790" y="329"/>
                    </a:lnTo>
                    <a:lnTo>
                      <a:pt x="12799" y="335"/>
                    </a:lnTo>
                    <a:lnTo>
                      <a:pt x="12806" y="343"/>
                    </a:lnTo>
                    <a:lnTo>
                      <a:pt x="12814" y="352"/>
                    </a:lnTo>
                    <a:lnTo>
                      <a:pt x="12820" y="359"/>
                    </a:lnTo>
                    <a:lnTo>
                      <a:pt x="12827" y="368"/>
                    </a:lnTo>
                    <a:lnTo>
                      <a:pt x="12832" y="378"/>
                    </a:lnTo>
                    <a:lnTo>
                      <a:pt x="12838" y="388"/>
                    </a:lnTo>
                    <a:lnTo>
                      <a:pt x="12847" y="408"/>
                    </a:lnTo>
                    <a:lnTo>
                      <a:pt x="12856" y="430"/>
                    </a:lnTo>
                    <a:lnTo>
                      <a:pt x="12862" y="453"/>
                    </a:lnTo>
                    <a:lnTo>
                      <a:pt x="12866" y="477"/>
                    </a:lnTo>
                    <a:lnTo>
                      <a:pt x="12869" y="503"/>
                    </a:lnTo>
                    <a:lnTo>
                      <a:pt x="12870" y="529"/>
                    </a:lnTo>
                    <a:lnTo>
                      <a:pt x="12870" y="560"/>
                    </a:lnTo>
                    <a:lnTo>
                      <a:pt x="12496" y="560"/>
                    </a:lnTo>
                    <a:close/>
                    <a:moveTo>
                      <a:pt x="12132" y="677"/>
                    </a:moveTo>
                    <a:lnTo>
                      <a:pt x="12132" y="947"/>
                    </a:lnTo>
                    <a:lnTo>
                      <a:pt x="12040" y="947"/>
                    </a:lnTo>
                    <a:lnTo>
                      <a:pt x="12040" y="296"/>
                    </a:lnTo>
                    <a:lnTo>
                      <a:pt x="12132" y="296"/>
                    </a:lnTo>
                    <a:lnTo>
                      <a:pt x="12132" y="422"/>
                    </a:lnTo>
                    <a:lnTo>
                      <a:pt x="12136" y="422"/>
                    </a:lnTo>
                    <a:lnTo>
                      <a:pt x="12143" y="405"/>
                    </a:lnTo>
                    <a:lnTo>
                      <a:pt x="12152" y="389"/>
                    </a:lnTo>
                    <a:lnTo>
                      <a:pt x="12162" y="374"/>
                    </a:lnTo>
                    <a:lnTo>
                      <a:pt x="12171" y="360"/>
                    </a:lnTo>
                    <a:lnTo>
                      <a:pt x="12183" y="347"/>
                    </a:lnTo>
                    <a:lnTo>
                      <a:pt x="12194" y="336"/>
                    </a:lnTo>
                    <a:lnTo>
                      <a:pt x="12207" y="326"/>
                    </a:lnTo>
                    <a:lnTo>
                      <a:pt x="12220" y="316"/>
                    </a:lnTo>
                    <a:lnTo>
                      <a:pt x="12234" y="308"/>
                    </a:lnTo>
                    <a:lnTo>
                      <a:pt x="12249" y="301"/>
                    </a:lnTo>
                    <a:lnTo>
                      <a:pt x="12265" y="295"/>
                    </a:lnTo>
                    <a:lnTo>
                      <a:pt x="12281" y="290"/>
                    </a:lnTo>
                    <a:lnTo>
                      <a:pt x="12297" y="287"/>
                    </a:lnTo>
                    <a:lnTo>
                      <a:pt x="12315" y="283"/>
                    </a:lnTo>
                    <a:lnTo>
                      <a:pt x="12333" y="282"/>
                    </a:lnTo>
                    <a:lnTo>
                      <a:pt x="12353" y="281"/>
                    </a:lnTo>
                    <a:lnTo>
                      <a:pt x="12353" y="381"/>
                    </a:lnTo>
                    <a:lnTo>
                      <a:pt x="12338" y="382"/>
                    </a:lnTo>
                    <a:lnTo>
                      <a:pt x="12322" y="383"/>
                    </a:lnTo>
                    <a:lnTo>
                      <a:pt x="12308" y="385"/>
                    </a:lnTo>
                    <a:lnTo>
                      <a:pt x="12295" y="389"/>
                    </a:lnTo>
                    <a:lnTo>
                      <a:pt x="12282" y="392"/>
                    </a:lnTo>
                    <a:lnTo>
                      <a:pt x="12270" y="396"/>
                    </a:lnTo>
                    <a:lnTo>
                      <a:pt x="12258" y="402"/>
                    </a:lnTo>
                    <a:lnTo>
                      <a:pt x="12247" y="407"/>
                    </a:lnTo>
                    <a:lnTo>
                      <a:pt x="12237" y="415"/>
                    </a:lnTo>
                    <a:lnTo>
                      <a:pt x="12227" y="421"/>
                    </a:lnTo>
                    <a:lnTo>
                      <a:pt x="12218" y="429"/>
                    </a:lnTo>
                    <a:lnTo>
                      <a:pt x="12209" y="437"/>
                    </a:lnTo>
                    <a:lnTo>
                      <a:pt x="12201" y="446"/>
                    </a:lnTo>
                    <a:lnTo>
                      <a:pt x="12193" y="456"/>
                    </a:lnTo>
                    <a:lnTo>
                      <a:pt x="12187" y="466"/>
                    </a:lnTo>
                    <a:lnTo>
                      <a:pt x="12179" y="477"/>
                    </a:lnTo>
                    <a:lnTo>
                      <a:pt x="12174" y="487"/>
                    </a:lnTo>
                    <a:lnTo>
                      <a:pt x="12168" y="498"/>
                    </a:lnTo>
                    <a:lnTo>
                      <a:pt x="12163" y="510"/>
                    </a:lnTo>
                    <a:lnTo>
                      <a:pt x="12157" y="521"/>
                    </a:lnTo>
                    <a:lnTo>
                      <a:pt x="12150" y="546"/>
                    </a:lnTo>
                    <a:lnTo>
                      <a:pt x="12143" y="571"/>
                    </a:lnTo>
                    <a:lnTo>
                      <a:pt x="12139" y="598"/>
                    </a:lnTo>
                    <a:lnTo>
                      <a:pt x="12136" y="624"/>
                    </a:lnTo>
                    <a:lnTo>
                      <a:pt x="12134" y="651"/>
                    </a:lnTo>
                    <a:lnTo>
                      <a:pt x="12132" y="677"/>
                    </a:lnTo>
                    <a:close/>
                    <a:moveTo>
                      <a:pt x="11690" y="359"/>
                    </a:moveTo>
                    <a:lnTo>
                      <a:pt x="11676" y="360"/>
                    </a:lnTo>
                    <a:lnTo>
                      <a:pt x="11663" y="361"/>
                    </a:lnTo>
                    <a:lnTo>
                      <a:pt x="11650" y="365"/>
                    </a:lnTo>
                    <a:lnTo>
                      <a:pt x="11638" y="369"/>
                    </a:lnTo>
                    <a:lnTo>
                      <a:pt x="11627" y="373"/>
                    </a:lnTo>
                    <a:lnTo>
                      <a:pt x="11616" y="380"/>
                    </a:lnTo>
                    <a:lnTo>
                      <a:pt x="11606" y="386"/>
                    </a:lnTo>
                    <a:lnTo>
                      <a:pt x="11597" y="394"/>
                    </a:lnTo>
                    <a:lnTo>
                      <a:pt x="11589" y="403"/>
                    </a:lnTo>
                    <a:lnTo>
                      <a:pt x="11582" y="412"/>
                    </a:lnTo>
                    <a:lnTo>
                      <a:pt x="11575" y="422"/>
                    </a:lnTo>
                    <a:lnTo>
                      <a:pt x="11569" y="433"/>
                    </a:lnTo>
                    <a:lnTo>
                      <a:pt x="11564" y="445"/>
                    </a:lnTo>
                    <a:lnTo>
                      <a:pt x="11560" y="457"/>
                    </a:lnTo>
                    <a:lnTo>
                      <a:pt x="11555" y="469"/>
                    </a:lnTo>
                    <a:lnTo>
                      <a:pt x="11553" y="482"/>
                    </a:lnTo>
                    <a:lnTo>
                      <a:pt x="11813" y="482"/>
                    </a:lnTo>
                    <a:lnTo>
                      <a:pt x="11813" y="469"/>
                    </a:lnTo>
                    <a:lnTo>
                      <a:pt x="11811" y="457"/>
                    </a:lnTo>
                    <a:lnTo>
                      <a:pt x="11808" y="445"/>
                    </a:lnTo>
                    <a:lnTo>
                      <a:pt x="11805" y="433"/>
                    </a:lnTo>
                    <a:lnTo>
                      <a:pt x="11799" y="422"/>
                    </a:lnTo>
                    <a:lnTo>
                      <a:pt x="11793" y="412"/>
                    </a:lnTo>
                    <a:lnTo>
                      <a:pt x="11786" y="403"/>
                    </a:lnTo>
                    <a:lnTo>
                      <a:pt x="11779" y="394"/>
                    </a:lnTo>
                    <a:lnTo>
                      <a:pt x="11770" y="386"/>
                    </a:lnTo>
                    <a:lnTo>
                      <a:pt x="11760" y="380"/>
                    </a:lnTo>
                    <a:lnTo>
                      <a:pt x="11749" y="373"/>
                    </a:lnTo>
                    <a:lnTo>
                      <a:pt x="11739" y="369"/>
                    </a:lnTo>
                    <a:lnTo>
                      <a:pt x="11728" y="365"/>
                    </a:lnTo>
                    <a:lnTo>
                      <a:pt x="11715" y="361"/>
                    </a:lnTo>
                    <a:lnTo>
                      <a:pt x="11703" y="360"/>
                    </a:lnTo>
                    <a:lnTo>
                      <a:pt x="11690" y="359"/>
                    </a:lnTo>
                    <a:close/>
                    <a:moveTo>
                      <a:pt x="11545" y="560"/>
                    </a:moveTo>
                    <a:lnTo>
                      <a:pt x="11545" y="598"/>
                    </a:lnTo>
                    <a:lnTo>
                      <a:pt x="11546" y="625"/>
                    </a:lnTo>
                    <a:lnTo>
                      <a:pt x="11550" y="651"/>
                    </a:lnTo>
                    <a:lnTo>
                      <a:pt x="11553" y="677"/>
                    </a:lnTo>
                    <a:lnTo>
                      <a:pt x="11560" y="703"/>
                    </a:lnTo>
                    <a:lnTo>
                      <a:pt x="11567" y="727"/>
                    </a:lnTo>
                    <a:lnTo>
                      <a:pt x="11577" y="751"/>
                    </a:lnTo>
                    <a:lnTo>
                      <a:pt x="11582" y="763"/>
                    </a:lnTo>
                    <a:lnTo>
                      <a:pt x="11588" y="774"/>
                    </a:lnTo>
                    <a:lnTo>
                      <a:pt x="11594" y="785"/>
                    </a:lnTo>
                    <a:lnTo>
                      <a:pt x="11602" y="795"/>
                    </a:lnTo>
                    <a:lnTo>
                      <a:pt x="11608" y="804"/>
                    </a:lnTo>
                    <a:lnTo>
                      <a:pt x="11617" y="814"/>
                    </a:lnTo>
                    <a:lnTo>
                      <a:pt x="11625" y="823"/>
                    </a:lnTo>
                    <a:lnTo>
                      <a:pt x="11633" y="832"/>
                    </a:lnTo>
                    <a:lnTo>
                      <a:pt x="11643" y="839"/>
                    </a:lnTo>
                    <a:lnTo>
                      <a:pt x="11653" y="847"/>
                    </a:lnTo>
                    <a:lnTo>
                      <a:pt x="11663" y="853"/>
                    </a:lnTo>
                    <a:lnTo>
                      <a:pt x="11673" y="860"/>
                    </a:lnTo>
                    <a:lnTo>
                      <a:pt x="11684" y="865"/>
                    </a:lnTo>
                    <a:lnTo>
                      <a:pt x="11696" y="871"/>
                    </a:lnTo>
                    <a:lnTo>
                      <a:pt x="11708" y="874"/>
                    </a:lnTo>
                    <a:lnTo>
                      <a:pt x="11721" y="878"/>
                    </a:lnTo>
                    <a:lnTo>
                      <a:pt x="11734" y="880"/>
                    </a:lnTo>
                    <a:lnTo>
                      <a:pt x="11748" y="883"/>
                    </a:lnTo>
                    <a:lnTo>
                      <a:pt x="11762" y="884"/>
                    </a:lnTo>
                    <a:lnTo>
                      <a:pt x="11777" y="885"/>
                    </a:lnTo>
                    <a:lnTo>
                      <a:pt x="11794" y="884"/>
                    </a:lnTo>
                    <a:lnTo>
                      <a:pt x="11810" y="883"/>
                    </a:lnTo>
                    <a:lnTo>
                      <a:pt x="11825" y="882"/>
                    </a:lnTo>
                    <a:lnTo>
                      <a:pt x="11842" y="879"/>
                    </a:lnTo>
                    <a:lnTo>
                      <a:pt x="11873" y="874"/>
                    </a:lnTo>
                    <a:lnTo>
                      <a:pt x="11906" y="866"/>
                    </a:lnTo>
                    <a:lnTo>
                      <a:pt x="11906" y="943"/>
                    </a:lnTo>
                    <a:lnTo>
                      <a:pt x="11887" y="948"/>
                    </a:lnTo>
                    <a:lnTo>
                      <a:pt x="11869" y="952"/>
                    </a:lnTo>
                    <a:lnTo>
                      <a:pt x="11850" y="955"/>
                    </a:lnTo>
                    <a:lnTo>
                      <a:pt x="11832" y="959"/>
                    </a:lnTo>
                    <a:lnTo>
                      <a:pt x="11813" y="960"/>
                    </a:lnTo>
                    <a:lnTo>
                      <a:pt x="11794" y="962"/>
                    </a:lnTo>
                    <a:lnTo>
                      <a:pt x="11775" y="962"/>
                    </a:lnTo>
                    <a:lnTo>
                      <a:pt x="11756" y="962"/>
                    </a:lnTo>
                    <a:lnTo>
                      <a:pt x="11735" y="962"/>
                    </a:lnTo>
                    <a:lnTo>
                      <a:pt x="11716" y="961"/>
                    </a:lnTo>
                    <a:lnTo>
                      <a:pt x="11696" y="959"/>
                    </a:lnTo>
                    <a:lnTo>
                      <a:pt x="11678" y="955"/>
                    </a:lnTo>
                    <a:lnTo>
                      <a:pt x="11660" y="951"/>
                    </a:lnTo>
                    <a:lnTo>
                      <a:pt x="11643" y="947"/>
                    </a:lnTo>
                    <a:lnTo>
                      <a:pt x="11627" y="941"/>
                    </a:lnTo>
                    <a:lnTo>
                      <a:pt x="11612" y="935"/>
                    </a:lnTo>
                    <a:lnTo>
                      <a:pt x="11597" y="928"/>
                    </a:lnTo>
                    <a:lnTo>
                      <a:pt x="11583" y="921"/>
                    </a:lnTo>
                    <a:lnTo>
                      <a:pt x="11569" y="912"/>
                    </a:lnTo>
                    <a:lnTo>
                      <a:pt x="11557" y="903"/>
                    </a:lnTo>
                    <a:lnTo>
                      <a:pt x="11545" y="893"/>
                    </a:lnTo>
                    <a:lnTo>
                      <a:pt x="11533" y="883"/>
                    </a:lnTo>
                    <a:lnTo>
                      <a:pt x="11524" y="872"/>
                    </a:lnTo>
                    <a:lnTo>
                      <a:pt x="11513" y="860"/>
                    </a:lnTo>
                    <a:lnTo>
                      <a:pt x="11504" y="848"/>
                    </a:lnTo>
                    <a:lnTo>
                      <a:pt x="11495" y="835"/>
                    </a:lnTo>
                    <a:lnTo>
                      <a:pt x="11488" y="821"/>
                    </a:lnTo>
                    <a:lnTo>
                      <a:pt x="11480" y="807"/>
                    </a:lnTo>
                    <a:lnTo>
                      <a:pt x="11474" y="793"/>
                    </a:lnTo>
                    <a:lnTo>
                      <a:pt x="11467" y="777"/>
                    </a:lnTo>
                    <a:lnTo>
                      <a:pt x="11462" y="762"/>
                    </a:lnTo>
                    <a:lnTo>
                      <a:pt x="11458" y="746"/>
                    </a:lnTo>
                    <a:lnTo>
                      <a:pt x="11453" y="728"/>
                    </a:lnTo>
                    <a:lnTo>
                      <a:pt x="11449" y="711"/>
                    </a:lnTo>
                    <a:lnTo>
                      <a:pt x="11447" y="694"/>
                    </a:lnTo>
                    <a:lnTo>
                      <a:pt x="11443" y="676"/>
                    </a:lnTo>
                    <a:lnTo>
                      <a:pt x="11442" y="658"/>
                    </a:lnTo>
                    <a:lnTo>
                      <a:pt x="11440" y="638"/>
                    </a:lnTo>
                    <a:lnTo>
                      <a:pt x="11440" y="620"/>
                    </a:lnTo>
                    <a:lnTo>
                      <a:pt x="11439" y="600"/>
                    </a:lnTo>
                    <a:lnTo>
                      <a:pt x="11440" y="569"/>
                    </a:lnTo>
                    <a:lnTo>
                      <a:pt x="11442" y="537"/>
                    </a:lnTo>
                    <a:lnTo>
                      <a:pt x="11447" y="508"/>
                    </a:lnTo>
                    <a:lnTo>
                      <a:pt x="11452" y="479"/>
                    </a:lnTo>
                    <a:lnTo>
                      <a:pt x="11455" y="465"/>
                    </a:lnTo>
                    <a:lnTo>
                      <a:pt x="11460" y="450"/>
                    </a:lnTo>
                    <a:lnTo>
                      <a:pt x="11464" y="437"/>
                    </a:lnTo>
                    <a:lnTo>
                      <a:pt x="11469" y="424"/>
                    </a:lnTo>
                    <a:lnTo>
                      <a:pt x="11475" y="412"/>
                    </a:lnTo>
                    <a:lnTo>
                      <a:pt x="11481" y="399"/>
                    </a:lnTo>
                    <a:lnTo>
                      <a:pt x="11488" y="389"/>
                    </a:lnTo>
                    <a:lnTo>
                      <a:pt x="11494" y="377"/>
                    </a:lnTo>
                    <a:lnTo>
                      <a:pt x="11502" y="366"/>
                    </a:lnTo>
                    <a:lnTo>
                      <a:pt x="11511" y="356"/>
                    </a:lnTo>
                    <a:lnTo>
                      <a:pt x="11519" y="346"/>
                    </a:lnTo>
                    <a:lnTo>
                      <a:pt x="11529" y="338"/>
                    </a:lnTo>
                    <a:lnTo>
                      <a:pt x="11539" y="329"/>
                    </a:lnTo>
                    <a:lnTo>
                      <a:pt x="11550" y="321"/>
                    </a:lnTo>
                    <a:lnTo>
                      <a:pt x="11561" y="314"/>
                    </a:lnTo>
                    <a:lnTo>
                      <a:pt x="11573" y="307"/>
                    </a:lnTo>
                    <a:lnTo>
                      <a:pt x="11586" y="302"/>
                    </a:lnTo>
                    <a:lnTo>
                      <a:pt x="11599" y="296"/>
                    </a:lnTo>
                    <a:lnTo>
                      <a:pt x="11613" y="292"/>
                    </a:lnTo>
                    <a:lnTo>
                      <a:pt x="11628" y="288"/>
                    </a:lnTo>
                    <a:lnTo>
                      <a:pt x="11643" y="285"/>
                    </a:lnTo>
                    <a:lnTo>
                      <a:pt x="11659" y="283"/>
                    </a:lnTo>
                    <a:lnTo>
                      <a:pt x="11676" y="282"/>
                    </a:lnTo>
                    <a:lnTo>
                      <a:pt x="11693" y="281"/>
                    </a:lnTo>
                    <a:lnTo>
                      <a:pt x="11707" y="281"/>
                    </a:lnTo>
                    <a:lnTo>
                      <a:pt x="11721" y="282"/>
                    </a:lnTo>
                    <a:lnTo>
                      <a:pt x="11734" y="284"/>
                    </a:lnTo>
                    <a:lnTo>
                      <a:pt x="11747" y="285"/>
                    </a:lnTo>
                    <a:lnTo>
                      <a:pt x="11759" y="289"/>
                    </a:lnTo>
                    <a:lnTo>
                      <a:pt x="11771" y="292"/>
                    </a:lnTo>
                    <a:lnTo>
                      <a:pt x="11782" y="295"/>
                    </a:lnTo>
                    <a:lnTo>
                      <a:pt x="11793" y="300"/>
                    </a:lnTo>
                    <a:lnTo>
                      <a:pt x="11804" y="305"/>
                    </a:lnTo>
                    <a:lnTo>
                      <a:pt x="11813" y="309"/>
                    </a:lnTo>
                    <a:lnTo>
                      <a:pt x="11823" y="316"/>
                    </a:lnTo>
                    <a:lnTo>
                      <a:pt x="11832" y="321"/>
                    </a:lnTo>
                    <a:lnTo>
                      <a:pt x="11841" y="329"/>
                    </a:lnTo>
                    <a:lnTo>
                      <a:pt x="11849" y="335"/>
                    </a:lnTo>
                    <a:lnTo>
                      <a:pt x="11857" y="343"/>
                    </a:lnTo>
                    <a:lnTo>
                      <a:pt x="11863" y="352"/>
                    </a:lnTo>
                    <a:lnTo>
                      <a:pt x="11871" y="359"/>
                    </a:lnTo>
                    <a:lnTo>
                      <a:pt x="11877" y="368"/>
                    </a:lnTo>
                    <a:lnTo>
                      <a:pt x="11883" y="378"/>
                    </a:lnTo>
                    <a:lnTo>
                      <a:pt x="11888" y="388"/>
                    </a:lnTo>
                    <a:lnTo>
                      <a:pt x="11898" y="408"/>
                    </a:lnTo>
                    <a:lnTo>
                      <a:pt x="11907" y="430"/>
                    </a:lnTo>
                    <a:lnTo>
                      <a:pt x="11912" y="453"/>
                    </a:lnTo>
                    <a:lnTo>
                      <a:pt x="11917" y="477"/>
                    </a:lnTo>
                    <a:lnTo>
                      <a:pt x="11920" y="503"/>
                    </a:lnTo>
                    <a:lnTo>
                      <a:pt x="11921" y="529"/>
                    </a:lnTo>
                    <a:lnTo>
                      <a:pt x="11921" y="560"/>
                    </a:lnTo>
                    <a:lnTo>
                      <a:pt x="11545" y="560"/>
                    </a:lnTo>
                    <a:close/>
                    <a:moveTo>
                      <a:pt x="11199" y="947"/>
                    </a:moveTo>
                    <a:lnTo>
                      <a:pt x="11105" y="947"/>
                    </a:lnTo>
                    <a:lnTo>
                      <a:pt x="10859" y="296"/>
                    </a:lnTo>
                    <a:lnTo>
                      <a:pt x="10958" y="296"/>
                    </a:lnTo>
                    <a:lnTo>
                      <a:pt x="11150" y="811"/>
                    </a:lnTo>
                    <a:lnTo>
                      <a:pt x="11153" y="811"/>
                    </a:lnTo>
                    <a:lnTo>
                      <a:pt x="11320" y="296"/>
                    </a:lnTo>
                    <a:lnTo>
                      <a:pt x="11420" y="296"/>
                    </a:lnTo>
                    <a:lnTo>
                      <a:pt x="11199" y="947"/>
                    </a:lnTo>
                    <a:close/>
                    <a:moveTo>
                      <a:pt x="10693" y="947"/>
                    </a:moveTo>
                    <a:lnTo>
                      <a:pt x="10693" y="296"/>
                    </a:lnTo>
                    <a:lnTo>
                      <a:pt x="10785" y="296"/>
                    </a:lnTo>
                    <a:lnTo>
                      <a:pt x="10785" y="947"/>
                    </a:lnTo>
                    <a:lnTo>
                      <a:pt x="10693" y="947"/>
                    </a:lnTo>
                    <a:close/>
                    <a:moveTo>
                      <a:pt x="10677" y="127"/>
                    </a:moveTo>
                    <a:lnTo>
                      <a:pt x="10677" y="4"/>
                    </a:lnTo>
                    <a:lnTo>
                      <a:pt x="10800" y="4"/>
                    </a:lnTo>
                    <a:lnTo>
                      <a:pt x="10800" y="127"/>
                    </a:lnTo>
                    <a:lnTo>
                      <a:pt x="10677" y="127"/>
                    </a:lnTo>
                    <a:close/>
                    <a:moveTo>
                      <a:pt x="10434" y="947"/>
                    </a:moveTo>
                    <a:lnTo>
                      <a:pt x="10434" y="4"/>
                    </a:lnTo>
                    <a:lnTo>
                      <a:pt x="10527" y="4"/>
                    </a:lnTo>
                    <a:lnTo>
                      <a:pt x="10527" y="947"/>
                    </a:lnTo>
                    <a:lnTo>
                      <a:pt x="10434" y="947"/>
                    </a:lnTo>
                    <a:close/>
                    <a:moveTo>
                      <a:pt x="10082" y="359"/>
                    </a:moveTo>
                    <a:lnTo>
                      <a:pt x="10068" y="360"/>
                    </a:lnTo>
                    <a:lnTo>
                      <a:pt x="10055" y="361"/>
                    </a:lnTo>
                    <a:lnTo>
                      <a:pt x="10043" y="365"/>
                    </a:lnTo>
                    <a:lnTo>
                      <a:pt x="10031" y="369"/>
                    </a:lnTo>
                    <a:lnTo>
                      <a:pt x="10019" y="373"/>
                    </a:lnTo>
                    <a:lnTo>
                      <a:pt x="10009" y="380"/>
                    </a:lnTo>
                    <a:lnTo>
                      <a:pt x="9999" y="386"/>
                    </a:lnTo>
                    <a:lnTo>
                      <a:pt x="9991" y="394"/>
                    </a:lnTo>
                    <a:lnTo>
                      <a:pt x="9982" y="403"/>
                    </a:lnTo>
                    <a:lnTo>
                      <a:pt x="9974" y="412"/>
                    </a:lnTo>
                    <a:lnTo>
                      <a:pt x="9968" y="422"/>
                    </a:lnTo>
                    <a:lnTo>
                      <a:pt x="9961" y="433"/>
                    </a:lnTo>
                    <a:lnTo>
                      <a:pt x="9957" y="445"/>
                    </a:lnTo>
                    <a:lnTo>
                      <a:pt x="9951" y="457"/>
                    </a:lnTo>
                    <a:lnTo>
                      <a:pt x="9948" y="469"/>
                    </a:lnTo>
                    <a:lnTo>
                      <a:pt x="9945" y="482"/>
                    </a:lnTo>
                    <a:lnTo>
                      <a:pt x="10206" y="482"/>
                    </a:lnTo>
                    <a:lnTo>
                      <a:pt x="10205" y="469"/>
                    </a:lnTo>
                    <a:lnTo>
                      <a:pt x="10204" y="457"/>
                    </a:lnTo>
                    <a:lnTo>
                      <a:pt x="10201" y="445"/>
                    </a:lnTo>
                    <a:lnTo>
                      <a:pt x="10197" y="433"/>
                    </a:lnTo>
                    <a:lnTo>
                      <a:pt x="10192" y="422"/>
                    </a:lnTo>
                    <a:lnTo>
                      <a:pt x="10186" y="412"/>
                    </a:lnTo>
                    <a:lnTo>
                      <a:pt x="10178" y="403"/>
                    </a:lnTo>
                    <a:lnTo>
                      <a:pt x="10171" y="394"/>
                    </a:lnTo>
                    <a:lnTo>
                      <a:pt x="10162" y="386"/>
                    </a:lnTo>
                    <a:lnTo>
                      <a:pt x="10152" y="380"/>
                    </a:lnTo>
                    <a:lnTo>
                      <a:pt x="10142" y="373"/>
                    </a:lnTo>
                    <a:lnTo>
                      <a:pt x="10132" y="369"/>
                    </a:lnTo>
                    <a:lnTo>
                      <a:pt x="10120" y="365"/>
                    </a:lnTo>
                    <a:lnTo>
                      <a:pt x="10108" y="361"/>
                    </a:lnTo>
                    <a:lnTo>
                      <a:pt x="10095" y="360"/>
                    </a:lnTo>
                    <a:lnTo>
                      <a:pt x="10082" y="359"/>
                    </a:lnTo>
                    <a:close/>
                    <a:moveTo>
                      <a:pt x="9938" y="560"/>
                    </a:moveTo>
                    <a:lnTo>
                      <a:pt x="9938" y="598"/>
                    </a:lnTo>
                    <a:lnTo>
                      <a:pt x="9940" y="625"/>
                    </a:lnTo>
                    <a:lnTo>
                      <a:pt x="9942" y="651"/>
                    </a:lnTo>
                    <a:lnTo>
                      <a:pt x="9946" y="677"/>
                    </a:lnTo>
                    <a:lnTo>
                      <a:pt x="9953" y="703"/>
                    </a:lnTo>
                    <a:lnTo>
                      <a:pt x="9960" y="727"/>
                    </a:lnTo>
                    <a:lnTo>
                      <a:pt x="9970" y="751"/>
                    </a:lnTo>
                    <a:lnTo>
                      <a:pt x="9975" y="763"/>
                    </a:lnTo>
                    <a:lnTo>
                      <a:pt x="9981" y="774"/>
                    </a:lnTo>
                    <a:lnTo>
                      <a:pt x="9987" y="785"/>
                    </a:lnTo>
                    <a:lnTo>
                      <a:pt x="9994" y="795"/>
                    </a:lnTo>
                    <a:lnTo>
                      <a:pt x="10001" y="804"/>
                    </a:lnTo>
                    <a:lnTo>
                      <a:pt x="10009" y="814"/>
                    </a:lnTo>
                    <a:lnTo>
                      <a:pt x="10018" y="823"/>
                    </a:lnTo>
                    <a:lnTo>
                      <a:pt x="10026" y="832"/>
                    </a:lnTo>
                    <a:lnTo>
                      <a:pt x="10035" y="839"/>
                    </a:lnTo>
                    <a:lnTo>
                      <a:pt x="10045" y="847"/>
                    </a:lnTo>
                    <a:lnTo>
                      <a:pt x="10056" y="853"/>
                    </a:lnTo>
                    <a:lnTo>
                      <a:pt x="10066" y="860"/>
                    </a:lnTo>
                    <a:lnTo>
                      <a:pt x="10077" y="865"/>
                    </a:lnTo>
                    <a:lnTo>
                      <a:pt x="10089" y="871"/>
                    </a:lnTo>
                    <a:lnTo>
                      <a:pt x="10101" y="874"/>
                    </a:lnTo>
                    <a:lnTo>
                      <a:pt x="10114" y="878"/>
                    </a:lnTo>
                    <a:lnTo>
                      <a:pt x="10127" y="880"/>
                    </a:lnTo>
                    <a:lnTo>
                      <a:pt x="10140" y="883"/>
                    </a:lnTo>
                    <a:lnTo>
                      <a:pt x="10154" y="884"/>
                    </a:lnTo>
                    <a:lnTo>
                      <a:pt x="10170" y="885"/>
                    </a:lnTo>
                    <a:lnTo>
                      <a:pt x="10186" y="884"/>
                    </a:lnTo>
                    <a:lnTo>
                      <a:pt x="10202" y="883"/>
                    </a:lnTo>
                    <a:lnTo>
                      <a:pt x="10218" y="882"/>
                    </a:lnTo>
                    <a:lnTo>
                      <a:pt x="10235" y="879"/>
                    </a:lnTo>
                    <a:lnTo>
                      <a:pt x="10266" y="874"/>
                    </a:lnTo>
                    <a:lnTo>
                      <a:pt x="10298" y="866"/>
                    </a:lnTo>
                    <a:lnTo>
                      <a:pt x="10298" y="943"/>
                    </a:lnTo>
                    <a:lnTo>
                      <a:pt x="10280" y="948"/>
                    </a:lnTo>
                    <a:lnTo>
                      <a:pt x="10262" y="952"/>
                    </a:lnTo>
                    <a:lnTo>
                      <a:pt x="10243" y="955"/>
                    </a:lnTo>
                    <a:lnTo>
                      <a:pt x="10225" y="959"/>
                    </a:lnTo>
                    <a:lnTo>
                      <a:pt x="10205" y="960"/>
                    </a:lnTo>
                    <a:lnTo>
                      <a:pt x="10187" y="962"/>
                    </a:lnTo>
                    <a:lnTo>
                      <a:pt x="10167" y="962"/>
                    </a:lnTo>
                    <a:lnTo>
                      <a:pt x="10149" y="962"/>
                    </a:lnTo>
                    <a:lnTo>
                      <a:pt x="10128" y="962"/>
                    </a:lnTo>
                    <a:lnTo>
                      <a:pt x="10108" y="961"/>
                    </a:lnTo>
                    <a:lnTo>
                      <a:pt x="10089" y="959"/>
                    </a:lnTo>
                    <a:lnTo>
                      <a:pt x="10071" y="955"/>
                    </a:lnTo>
                    <a:lnTo>
                      <a:pt x="10052" y="951"/>
                    </a:lnTo>
                    <a:lnTo>
                      <a:pt x="10036" y="947"/>
                    </a:lnTo>
                    <a:lnTo>
                      <a:pt x="10020" y="941"/>
                    </a:lnTo>
                    <a:lnTo>
                      <a:pt x="10005" y="935"/>
                    </a:lnTo>
                    <a:lnTo>
                      <a:pt x="9989" y="928"/>
                    </a:lnTo>
                    <a:lnTo>
                      <a:pt x="9975" y="921"/>
                    </a:lnTo>
                    <a:lnTo>
                      <a:pt x="9962" y="912"/>
                    </a:lnTo>
                    <a:lnTo>
                      <a:pt x="9949" y="903"/>
                    </a:lnTo>
                    <a:lnTo>
                      <a:pt x="9937" y="893"/>
                    </a:lnTo>
                    <a:lnTo>
                      <a:pt x="9926" y="883"/>
                    </a:lnTo>
                    <a:lnTo>
                      <a:pt x="9916" y="872"/>
                    </a:lnTo>
                    <a:lnTo>
                      <a:pt x="9906" y="860"/>
                    </a:lnTo>
                    <a:lnTo>
                      <a:pt x="9896" y="848"/>
                    </a:lnTo>
                    <a:lnTo>
                      <a:pt x="9889" y="835"/>
                    </a:lnTo>
                    <a:lnTo>
                      <a:pt x="9880" y="821"/>
                    </a:lnTo>
                    <a:lnTo>
                      <a:pt x="9872" y="807"/>
                    </a:lnTo>
                    <a:lnTo>
                      <a:pt x="9866" y="793"/>
                    </a:lnTo>
                    <a:lnTo>
                      <a:pt x="9860" y="777"/>
                    </a:lnTo>
                    <a:lnTo>
                      <a:pt x="9855" y="762"/>
                    </a:lnTo>
                    <a:lnTo>
                      <a:pt x="9849" y="746"/>
                    </a:lnTo>
                    <a:lnTo>
                      <a:pt x="9845" y="728"/>
                    </a:lnTo>
                    <a:lnTo>
                      <a:pt x="9842" y="711"/>
                    </a:lnTo>
                    <a:lnTo>
                      <a:pt x="9839" y="694"/>
                    </a:lnTo>
                    <a:lnTo>
                      <a:pt x="9836" y="676"/>
                    </a:lnTo>
                    <a:lnTo>
                      <a:pt x="9834" y="658"/>
                    </a:lnTo>
                    <a:lnTo>
                      <a:pt x="9833" y="638"/>
                    </a:lnTo>
                    <a:lnTo>
                      <a:pt x="9832" y="620"/>
                    </a:lnTo>
                    <a:lnTo>
                      <a:pt x="9832" y="600"/>
                    </a:lnTo>
                    <a:lnTo>
                      <a:pt x="9832" y="569"/>
                    </a:lnTo>
                    <a:lnTo>
                      <a:pt x="9835" y="537"/>
                    </a:lnTo>
                    <a:lnTo>
                      <a:pt x="9839" y="508"/>
                    </a:lnTo>
                    <a:lnTo>
                      <a:pt x="9845" y="479"/>
                    </a:lnTo>
                    <a:lnTo>
                      <a:pt x="9848" y="465"/>
                    </a:lnTo>
                    <a:lnTo>
                      <a:pt x="9853" y="450"/>
                    </a:lnTo>
                    <a:lnTo>
                      <a:pt x="9857" y="437"/>
                    </a:lnTo>
                    <a:lnTo>
                      <a:pt x="9861" y="424"/>
                    </a:lnTo>
                    <a:lnTo>
                      <a:pt x="9868" y="412"/>
                    </a:lnTo>
                    <a:lnTo>
                      <a:pt x="9873" y="399"/>
                    </a:lnTo>
                    <a:lnTo>
                      <a:pt x="9880" y="389"/>
                    </a:lnTo>
                    <a:lnTo>
                      <a:pt x="9887" y="377"/>
                    </a:lnTo>
                    <a:lnTo>
                      <a:pt x="9895" y="366"/>
                    </a:lnTo>
                    <a:lnTo>
                      <a:pt x="9904" y="356"/>
                    </a:lnTo>
                    <a:lnTo>
                      <a:pt x="9912" y="346"/>
                    </a:lnTo>
                    <a:lnTo>
                      <a:pt x="9921" y="338"/>
                    </a:lnTo>
                    <a:lnTo>
                      <a:pt x="9932" y="329"/>
                    </a:lnTo>
                    <a:lnTo>
                      <a:pt x="9943" y="321"/>
                    </a:lnTo>
                    <a:lnTo>
                      <a:pt x="9954" y="314"/>
                    </a:lnTo>
                    <a:lnTo>
                      <a:pt x="9966" y="307"/>
                    </a:lnTo>
                    <a:lnTo>
                      <a:pt x="9979" y="302"/>
                    </a:lnTo>
                    <a:lnTo>
                      <a:pt x="9992" y="296"/>
                    </a:lnTo>
                    <a:lnTo>
                      <a:pt x="10006" y="292"/>
                    </a:lnTo>
                    <a:lnTo>
                      <a:pt x="10020" y="288"/>
                    </a:lnTo>
                    <a:lnTo>
                      <a:pt x="10036" y="285"/>
                    </a:lnTo>
                    <a:lnTo>
                      <a:pt x="10051" y="283"/>
                    </a:lnTo>
                    <a:lnTo>
                      <a:pt x="10069" y="282"/>
                    </a:lnTo>
                    <a:lnTo>
                      <a:pt x="10086" y="281"/>
                    </a:lnTo>
                    <a:lnTo>
                      <a:pt x="10100" y="281"/>
                    </a:lnTo>
                    <a:lnTo>
                      <a:pt x="10113" y="282"/>
                    </a:lnTo>
                    <a:lnTo>
                      <a:pt x="10127" y="284"/>
                    </a:lnTo>
                    <a:lnTo>
                      <a:pt x="10139" y="285"/>
                    </a:lnTo>
                    <a:lnTo>
                      <a:pt x="10151" y="289"/>
                    </a:lnTo>
                    <a:lnTo>
                      <a:pt x="10163" y="292"/>
                    </a:lnTo>
                    <a:lnTo>
                      <a:pt x="10175" y="295"/>
                    </a:lnTo>
                    <a:lnTo>
                      <a:pt x="10186" y="300"/>
                    </a:lnTo>
                    <a:lnTo>
                      <a:pt x="10196" y="305"/>
                    </a:lnTo>
                    <a:lnTo>
                      <a:pt x="10205" y="309"/>
                    </a:lnTo>
                    <a:lnTo>
                      <a:pt x="10215" y="316"/>
                    </a:lnTo>
                    <a:lnTo>
                      <a:pt x="10225" y="321"/>
                    </a:lnTo>
                    <a:lnTo>
                      <a:pt x="10234" y="329"/>
                    </a:lnTo>
                    <a:lnTo>
                      <a:pt x="10241" y="335"/>
                    </a:lnTo>
                    <a:lnTo>
                      <a:pt x="10249" y="343"/>
                    </a:lnTo>
                    <a:lnTo>
                      <a:pt x="10256" y="352"/>
                    </a:lnTo>
                    <a:lnTo>
                      <a:pt x="10263" y="359"/>
                    </a:lnTo>
                    <a:lnTo>
                      <a:pt x="10269" y="368"/>
                    </a:lnTo>
                    <a:lnTo>
                      <a:pt x="10276" y="378"/>
                    </a:lnTo>
                    <a:lnTo>
                      <a:pt x="10281" y="388"/>
                    </a:lnTo>
                    <a:lnTo>
                      <a:pt x="10291" y="408"/>
                    </a:lnTo>
                    <a:lnTo>
                      <a:pt x="10299" y="430"/>
                    </a:lnTo>
                    <a:lnTo>
                      <a:pt x="10305" y="453"/>
                    </a:lnTo>
                    <a:lnTo>
                      <a:pt x="10310" y="477"/>
                    </a:lnTo>
                    <a:lnTo>
                      <a:pt x="10312" y="503"/>
                    </a:lnTo>
                    <a:lnTo>
                      <a:pt x="10313" y="529"/>
                    </a:lnTo>
                    <a:lnTo>
                      <a:pt x="10313" y="560"/>
                    </a:lnTo>
                    <a:lnTo>
                      <a:pt x="9938" y="560"/>
                    </a:lnTo>
                    <a:close/>
                    <a:moveTo>
                      <a:pt x="9470" y="113"/>
                    </a:moveTo>
                    <a:lnTo>
                      <a:pt x="9451" y="107"/>
                    </a:lnTo>
                    <a:lnTo>
                      <a:pt x="9433" y="102"/>
                    </a:lnTo>
                    <a:lnTo>
                      <a:pt x="9413" y="99"/>
                    </a:lnTo>
                    <a:lnTo>
                      <a:pt x="9394" y="97"/>
                    </a:lnTo>
                    <a:lnTo>
                      <a:pt x="9355" y="93"/>
                    </a:lnTo>
                    <a:lnTo>
                      <a:pt x="9316" y="92"/>
                    </a:lnTo>
                    <a:lnTo>
                      <a:pt x="9255" y="92"/>
                    </a:lnTo>
                    <a:lnTo>
                      <a:pt x="9255" y="859"/>
                    </a:lnTo>
                    <a:lnTo>
                      <a:pt x="9328" y="859"/>
                    </a:lnTo>
                    <a:lnTo>
                      <a:pt x="9348" y="858"/>
                    </a:lnTo>
                    <a:lnTo>
                      <a:pt x="9369" y="858"/>
                    </a:lnTo>
                    <a:lnTo>
                      <a:pt x="9388" y="855"/>
                    </a:lnTo>
                    <a:lnTo>
                      <a:pt x="9409" y="853"/>
                    </a:lnTo>
                    <a:lnTo>
                      <a:pt x="9430" y="850"/>
                    </a:lnTo>
                    <a:lnTo>
                      <a:pt x="9449" y="846"/>
                    </a:lnTo>
                    <a:lnTo>
                      <a:pt x="9469" y="840"/>
                    </a:lnTo>
                    <a:lnTo>
                      <a:pt x="9488" y="833"/>
                    </a:lnTo>
                    <a:lnTo>
                      <a:pt x="9500" y="826"/>
                    </a:lnTo>
                    <a:lnTo>
                      <a:pt x="9511" y="820"/>
                    </a:lnTo>
                    <a:lnTo>
                      <a:pt x="9522" y="813"/>
                    </a:lnTo>
                    <a:lnTo>
                      <a:pt x="9532" y="804"/>
                    </a:lnTo>
                    <a:lnTo>
                      <a:pt x="9541" y="797"/>
                    </a:lnTo>
                    <a:lnTo>
                      <a:pt x="9550" y="788"/>
                    </a:lnTo>
                    <a:lnTo>
                      <a:pt x="9558" y="778"/>
                    </a:lnTo>
                    <a:lnTo>
                      <a:pt x="9565" y="769"/>
                    </a:lnTo>
                    <a:lnTo>
                      <a:pt x="9573" y="759"/>
                    </a:lnTo>
                    <a:lnTo>
                      <a:pt x="9579" y="748"/>
                    </a:lnTo>
                    <a:lnTo>
                      <a:pt x="9585" y="737"/>
                    </a:lnTo>
                    <a:lnTo>
                      <a:pt x="9591" y="725"/>
                    </a:lnTo>
                    <a:lnTo>
                      <a:pt x="9601" y="702"/>
                    </a:lnTo>
                    <a:lnTo>
                      <a:pt x="9609" y="677"/>
                    </a:lnTo>
                    <a:lnTo>
                      <a:pt x="9615" y="652"/>
                    </a:lnTo>
                    <a:lnTo>
                      <a:pt x="9621" y="626"/>
                    </a:lnTo>
                    <a:lnTo>
                      <a:pt x="9624" y="600"/>
                    </a:lnTo>
                    <a:lnTo>
                      <a:pt x="9627" y="574"/>
                    </a:lnTo>
                    <a:lnTo>
                      <a:pt x="9629" y="548"/>
                    </a:lnTo>
                    <a:lnTo>
                      <a:pt x="9630" y="523"/>
                    </a:lnTo>
                    <a:lnTo>
                      <a:pt x="9631" y="498"/>
                    </a:lnTo>
                    <a:lnTo>
                      <a:pt x="9631" y="474"/>
                    </a:lnTo>
                    <a:lnTo>
                      <a:pt x="9631" y="448"/>
                    </a:lnTo>
                    <a:lnTo>
                      <a:pt x="9630" y="422"/>
                    </a:lnTo>
                    <a:lnTo>
                      <a:pt x="9629" y="396"/>
                    </a:lnTo>
                    <a:lnTo>
                      <a:pt x="9627" y="369"/>
                    </a:lnTo>
                    <a:lnTo>
                      <a:pt x="9624" y="342"/>
                    </a:lnTo>
                    <a:lnTo>
                      <a:pt x="9619" y="315"/>
                    </a:lnTo>
                    <a:lnTo>
                      <a:pt x="9613" y="289"/>
                    </a:lnTo>
                    <a:lnTo>
                      <a:pt x="9605" y="264"/>
                    </a:lnTo>
                    <a:lnTo>
                      <a:pt x="9601" y="251"/>
                    </a:lnTo>
                    <a:lnTo>
                      <a:pt x="9597" y="239"/>
                    </a:lnTo>
                    <a:lnTo>
                      <a:pt x="9591" y="227"/>
                    </a:lnTo>
                    <a:lnTo>
                      <a:pt x="9586" y="215"/>
                    </a:lnTo>
                    <a:lnTo>
                      <a:pt x="9579" y="204"/>
                    </a:lnTo>
                    <a:lnTo>
                      <a:pt x="9573" y="193"/>
                    </a:lnTo>
                    <a:lnTo>
                      <a:pt x="9565" y="182"/>
                    </a:lnTo>
                    <a:lnTo>
                      <a:pt x="9558" y="173"/>
                    </a:lnTo>
                    <a:lnTo>
                      <a:pt x="9549" y="163"/>
                    </a:lnTo>
                    <a:lnTo>
                      <a:pt x="9539" y="154"/>
                    </a:lnTo>
                    <a:lnTo>
                      <a:pt x="9529" y="145"/>
                    </a:lnTo>
                    <a:lnTo>
                      <a:pt x="9520" y="138"/>
                    </a:lnTo>
                    <a:lnTo>
                      <a:pt x="9508" y="131"/>
                    </a:lnTo>
                    <a:lnTo>
                      <a:pt x="9496" y="125"/>
                    </a:lnTo>
                    <a:lnTo>
                      <a:pt x="9484" y="118"/>
                    </a:lnTo>
                    <a:lnTo>
                      <a:pt x="9470" y="113"/>
                    </a:lnTo>
                    <a:close/>
                    <a:moveTo>
                      <a:pt x="9523" y="922"/>
                    </a:moveTo>
                    <a:lnTo>
                      <a:pt x="9499" y="928"/>
                    </a:lnTo>
                    <a:lnTo>
                      <a:pt x="9475" y="935"/>
                    </a:lnTo>
                    <a:lnTo>
                      <a:pt x="9450" y="939"/>
                    </a:lnTo>
                    <a:lnTo>
                      <a:pt x="9426" y="942"/>
                    </a:lnTo>
                    <a:lnTo>
                      <a:pt x="9401" y="945"/>
                    </a:lnTo>
                    <a:lnTo>
                      <a:pt x="9376" y="947"/>
                    </a:lnTo>
                    <a:lnTo>
                      <a:pt x="9351" y="947"/>
                    </a:lnTo>
                    <a:lnTo>
                      <a:pt x="9326" y="947"/>
                    </a:lnTo>
                    <a:lnTo>
                      <a:pt x="9149" y="947"/>
                    </a:lnTo>
                    <a:lnTo>
                      <a:pt x="9149" y="4"/>
                    </a:lnTo>
                    <a:lnTo>
                      <a:pt x="9360" y="4"/>
                    </a:lnTo>
                    <a:lnTo>
                      <a:pt x="9388" y="4"/>
                    </a:lnTo>
                    <a:lnTo>
                      <a:pt x="9414" y="6"/>
                    </a:lnTo>
                    <a:lnTo>
                      <a:pt x="9440" y="9"/>
                    </a:lnTo>
                    <a:lnTo>
                      <a:pt x="9464" y="13"/>
                    </a:lnTo>
                    <a:lnTo>
                      <a:pt x="9487" y="17"/>
                    </a:lnTo>
                    <a:lnTo>
                      <a:pt x="9509" y="24"/>
                    </a:lnTo>
                    <a:lnTo>
                      <a:pt x="9529" y="30"/>
                    </a:lnTo>
                    <a:lnTo>
                      <a:pt x="9549" y="39"/>
                    </a:lnTo>
                    <a:lnTo>
                      <a:pt x="9567" y="48"/>
                    </a:lnTo>
                    <a:lnTo>
                      <a:pt x="9585" y="57"/>
                    </a:lnTo>
                    <a:lnTo>
                      <a:pt x="9601" y="68"/>
                    </a:lnTo>
                    <a:lnTo>
                      <a:pt x="9616" y="80"/>
                    </a:lnTo>
                    <a:lnTo>
                      <a:pt x="9630" y="93"/>
                    </a:lnTo>
                    <a:lnTo>
                      <a:pt x="9643" y="106"/>
                    </a:lnTo>
                    <a:lnTo>
                      <a:pt x="9656" y="121"/>
                    </a:lnTo>
                    <a:lnTo>
                      <a:pt x="9667" y="136"/>
                    </a:lnTo>
                    <a:lnTo>
                      <a:pt x="9678" y="152"/>
                    </a:lnTo>
                    <a:lnTo>
                      <a:pt x="9688" y="169"/>
                    </a:lnTo>
                    <a:lnTo>
                      <a:pt x="9696" y="187"/>
                    </a:lnTo>
                    <a:lnTo>
                      <a:pt x="9705" y="205"/>
                    </a:lnTo>
                    <a:lnTo>
                      <a:pt x="9712" y="224"/>
                    </a:lnTo>
                    <a:lnTo>
                      <a:pt x="9718" y="243"/>
                    </a:lnTo>
                    <a:lnTo>
                      <a:pt x="9725" y="264"/>
                    </a:lnTo>
                    <a:lnTo>
                      <a:pt x="9729" y="284"/>
                    </a:lnTo>
                    <a:lnTo>
                      <a:pt x="9733" y="306"/>
                    </a:lnTo>
                    <a:lnTo>
                      <a:pt x="9738" y="329"/>
                    </a:lnTo>
                    <a:lnTo>
                      <a:pt x="9741" y="351"/>
                    </a:lnTo>
                    <a:lnTo>
                      <a:pt x="9743" y="374"/>
                    </a:lnTo>
                    <a:lnTo>
                      <a:pt x="9745" y="398"/>
                    </a:lnTo>
                    <a:lnTo>
                      <a:pt x="9746" y="422"/>
                    </a:lnTo>
                    <a:lnTo>
                      <a:pt x="9747" y="447"/>
                    </a:lnTo>
                    <a:lnTo>
                      <a:pt x="9747" y="472"/>
                    </a:lnTo>
                    <a:lnTo>
                      <a:pt x="9746" y="507"/>
                    </a:lnTo>
                    <a:lnTo>
                      <a:pt x="9745" y="541"/>
                    </a:lnTo>
                    <a:lnTo>
                      <a:pt x="9743" y="575"/>
                    </a:lnTo>
                    <a:lnTo>
                      <a:pt x="9739" y="609"/>
                    </a:lnTo>
                    <a:lnTo>
                      <a:pt x="9733" y="643"/>
                    </a:lnTo>
                    <a:lnTo>
                      <a:pt x="9727" y="676"/>
                    </a:lnTo>
                    <a:lnTo>
                      <a:pt x="9723" y="693"/>
                    </a:lnTo>
                    <a:lnTo>
                      <a:pt x="9718" y="709"/>
                    </a:lnTo>
                    <a:lnTo>
                      <a:pt x="9713" y="724"/>
                    </a:lnTo>
                    <a:lnTo>
                      <a:pt x="9707" y="739"/>
                    </a:lnTo>
                    <a:lnTo>
                      <a:pt x="9701" y="755"/>
                    </a:lnTo>
                    <a:lnTo>
                      <a:pt x="9693" y="770"/>
                    </a:lnTo>
                    <a:lnTo>
                      <a:pt x="9687" y="784"/>
                    </a:lnTo>
                    <a:lnTo>
                      <a:pt x="9678" y="798"/>
                    </a:lnTo>
                    <a:lnTo>
                      <a:pt x="9669" y="811"/>
                    </a:lnTo>
                    <a:lnTo>
                      <a:pt x="9660" y="824"/>
                    </a:lnTo>
                    <a:lnTo>
                      <a:pt x="9650" y="837"/>
                    </a:lnTo>
                    <a:lnTo>
                      <a:pt x="9639" y="849"/>
                    </a:lnTo>
                    <a:lnTo>
                      <a:pt x="9627" y="860"/>
                    </a:lnTo>
                    <a:lnTo>
                      <a:pt x="9615" y="871"/>
                    </a:lnTo>
                    <a:lnTo>
                      <a:pt x="9602" y="882"/>
                    </a:lnTo>
                    <a:lnTo>
                      <a:pt x="9588" y="890"/>
                    </a:lnTo>
                    <a:lnTo>
                      <a:pt x="9573" y="899"/>
                    </a:lnTo>
                    <a:lnTo>
                      <a:pt x="9558" y="908"/>
                    </a:lnTo>
                    <a:lnTo>
                      <a:pt x="9540" y="915"/>
                    </a:lnTo>
                    <a:lnTo>
                      <a:pt x="9523" y="922"/>
                    </a:lnTo>
                    <a:close/>
                    <a:moveTo>
                      <a:pt x="8639" y="947"/>
                    </a:moveTo>
                    <a:lnTo>
                      <a:pt x="8639" y="811"/>
                    </a:lnTo>
                    <a:lnTo>
                      <a:pt x="8775" y="811"/>
                    </a:lnTo>
                    <a:lnTo>
                      <a:pt x="8775" y="947"/>
                    </a:lnTo>
                    <a:lnTo>
                      <a:pt x="8639" y="947"/>
                    </a:lnTo>
                    <a:close/>
                    <a:moveTo>
                      <a:pt x="8333" y="359"/>
                    </a:moveTo>
                    <a:lnTo>
                      <a:pt x="8318" y="360"/>
                    </a:lnTo>
                    <a:lnTo>
                      <a:pt x="8305" y="361"/>
                    </a:lnTo>
                    <a:lnTo>
                      <a:pt x="8292" y="365"/>
                    </a:lnTo>
                    <a:lnTo>
                      <a:pt x="8282" y="369"/>
                    </a:lnTo>
                    <a:lnTo>
                      <a:pt x="8270" y="373"/>
                    </a:lnTo>
                    <a:lnTo>
                      <a:pt x="8260" y="380"/>
                    </a:lnTo>
                    <a:lnTo>
                      <a:pt x="8250" y="386"/>
                    </a:lnTo>
                    <a:lnTo>
                      <a:pt x="8241" y="394"/>
                    </a:lnTo>
                    <a:lnTo>
                      <a:pt x="8233" y="403"/>
                    </a:lnTo>
                    <a:lnTo>
                      <a:pt x="8225" y="412"/>
                    </a:lnTo>
                    <a:lnTo>
                      <a:pt x="8219" y="422"/>
                    </a:lnTo>
                    <a:lnTo>
                      <a:pt x="8212" y="433"/>
                    </a:lnTo>
                    <a:lnTo>
                      <a:pt x="8207" y="445"/>
                    </a:lnTo>
                    <a:lnTo>
                      <a:pt x="8202" y="457"/>
                    </a:lnTo>
                    <a:lnTo>
                      <a:pt x="8199" y="469"/>
                    </a:lnTo>
                    <a:lnTo>
                      <a:pt x="8196" y="482"/>
                    </a:lnTo>
                    <a:lnTo>
                      <a:pt x="8457" y="482"/>
                    </a:lnTo>
                    <a:lnTo>
                      <a:pt x="8456" y="469"/>
                    </a:lnTo>
                    <a:lnTo>
                      <a:pt x="8455" y="457"/>
                    </a:lnTo>
                    <a:lnTo>
                      <a:pt x="8452" y="445"/>
                    </a:lnTo>
                    <a:lnTo>
                      <a:pt x="8448" y="433"/>
                    </a:lnTo>
                    <a:lnTo>
                      <a:pt x="8442" y="422"/>
                    </a:lnTo>
                    <a:lnTo>
                      <a:pt x="8437" y="412"/>
                    </a:lnTo>
                    <a:lnTo>
                      <a:pt x="8429" y="403"/>
                    </a:lnTo>
                    <a:lnTo>
                      <a:pt x="8422" y="394"/>
                    </a:lnTo>
                    <a:lnTo>
                      <a:pt x="8413" y="386"/>
                    </a:lnTo>
                    <a:lnTo>
                      <a:pt x="8403" y="380"/>
                    </a:lnTo>
                    <a:lnTo>
                      <a:pt x="8393" y="373"/>
                    </a:lnTo>
                    <a:lnTo>
                      <a:pt x="8382" y="369"/>
                    </a:lnTo>
                    <a:lnTo>
                      <a:pt x="8371" y="365"/>
                    </a:lnTo>
                    <a:lnTo>
                      <a:pt x="8359" y="361"/>
                    </a:lnTo>
                    <a:lnTo>
                      <a:pt x="8346" y="360"/>
                    </a:lnTo>
                    <a:lnTo>
                      <a:pt x="8333" y="359"/>
                    </a:lnTo>
                    <a:close/>
                    <a:moveTo>
                      <a:pt x="8189" y="560"/>
                    </a:moveTo>
                    <a:lnTo>
                      <a:pt x="8189" y="598"/>
                    </a:lnTo>
                    <a:lnTo>
                      <a:pt x="8190" y="625"/>
                    </a:lnTo>
                    <a:lnTo>
                      <a:pt x="8193" y="651"/>
                    </a:lnTo>
                    <a:lnTo>
                      <a:pt x="8197" y="677"/>
                    </a:lnTo>
                    <a:lnTo>
                      <a:pt x="8202" y="703"/>
                    </a:lnTo>
                    <a:lnTo>
                      <a:pt x="8211" y="727"/>
                    </a:lnTo>
                    <a:lnTo>
                      <a:pt x="8220" y="751"/>
                    </a:lnTo>
                    <a:lnTo>
                      <a:pt x="8225" y="763"/>
                    </a:lnTo>
                    <a:lnTo>
                      <a:pt x="8232" y="774"/>
                    </a:lnTo>
                    <a:lnTo>
                      <a:pt x="8238" y="785"/>
                    </a:lnTo>
                    <a:lnTo>
                      <a:pt x="8245" y="795"/>
                    </a:lnTo>
                    <a:lnTo>
                      <a:pt x="8252" y="804"/>
                    </a:lnTo>
                    <a:lnTo>
                      <a:pt x="8260" y="814"/>
                    </a:lnTo>
                    <a:lnTo>
                      <a:pt x="8269" y="823"/>
                    </a:lnTo>
                    <a:lnTo>
                      <a:pt x="8277" y="832"/>
                    </a:lnTo>
                    <a:lnTo>
                      <a:pt x="8286" y="839"/>
                    </a:lnTo>
                    <a:lnTo>
                      <a:pt x="8296" y="847"/>
                    </a:lnTo>
                    <a:lnTo>
                      <a:pt x="8306" y="853"/>
                    </a:lnTo>
                    <a:lnTo>
                      <a:pt x="8316" y="860"/>
                    </a:lnTo>
                    <a:lnTo>
                      <a:pt x="8328" y="865"/>
                    </a:lnTo>
                    <a:lnTo>
                      <a:pt x="8339" y="871"/>
                    </a:lnTo>
                    <a:lnTo>
                      <a:pt x="8352" y="874"/>
                    </a:lnTo>
                    <a:lnTo>
                      <a:pt x="8364" y="878"/>
                    </a:lnTo>
                    <a:lnTo>
                      <a:pt x="8378" y="880"/>
                    </a:lnTo>
                    <a:lnTo>
                      <a:pt x="8391" y="883"/>
                    </a:lnTo>
                    <a:lnTo>
                      <a:pt x="8405" y="884"/>
                    </a:lnTo>
                    <a:lnTo>
                      <a:pt x="8420" y="885"/>
                    </a:lnTo>
                    <a:lnTo>
                      <a:pt x="8437" y="884"/>
                    </a:lnTo>
                    <a:lnTo>
                      <a:pt x="8453" y="883"/>
                    </a:lnTo>
                    <a:lnTo>
                      <a:pt x="8469" y="882"/>
                    </a:lnTo>
                    <a:lnTo>
                      <a:pt x="8486" y="879"/>
                    </a:lnTo>
                    <a:lnTo>
                      <a:pt x="8517" y="874"/>
                    </a:lnTo>
                    <a:lnTo>
                      <a:pt x="8548" y="866"/>
                    </a:lnTo>
                    <a:lnTo>
                      <a:pt x="8548" y="943"/>
                    </a:lnTo>
                    <a:lnTo>
                      <a:pt x="8531" y="948"/>
                    </a:lnTo>
                    <a:lnTo>
                      <a:pt x="8513" y="952"/>
                    </a:lnTo>
                    <a:lnTo>
                      <a:pt x="8494" y="955"/>
                    </a:lnTo>
                    <a:lnTo>
                      <a:pt x="8475" y="959"/>
                    </a:lnTo>
                    <a:lnTo>
                      <a:pt x="8456" y="960"/>
                    </a:lnTo>
                    <a:lnTo>
                      <a:pt x="8438" y="962"/>
                    </a:lnTo>
                    <a:lnTo>
                      <a:pt x="8418" y="962"/>
                    </a:lnTo>
                    <a:lnTo>
                      <a:pt x="8400" y="962"/>
                    </a:lnTo>
                    <a:lnTo>
                      <a:pt x="8379" y="962"/>
                    </a:lnTo>
                    <a:lnTo>
                      <a:pt x="8359" y="961"/>
                    </a:lnTo>
                    <a:lnTo>
                      <a:pt x="8340" y="959"/>
                    </a:lnTo>
                    <a:lnTo>
                      <a:pt x="8322" y="955"/>
                    </a:lnTo>
                    <a:lnTo>
                      <a:pt x="8303" y="951"/>
                    </a:lnTo>
                    <a:lnTo>
                      <a:pt x="8287" y="947"/>
                    </a:lnTo>
                    <a:lnTo>
                      <a:pt x="8271" y="941"/>
                    </a:lnTo>
                    <a:lnTo>
                      <a:pt x="8256" y="935"/>
                    </a:lnTo>
                    <a:lnTo>
                      <a:pt x="8240" y="928"/>
                    </a:lnTo>
                    <a:lnTo>
                      <a:pt x="8226" y="921"/>
                    </a:lnTo>
                    <a:lnTo>
                      <a:pt x="8213" y="912"/>
                    </a:lnTo>
                    <a:lnTo>
                      <a:pt x="8200" y="903"/>
                    </a:lnTo>
                    <a:lnTo>
                      <a:pt x="8188" y="893"/>
                    </a:lnTo>
                    <a:lnTo>
                      <a:pt x="8177" y="883"/>
                    </a:lnTo>
                    <a:lnTo>
                      <a:pt x="8167" y="872"/>
                    </a:lnTo>
                    <a:lnTo>
                      <a:pt x="8157" y="860"/>
                    </a:lnTo>
                    <a:lnTo>
                      <a:pt x="8147" y="848"/>
                    </a:lnTo>
                    <a:lnTo>
                      <a:pt x="8138" y="835"/>
                    </a:lnTo>
                    <a:lnTo>
                      <a:pt x="8131" y="821"/>
                    </a:lnTo>
                    <a:lnTo>
                      <a:pt x="8123" y="807"/>
                    </a:lnTo>
                    <a:lnTo>
                      <a:pt x="8117" y="793"/>
                    </a:lnTo>
                    <a:lnTo>
                      <a:pt x="8111" y="777"/>
                    </a:lnTo>
                    <a:lnTo>
                      <a:pt x="8106" y="762"/>
                    </a:lnTo>
                    <a:lnTo>
                      <a:pt x="8100" y="746"/>
                    </a:lnTo>
                    <a:lnTo>
                      <a:pt x="8096" y="728"/>
                    </a:lnTo>
                    <a:lnTo>
                      <a:pt x="8093" y="711"/>
                    </a:lnTo>
                    <a:lnTo>
                      <a:pt x="8089" y="694"/>
                    </a:lnTo>
                    <a:lnTo>
                      <a:pt x="8087" y="676"/>
                    </a:lnTo>
                    <a:lnTo>
                      <a:pt x="8085" y="658"/>
                    </a:lnTo>
                    <a:lnTo>
                      <a:pt x="8084" y="638"/>
                    </a:lnTo>
                    <a:lnTo>
                      <a:pt x="8083" y="620"/>
                    </a:lnTo>
                    <a:lnTo>
                      <a:pt x="8083" y="600"/>
                    </a:lnTo>
                    <a:lnTo>
                      <a:pt x="8083" y="569"/>
                    </a:lnTo>
                    <a:lnTo>
                      <a:pt x="8086" y="537"/>
                    </a:lnTo>
                    <a:lnTo>
                      <a:pt x="8089" y="508"/>
                    </a:lnTo>
                    <a:lnTo>
                      <a:pt x="8096" y="479"/>
                    </a:lnTo>
                    <a:lnTo>
                      <a:pt x="8099" y="465"/>
                    </a:lnTo>
                    <a:lnTo>
                      <a:pt x="8104" y="450"/>
                    </a:lnTo>
                    <a:lnTo>
                      <a:pt x="8108" y="437"/>
                    </a:lnTo>
                    <a:lnTo>
                      <a:pt x="8112" y="424"/>
                    </a:lnTo>
                    <a:lnTo>
                      <a:pt x="8118" y="412"/>
                    </a:lnTo>
                    <a:lnTo>
                      <a:pt x="8124" y="399"/>
                    </a:lnTo>
                    <a:lnTo>
                      <a:pt x="8131" y="389"/>
                    </a:lnTo>
                    <a:lnTo>
                      <a:pt x="8138" y="377"/>
                    </a:lnTo>
                    <a:lnTo>
                      <a:pt x="8146" y="366"/>
                    </a:lnTo>
                    <a:lnTo>
                      <a:pt x="8154" y="356"/>
                    </a:lnTo>
                    <a:lnTo>
                      <a:pt x="8163" y="346"/>
                    </a:lnTo>
                    <a:lnTo>
                      <a:pt x="8172" y="338"/>
                    </a:lnTo>
                    <a:lnTo>
                      <a:pt x="8183" y="329"/>
                    </a:lnTo>
                    <a:lnTo>
                      <a:pt x="8193" y="321"/>
                    </a:lnTo>
                    <a:lnTo>
                      <a:pt x="8205" y="314"/>
                    </a:lnTo>
                    <a:lnTo>
                      <a:pt x="8216" y="307"/>
                    </a:lnTo>
                    <a:lnTo>
                      <a:pt x="8229" y="302"/>
                    </a:lnTo>
                    <a:lnTo>
                      <a:pt x="8242" y="296"/>
                    </a:lnTo>
                    <a:lnTo>
                      <a:pt x="8257" y="292"/>
                    </a:lnTo>
                    <a:lnTo>
                      <a:pt x="8271" y="288"/>
                    </a:lnTo>
                    <a:lnTo>
                      <a:pt x="8286" y="285"/>
                    </a:lnTo>
                    <a:lnTo>
                      <a:pt x="8302" y="283"/>
                    </a:lnTo>
                    <a:lnTo>
                      <a:pt x="8320" y="282"/>
                    </a:lnTo>
                    <a:lnTo>
                      <a:pt x="8337" y="281"/>
                    </a:lnTo>
                    <a:lnTo>
                      <a:pt x="8351" y="281"/>
                    </a:lnTo>
                    <a:lnTo>
                      <a:pt x="8364" y="282"/>
                    </a:lnTo>
                    <a:lnTo>
                      <a:pt x="8377" y="284"/>
                    </a:lnTo>
                    <a:lnTo>
                      <a:pt x="8390" y="285"/>
                    </a:lnTo>
                    <a:lnTo>
                      <a:pt x="8402" y="289"/>
                    </a:lnTo>
                    <a:lnTo>
                      <a:pt x="8414" y="292"/>
                    </a:lnTo>
                    <a:lnTo>
                      <a:pt x="8426" y="295"/>
                    </a:lnTo>
                    <a:lnTo>
                      <a:pt x="8437" y="300"/>
                    </a:lnTo>
                    <a:lnTo>
                      <a:pt x="8446" y="305"/>
                    </a:lnTo>
                    <a:lnTo>
                      <a:pt x="8456" y="309"/>
                    </a:lnTo>
                    <a:lnTo>
                      <a:pt x="8466" y="316"/>
                    </a:lnTo>
                    <a:lnTo>
                      <a:pt x="8476" y="321"/>
                    </a:lnTo>
                    <a:lnTo>
                      <a:pt x="8484" y="329"/>
                    </a:lnTo>
                    <a:lnTo>
                      <a:pt x="8492" y="335"/>
                    </a:lnTo>
                    <a:lnTo>
                      <a:pt x="8500" y="343"/>
                    </a:lnTo>
                    <a:lnTo>
                      <a:pt x="8507" y="352"/>
                    </a:lnTo>
                    <a:lnTo>
                      <a:pt x="8514" y="359"/>
                    </a:lnTo>
                    <a:lnTo>
                      <a:pt x="8520" y="368"/>
                    </a:lnTo>
                    <a:lnTo>
                      <a:pt x="8527" y="378"/>
                    </a:lnTo>
                    <a:lnTo>
                      <a:pt x="8532" y="388"/>
                    </a:lnTo>
                    <a:lnTo>
                      <a:pt x="8542" y="408"/>
                    </a:lnTo>
                    <a:lnTo>
                      <a:pt x="8550" y="430"/>
                    </a:lnTo>
                    <a:lnTo>
                      <a:pt x="8556" y="453"/>
                    </a:lnTo>
                    <a:lnTo>
                      <a:pt x="8560" y="477"/>
                    </a:lnTo>
                    <a:lnTo>
                      <a:pt x="8563" y="503"/>
                    </a:lnTo>
                    <a:lnTo>
                      <a:pt x="8564" y="529"/>
                    </a:lnTo>
                    <a:lnTo>
                      <a:pt x="8564" y="560"/>
                    </a:lnTo>
                    <a:lnTo>
                      <a:pt x="8189" y="560"/>
                    </a:lnTo>
                    <a:close/>
                    <a:moveTo>
                      <a:pt x="7932" y="495"/>
                    </a:moveTo>
                    <a:lnTo>
                      <a:pt x="7932" y="481"/>
                    </a:lnTo>
                    <a:lnTo>
                      <a:pt x="7931" y="467"/>
                    </a:lnTo>
                    <a:lnTo>
                      <a:pt x="7929" y="454"/>
                    </a:lnTo>
                    <a:lnTo>
                      <a:pt x="7926" y="442"/>
                    </a:lnTo>
                    <a:lnTo>
                      <a:pt x="7922" y="430"/>
                    </a:lnTo>
                    <a:lnTo>
                      <a:pt x="7917" y="419"/>
                    </a:lnTo>
                    <a:lnTo>
                      <a:pt x="7912" y="408"/>
                    </a:lnTo>
                    <a:lnTo>
                      <a:pt x="7905" y="398"/>
                    </a:lnTo>
                    <a:lnTo>
                      <a:pt x="7897" y="390"/>
                    </a:lnTo>
                    <a:lnTo>
                      <a:pt x="7890" y="382"/>
                    </a:lnTo>
                    <a:lnTo>
                      <a:pt x="7880" y="376"/>
                    </a:lnTo>
                    <a:lnTo>
                      <a:pt x="7869" y="370"/>
                    </a:lnTo>
                    <a:lnTo>
                      <a:pt x="7857" y="366"/>
                    </a:lnTo>
                    <a:lnTo>
                      <a:pt x="7845" y="363"/>
                    </a:lnTo>
                    <a:lnTo>
                      <a:pt x="7831" y="360"/>
                    </a:lnTo>
                    <a:lnTo>
                      <a:pt x="7816" y="359"/>
                    </a:lnTo>
                    <a:lnTo>
                      <a:pt x="7805" y="359"/>
                    </a:lnTo>
                    <a:lnTo>
                      <a:pt x="7794" y="360"/>
                    </a:lnTo>
                    <a:lnTo>
                      <a:pt x="7785" y="363"/>
                    </a:lnTo>
                    <a:lnTo>
                      <a:pt x="7775" y="365"/>
                    </a:lnTo>
                    <a:lnTo>
                      <a:pt x="7766" y="368"/>
                    </a:lnTo>
                    <a:lnTo>
                      <a:pt x="7757" y="372"/>
                    </a:lnTo>
                    <a:lnTo>
                      <a:pt x="7750" y="377"/>
                    </a:lnTo>
                    <a:lnTo>
                      <a:pt x="7742" y="381"/>
                    </a:lnTo>
                    <a:lnTo>
                      <a:pt x="7735" y="386"/>
                    </a:lnTo>
                    <a:lnTo>
                      <a:pt x="7727" y="393"/>
                    </a:lnTo>
                    <a:lnTo>
                      <a:pt x="7721" y="398"/>
                    </a:lnTo>
                    <a:lnTo>
                      <a:pt x="7715" y="406"/>
                    </a:lnTo>
                    <a:lnTo>
                      <a:pt x="7704" y="420"/>
                    </a:lnTo>
                    <a:lnTo>
                      <a:pt x="7695" y="436"/>
                    </a:lnTo>
                    <a:lnTo>
                      <a:pt x="7686" y="454"/>
                    </a:lnTo>
                    <a:lnTo>
                      <a:pt x="7679" y="472"/>
                    </a:lnTo>
                    <a:lnTo>
                      <a:pt x="7674" y="491"/>
                    </a:lnTo>
                    <a:lnTo>
                      <a:pt x="7670" y="510"/>
                    </a:lnTo>
                    <a:lnTo>
                      <a:pt x="7666" y="530"/>
                    </a:lnTo>
                    <a:lnTo>
                      <a:pt x="7663" y="548"/>
                    </a:lnTo>
                    <a:lnTo>
                      <a:pt x="7662" y="568"/>
                    </a:lnTo>
                    <a:lnTo>
                      <a:pt x="7662" y="586"/>
                    </a:lnTo>
                    <a:lnTo>
                      <a:pt x="7663" y="618"/>
                    </a:lnTo>
                    <a:lnTo>
                      <a:pt x="7665" y="647"/>
                    </a:lnTo>
                    <a:lnTo>
                      <a:pt x="7670" y="676"/>
                    </a:lnTo>
                    <a:lnTo>
                      <a:pt x="7676" y="703"/>
                    </a:lnTo>
                    <a:lnTo>
                      <a:pt x="7680" y="718"/>
                    </a:lnTo>
                    <a:lnTo>
                      <a:pt x="7685" y="730"/>
                    </a:lnTo>
                    <a:lnTo>
                      <a:pt x="7689" y="743"/>
                    </a:lnTo>
                    <a:lnTo>
                      <a:pt x="7695" y="755"/>
                    </a:lnTo>
                    <a:lnTo>
                      <a:pt x="7701" y="766"/>
                    </a:lnTo>
                    <a:lnTo>
                      <a:pt x="7708" y="777"/>
                    </a:lnTo>
                    <a:lnTo>
                      <a:pt x="7714" y="788"/>
                    </a:lnTo>
                    <a:lnTo>
                      <a:pt x="7722" y="798"/>
                    </a:lnTo>
                    <a:lnTo>
                      <a:pt x="7729" y="808"/>
                    </a:lnTo>
                    <a:lnTo>
                      <a:pt x="7738" y="817"/>
                    </a:lnTo>
                    <a:lnTo>
                      <a:pt x="7748" y="826"/>
                    </a:lnTo>
                    <a:lnTo>
                      <a:pt x="7757" y="835"/>
                    </a:lnTo>
                    <a:lnTo>
                      <a:pt x="7767" y="842"/>
                    </a:lnTo>
                    <a:lnTo>
                      <a:pt x="7778" y="849"/>
                    </a:lnTo>
                    <a:lnTo>
                      <a:pt x="7790" y="855"/>
                    </a:lnTo>
                    <a:lnTo>
                      <a:pt x="7802" y="861"/>
                    </a:lnTo>
                    <a:lnTo>
                      <a:pt x="7814" y="866"/>
                    </a:lnTo>
                    <a:lnTo>
                      <a:pt x="7828" y="872"/>
                    </a:lnTo>
                    <a:lnTo>
                      <a:pt x="7841" y="875"/>
                    </a:lnTo>
                    <a:lnTo>
                      <a:pt x="7856" y="878"/>
                    </a:lnTo>
                    <a:lnTo>
                      <a:pt x="7871" y="882"/>
                    </a:lnTo>
                    <a:lnTo>
                      <a:pt x="7887" y="883"/>
                    </a:lnTo>
                    <a:lnTo>
                      <a:pt x="7903" y="884"/>
                    </a:lnTo>
                    <a:lnTo>
                      <a:pt x="7920" y="885"/>
                    </a:lnTo>
                    <a:lnTo>
                      <a:pt x="7946" y="884"/>
                    </a:lnTo>
                    <a:lnTo>
                      <a:pt x="7973" y="882"/>
                    </a:lnTo>
                    <a:lnTo>
                      <a:pt x="7986" y="879"/>
                    </a:lnTo>
                    <a:lnTo>
                      <a:pt x="7999" y="877"/>
                    </a:lnTo>
                    <a:lnTo>
                      <a:pt x="8012" y="874"/>
                    </a:lnTo>
                    <a:lnTo>
                      <a:pt x="8025" y="871"/>
                    </a:lnTo>
                    <a:lnTo>
                      <a:pt x="8025" y="945"/>
                    </a:lnTo>
                    <a:lnTo>
                      <a:pt x="8008" y="949"/>
                    </a:lnTo>
                    <a:lnTo>
                      <a:pt x="7992" y="953"/>
                    </a:lnTo>
                    <a:lnTo>
                      <a:pt x="7976" y="956"/>
                    </a:lnTo>
                    <a:lnTo>
                      <a:pt x="7958" y="959"/>
                    </a:lnTo>
                    <a:lnTo>
                      <a:pt x="7925" y="962"/>
                    </a:lnTo>
                    <a:lnTo>
                      <a:pt x="7890" y="962"/>
                    </a:lnTo>
                    <a:lnTo>
                      <a:pt x="7869" y="962"/>
                    </a:lnTo>
                    <a:lnTo>
                      <a:pt x="7849" y="961"/>
                    </a:lnTo>
                    <a:lnTo>
                      <a:pt x="7830" y="959"/>
                    </a:lnTo>
                    <a:lnTo>
                      <a:pt x="7811" y="955"/>
                    </a:lnTo>
                    <a:lnTo>
                      <a:pt x="7793" y="952"/>
                    </a:lnTo>
                    <a:lnTo>
                      <a:pt x="7776" y="948"/>
                    </a:lnTo>
                    <a:lnTo>
                      <a:pt x="7759" y="943"/>
                    </a:lnTo>
                    <a:lnTo>
                      <a:pt x="7743" y="937"/>
                    </a:lnTo>
                    <a:lnTo>
                      <a:pt x="7727" y="930"/>
                    </a:lnTo>
                    <a:lnTo>
                      <a:pt x="7713" y="924"/>
                    </a:lnTo>
                    <a:lnTo>
                      <a:pt x="7699" y="915"/>
                    </a:lnTo>
                    <a:lnTo>
                      <a:pt x="7686" y="908"/>
                    </a:lnTo>
                    <a:lnTo>
                      <a:pt x="7673" y="898"/>
                    </a:lnTo>
                    <a:lnTo>
                      <a:pt x="7661" y="888"/>
                    </a:lnTo>
                    <a:lnTo>
                      <a:pt x="7649" y="877"/>
                    </a:lnTo>
                    <a:lnTo>
                      <a:pt x="7638" y="866"/>
                    </a:lnTo>
                    <a:lnTo>
                      <a:pt x="7628" y="854"/>
                    </a:lnTo>
                    <a:lnTo>
                      <a:pt x="7619" y="841"/>
                    </a:lnTo>
                    <a:lnTo>
                      <a:pt x="7610" y="828"/>
                    </a:lnTo>
                    <a:lnTo>
                      <a:pt x="7602" y="815"/>
                    </a:lnTo>
                    <a:lnTo>
                      <a:pt x="7595" y="800"/>
                    </a:lnTo>
                    <a:lnTo>
                      <a:pt x="7587" y="786"/>
                    </a:lnTo>
                    <a:lnTo>
                      <a:pt x="7582" y="770"/>
                    </a:lnTo>
                    <a:lnTo>
                      <a:pt x="7576" y="755"/>
                    </a:lnTo>
                    <a:lnTo>
                      <a:pt x="7571" y="737"/>
                    </a:lnTo>
                    <a:lnTo>
                      <a:pt x="7566" y="721"/>
                    </a:lnTo>
                    <a:lnTo>
                      <a:pt x="7563" y="702"/>
                    </a:lnTo>
                    <a:lnTo>
                      <a:pt x="7560" y="685"/>
                    </a:lnTo>
                    <a:lnTo>
                      <a:pt x="7558" y="665"/>
                    </a:lnTo>
                    <a:lnTo>
                      <a:pt x="7557" y="647"/>
                    </a:lnTo>
                    <a:lnTo>
                      <a:pt x="7556" y="627"/>
                    </a:lnTo>
                    <a:lnTo>
                      <a:pt x="7555" y="607"/>
                    </a:lnTo>
                    <a:lnTo>
                      <a:pt x="7556" y="574"/>
                    </a:lnTo>
                    <a:lnTo>
                      <a:pt x="7558" y="542"/>
                    </a:lnTo>
                    <a:lnTo>
                      <a:pt x="7562" y="510"/>
                    </a:lnTo>
                    <a:lnTo>
                      <a:pt x="7569" y="481"/>
                    </a:lnTo>
                    <a:lnTo>
                      <a:pt x="7572" y="467"/>
                    </a:lnTo>
                    <a:lnTo>
                      <a:pt x="7576" y="453"/>
                    </a:lnTo>
                    <a:lnTo>
                      <a:pt x="7581" y="439"/>
                    </a:lnTo>
                    <a:lnTo>
                      <a:pt x="7586" y="426"/>
                    </a:lnTo>
                    <a:lnTo>
                      <a:pt x="7593" y="412"/>
                    </a:lnTo>
                    <a:lnTo>
                      <a:pt x="7598" y="401"/>
                    </a:lnTo>
                    <a:lnTo>
                      <a:pt x="7606" y="389"/>
                    </a:lnTo>
                    <a:lnTo>
                      <a:pt x="7613" y="378"/>
                    </a:lnTo>
                    <a:lnTo>
                      <a:pt x="7621" y="367"/>
                    </a:lnTo>
                    <a:lnTo>
                      <a:pt x="7629" y="356"/>
                    </a:lnTo>
                    <a:lnTo>
                      <a:pt x="7639" y="346"/>
                    </a:lnTo>
                    <a:lnTo>
                      <a:pt x="7649" y="338"/>
                    </a:lnTo>
                    <a:lnTo>
                      <a:pt x="7659" y="329"/>
                    </a:lnTo>
                    <a:lnTo>
                      <a:pt x="7671" y="321"/>
                    </a:lnTo>
                    <a:lnTo>
                      <a:pt x="7683" y="314"/>
                    </a:lnTo>
                    <a:lnTo>
                      <a:pt x="7695" y="307"/>
                    </a:lnTo>
                    <a:lnTo>
                      <a:pt x="7708" y="302"/>
                    </a:lnTo>
                    <a:lnTo>
                      <a:pt x="7722" y="296"/>
                    </a:lnTo>
                    <a:lnTo>
                      <a:pt x="7736" y="292"/>
                    </a:lnTo>
                    <a:lnTo>
                      <a:pt x="7752" y="288"/>
                    </a:lnTo>
                    <a:lnTo>
                      <a:pt x="7767" y="285"/>
                    </a:lnTo>
                    <a:lnTo>
                      <a:pt x="7785" y="283"/>
                    </a:lnTo>
                    <a:lnTo>
                      <a:pt x="7802" y="282"/>
                    </a:lnTo>
                    <a:lnTo>
                      <a:pt x="7820" y="281"/>
                    </a:lnTo>
                    <a:lnTo>
                      <a:pt x="7845" y="282"/>
                    </a:lnTo>
                    <a:lnTo>
                      <a:pt x="7869" y="284"/>
                    </a:lnTo>
                    <a:lnTo>
                      <a:pt x="7892" y="289"/>
                    </a:lnTo>
                    <a:lnTo>
                      <a:pt x="7914" y="295"/>
                    </a:lnTo>
                    <a:lnTo>
                      <a:pt x="7933" y="303"/>
                    </a:lnTo>
                    <a:lnTo>
                      <a:pt x="7952" y="312"/>
                    </a:lnTo>
                    <a:lnTo>
                      <a:pt x="7960" y="317"/>
                    </a:lnTo>
                    <a:lnTo>
                      <a:pt x="7968" y="322"/>
                    </a:lnTo>
                    <a:lnTo>
                      <a:pt x="7976" y="329"/>
                    </a:lnTo>
                    <a:lnTo>
                      <a:pt x="7983" y="335"/>
                    </a:lnTo>
                    <a:lnTo>
                      <a:pt x="7991" y="342"/>
                    </a:lnTo>
                    <a:lnTo>
                      <a:pt x="7997" y="350"/>
                    </a:lnTo>
                    <a:lnTo>
                      <a:pt x="8003" y="357"/>
                    </a:lnTo>
                    <a:lnTo>
                      <a:pt x="8009" y="365"/>
                    </a:lnTo>
                    <a:lnTo>
                      <a:pt x="8015" y="373"/>
                    </a:lnTo>
                    <a:lnTo>
                      <a:pt x="8019" y="383"/>
                    </a:lnTo>
                    <a:lnTo>
                      <a:pt x="8023" y="392"/>
                    </a:lnTo>
                    <a:lnTo>
                      <a:pt x="8028" y="402"/>
                    </a:lnTo>
                    <a:lnTo>
                      <a:pt x="8031" y="412"/>
                    </a:lnTo>
                    <a:lnTo>
                      <a:pt x="8034" y="422"/>
                    </a:lnTo>
                    <a:lnTo>
                      <a:pt x="8036" y="434"/>
                    </a:lnTo>
                    <a:lnTo>
                      <a:pt x="8038" y="445"/>
                    </a:lnTo>
                    <a:lnTo>
                      <a:pt x="8042" y="469"/>
                    </a:lnTo>
                    <a:lnTo>
                      <a:pt x="8043" y="495"/>
                    </a:lnTo>
                    <a:lnTo>
                      <a:pt x="7932" y="495"/>
                    </a:lnTo>
                    <a:close/>
                    <a:moveTo>
                      <a:pt x="7349" y="947"/>
                    </a:moveTo>
                    <a:lnTo>
                      <a:pt x="7349" y="586"/>
                    </a:lnTo>
                    <a:lnTo>
                      <a:pt x="7349" y="556"/>
                    </a:lnTo>
                    <a:lnTo>
                      <a:pt x="7349" y="522"/>
                    </a:lnTo>
                    <a:lnTo>
                      <a:pt x="7348" y="505"/>
                    </a:lnTo>
                    <a:lnTo>
                      <a:pt x="7347" y="486"/>
                    </a:lnTo>
                    <a:lnTo>
                      <a:pt x="7344" y="469"/>
                    </a:lnTo>
                    <a:lnTo>
                      <a:pt x="7341" y="453"/>
                    </a:lnTo>
                    <a:lnTo>
                      <a:pt x="7336" y="436"/>
                    </a:lnTo>
                    <a:lnTo>
                      <a:pt x="7330" y="422"/>
                    </a:lnTo>
                    <a:lnTo>
                      <a:pt x="7327" y="415"/>
                    </a:lnTo>
                    <a:lnTo>
                      <a:pt x="7322" y="408"/>
                    </a:lnTo>
                    <a:lnTo>
                      <a:pt x="7318" y="403"/>
                    </a:lnTo>
                    <a:lnTo>
                      <a:pt x="7314" y="397"/>
                    </a:lnTo>
                    <a:lnTo>
                      <a:pt x="7308" y="392"/>
                    </a:lnTo>
                    <a:lnTo>
                      <a:pt x="7302" y="388"/>
                    </a:lnTo>
                    <a:lnTo>
                      <a:pt x="7295" y="383"/>
                    </a:lnTo>
                    <a:lnTo>
                      <a:pt x="7288" y="380"/>
                    </a:lnTo>
                    <a:lnTo>
                      <a:pt x="7280" y="378"/>
                    </a:lnTo>
                    <a:lnTo>
                      <a:pt x="7272" y="376"/>
                    </a:lnTo>
                    <a:lnTo>
                      <a:pt x="7263" y="374"/>
                    </a:lnTo>
                    <a:lnTo>
                      <a:pt x="7253" y="374"/>
                    </a:lnTo>
                    <a:lnTo>
                      <a:pt x="7241" y="374"/>
                    </a:lnTo>
                    <a:lnTo>
                      <a:pt x="7230" y="377"/>
                    </a:lnTo>
                    <a:lnTo>
                      <a:pt x="7219" y="379"/>
                    </a:lnTo>
                    <a:lnTo>
                      <a:pt x="7208" y="383"/>
                    </a:lnTo>
                    <a:lnTo>
                      <a:pt x="7198" y="388"/>
                    </a:lnTo>
                    <a:lnTo>
                      <a:pt x="7188" y="394"/>
                    </a:lnTo>
                    <a:lnTo>
                      <a:pt x="7179" y="401"/>
                    </a:lnTo>
                    <a:lnTo>
                      <a:pt x="7169" y="407"/>
                    </a:lnTo>
                    <a:lnTo>
                      <a:pt x="7161" y="416"/>
                    </a:lnTo>
                    <a:lnTo>
                      <a:pt x="7153" y="424"/>
                    </a:lnTo>
                    <a:lnTo>
                      <a:pt x="7145" y="434"/>
                    </a:lnTo>
                    <a:lnTo>
                      <a:pt x="7138" y="444"/>
                    </a:lnTo>
                    <a:lnTo>
                      <a:pt x="7125" y="466"/>
                    </a:lnTo>
                    <a:lnTo>
                      <a:pt x="7113" y="488"/>
                    </a:lnTo>
                    <a:lnTo>
                      <a:pt x="7102" y="512"/>
                    </a:lnTo>
                    <a:lnTo>
                      <a:pt x="7093" y="537"/>
                    </a:lnTo>
                    <a:lnTo>
                      <a:pt x="7086" y="563"/>
                    </a:lnTo>
                    <a:lnTo>
                      <a:pt x="7079" y="588"/>
                    </a:lnTo>
                    <a:lnTo>
                      <a:pt x="7075" y="613"/>
                    </a:lnTo>
                    <a:lnTo>
                      <a:pt x="7072" y="636"/>
                    </a:lnTo>
                    <a:lnTo>
                      <a:pt x="7070" y="659"/>
                    </a:lnTo>
                    <a:lnTo>
                      <a:pt x="7068" y="680"/>
                    </a:lnTo>
                    <a:lnTo>
                      <a:pt x="7068" y="947"/>
                    </a:lnTo>
                    <a:lnTo>
                      <a:pt x="6976" y="947"/>
                    </a:lnTo>
                    <a:lnTo>
                      <a:pt x="6976" y="296"/>
                    </a:lnTo>
                    <a:lnTo>
                      <a:pt x="7068" y="296"/>
                    </a:lnTo>
                    <a:lnTo>
                      <a:pt x="7068" y="447"/>
                    </a:lnTo>
                    <a:lnTo>
                      <a:pt x="7072" y="447"/>
                    </a:lnTo>
                    <a:lnTo>
                      <a:pt x="7078" y="429"/>
                    </a:lnTo>
                    <a:lnTo>
                      <a:pt x="7085" y="411"/>
                    </a:lnTo>
                    <a:lnTo>
                      <a:pt x="7092" y="394"/>
                    </a:lnTo>
                    <a:lnTo>
                      <a:pt x="7101" y="379"/>
                    </a:lnTo>
                    <a:lnTo>
                      <a:pt x="7111" y="364"/>
                    </a:lnTo>
                    <a:lnTo>
                      <a:pt x="7121" y="351"/>
                    </a:lnTo>
                    <a:lnTo>
                      <a:pt x="7131" y="338"/>
                    </a:lnTo>
                    <a:lnTo>
                      <a:pt x="7143" y="327"/>
                    </a:lnTo>
                    <a:lnTo>
                      <a:pt x="7156" y="316"/>
                    </a:lnTo>
                    <a:lnTo>
                      <a:pt x="7169" y="307"/>
                    </a:lnTo>
                    <a:lnTo>
                      <a:pt x="7185" y="300"/>
                    </a:lnTo>
                    <a:lnTo>
                      <a:pt x="7200" y="293"/>
                    </a:lnTo>
                    <a:lnTo>
                      <a:pt x="7217" y="288"/>
                    </a:lnTo>
                    <a:lnTo>
                      <a:pt x="7236" y="284"/>
                    </a:lnTo>
                    <a:lnTo>
                      <a:pt x="7255" y="282"/>
                    </a:lnTo>
                    <a:lnTo>
                      <a:pt x="7276" y="281"/>
                    </a:lnTo>
                    <a:lnTo>
                      <a:pt x="7285" y="281"/>
                    </a:lnTo>
                    <a:lnTo>
                      <a:pt x="7296" y="282"/>
                    </a:lnTo>
                    <a:lnTo>
                      <a:pt x="7306" y="283"/>
                    </a:lnTo>
                    <a:lnTo>
                      <a:pt x="7315" y="285"/>
                    </a:lnTo>
                    <a:lnTo>
                      <a:pt x="7325" y="288"/>
                    </a:lnTo>
                    <a:lnTo>
                      <a:pt x="7333" y="291"/>
                    </a:lnTo>
                    <a:lnTo>
                      <a:pt x="7342" y="294"/>
                    </a:lnTo>
                    <a:lnTo>
                      <a:pt x="7349" y="298"/>
                    </a:lnTo>
                    <a:lnTo>
                      <a:pt x="7365" y="307"/>
                    </a:lnTo>
                    <a:lnTo>
                      <a:pt x="7379" y="318"/>
                    </a:lnTo>
                    <a:lnTo>
                      <a:pt x="7391" y="330"/>
                    </a:lnTo>
                    <a:lnTo>
                      <a:pt x="7402" y="343"/>
                    </a:lnTo>
                    <a:lnTo>
                      <a:pt x="7411" y="358"/>
                    </a:lnTo>
                    <a:lnTo>
                      <a:pt x="7419" y="373"/>
                    </a:lnTo>
                    <a:lnTo>
                      <a:pt x="7427" y="391"/>
                    </a:lnTo>
                    <a:lnTo>
                      <a:pt x="7432" y="408"/>
                    </a:lnTo>
                    <a:lnTo>
                      <a:pt x="7436" y="426"/>
                    </a:lnTo>
                    <a:lnTo>
                      <a:pt x="7440" y="444"/>
                    </a:lnTo>
                    <a:lnTo>
                      <a:pt x="7442" y="464"/>
                    </a:lnTo>
                    <a:lnTo>
                      <a:pt x="7442" y="482"/>
                    </a:lnTo>
                    <a:lnTo>
                      <a:pt x="7442" y="947"/>
                    </a:lnTo>
                    <a:lnTo>
                      <a:pt x="7349" y="947"/>
                    </a:lnTo>
                    <a:close/>
                    <a:moveTo>
                      <a:pt x="6682" y="652"/>
                    </a:moveTo>
                    <a:lnTo>
                      <a:pt x="6666" y="652"/>
                    </a:lnTo>
                    <a:lnTo>
                      <a:pt x="6650" y="654"/>
                    </a:lnTo>
                    <a:lnTo>
                      <a:pt x="6632" y="656"/>
                    </a:lnTo>
                    <a:lnTo>
                      <a:pt x="6614" y="659"/>
                    </a:lnTo>
                    <a:lnTo>
                      <a:pt x="6596" y="663"/>
                    </a:lnTo>
                    <a:lnTo>
                      <a:pt x="6578" y="669"/>
                    </a:lnTo>
                    <a:lnTo>
                      <a:pt x="6561" y="674"/>
                    </a:lnTo>
                    <a:lnTo>
                      <a:pt x="6544" y="682"/>
                    </a:lnTo>
                    <a:lnTo>
                      <a:pt x="6529" y="690"/>
                    </a:lnTo>
                    <a:lnTo>
                      <a:pt x="6515" y="700"/>
                    </a:lnTo>
                    <a:lnTo>
                      <a:pt x="6507" y="706"/>
                    </a:lnTo>
                    <a:lnTo>
                      <a:pt x="6502" y="712"/>
                    </a:lnTo>
                    <a:lnTo>
                      <a:pt x="6496" y="718"/>
                    </a:lnTo>
                    <a:lnTo>
                      <a:pt x="6491" y="724"/>
                    </a:lnTo>
                    <a:lnTo>
                      <a:pt x="6486" y="732"/>
                    </a:lnTo>
                    <a:lnTo>
                      <a:pt x="6481" y="738"/>
                    </a:lnTo>
                    <a:lnTo>
                      <a:pt x="6478" y="746"/>
                    </a:lnTo>
                    <a:lnTo>
                      <a:pt x="6475" y="755"/>
                    </a:lnTo>
                    <a:lnTo>
                      <a:pt x="6473" y="763"/>
                    </a:lnTo>
                    <a:lnTo>
                      <a:pt x="6471" y="772"/>
                    </a:lnTo>
                    <a:lnTo>
                      <a:pt x="6469" y="781"/>
                    </a:lnTo>
                    <a:lnTo>
                      <a:pt x="6469" y="790"/>
                    </a:lnTo>
                    <a:lnTo>
                      <a:pt x="6469" y="800"/>
                    </a:lnTo>
                    <a:lnTo>
                      <a:pt x="6471" y="810"/>
                    </a:lnTo>
                    <a:lnTo>
                      <a:pt x="6473" y="819"/>
                    </a:lnTo>
                    <a:lnTo>
                      <a:pt x="6476" y="828"/>
                    </a:lnTo>
                    <a:lnTo>
                      <a:pt x="6479" y="836"/>
                    </a:lnTo>
                    <a:lnTo>
                      <a:pt x="6484" y="844"/>
                    </a:lnTo>
                    <a:lnTo>
                      <a:pt x="6489" y="851"/>
                    </a:lnTo>
                    <a:lnTo>
                      <a:pt x="6494" y="858"/>
                    </a:lnTo>
                    <a:lnTo>
                      <a:pt x="6501" y="864"/>
                    </a:lnTo>
                    <a:lnTo>
                      <a:pt x="6507" y="869"/>
                    </a:lnTo>
                    <a:lnTo>
                      <a:pt x="6515" y="874"/>
                    </a:lnTo>
                    <a:lnTo>
                      <a:pt x="6524" y="877"/>
                    </a:lnTo>
                    <a:lnTo>
                      <a:pt x="6531" y="880"/>
                    </a:lnTo>
                    <a:lnTo>
                      <a:pt x="6541" y="883"/>
                    </a:lnTo>
                    <a:lnTo>
                      <a:pt x="6551" y="884"/>
                    </a:lnTo>
                    <a:lnTo>
                      <a:pt x="6561" y="885"/>
                    </a:lnTo>
                    <a:lnTo>
                      <a:pt x="6573" y="884"/>
                    </a:lnTo>
                    <a:lnTo>
                      <a:pt x="6585" y="883"/>
                    </a:lnTo>
                    <a:lnTo>
                      <a:pt x="6596" y="880"/>
                    </a:lnTo>
                    <a:lnTo>
                      <a:pt x="6608" y="877"/>
                    </a:lnTo>
                    <a:lnTo>
                      <a:pt x="6619" y="873"/>
                    </a:lnTo>
                    <a:lnTo>
                      <a:pt x="6630" y="867"/>
                    </a:lnTo>
                    <a:lnTo>
                      <a:pt x="6641" y="862"/>
                    </a:lnTo>
                    <a:lnTo>
                      <a:pt x="6651" y="855"/>
                    </a:lnTo>
                    <a:lnTo>
                      <a:pt x="6660" y="849"/>
                    </a:lnTo>
                    <a:lnTo>
                      <a:pt x="6669" y="841"/>
                    </a:lnTo>
                    <a:lnTo>
                      <a:pt x="6678" y="833"/>
                    </a:lnTo>
                    <a:lnTo>
                      <a:pt x="6687" y="824"/>
                    </a:lnTo>
                    <a:lnTo>
                      <a:pt x="6694" y="814"/>
                    </a:lnTo>
                    <a:lnTo>
                      <a:pt x="6701" y="804"/>
                    </a:lnTo>
                    <a:lnTo>
                      <a:pt x="6707" y="794"/>
                    </a:lnTo>
                    <a:lnTo>
                      <a:pt x="6713" y="783"/>
                    </a:lnTo>
                    <a:lnTo>
                      <a:pt x="6720" y="765"/>
                    </a:lnTo>
                    <a:lnTo>
                      <a:pt x="6726" y="749"/>
                    </a:lnTo>
                    <a:lnTo>
                      <a:pt x="6730" y="734"/>
                    </a:lnTo>
                    <a:lnTo>
                      <a:pt x="6733" y="720"/>
                    </a:lnTo>
                    <a:lnTo>
                      <a:pt x="6735" y="705"/>
                    </a:lnTo>
                    <a:lnTo>
                      <a:pt x="6736" y="688"/>
                    </a:lnTo>
                    <a:lnTo>
                      <a:pt x="6736" y="671"/>
                    </a:lnTo>
                    <a:lnTo>
                      <a:pt x="6737" y="652"/>
                    </a:lnTo>
                    <a:lnTo>
                      <a:pt x="6682" y="652"/>
                    </a:lnTo>
                    <a:close/>
                    <a:moveTo>
                      <a:pt x="6740" y="947"/>
                    </a:moveTo>
                    <a:lnTo>
                      <a:pt x="6740" y="861"/>
                    </a:lnTo>
                    <a:lnTo>
                      <a:pt x="6737" y="861"/>
                    </a:lnTo>
                    <a:lnTo>
                      <a:pt x="6730" y="874"/>
                    </a:lnTo>
                    <a:lnTo>
                      <a:pt x="6721" y="885"/>
                    </a:lnTo>
                    <a:lnTo>
                      <a:pt x="6711" y="896"/>
                    </a:lnTo>
                    <a:lnTo>
                      <a:pt x="6701" y="905"/>
                    </a:lnTo>
                    <a:lnTo>
                      <a:pt x="6690" y="915"/>
                    </a:lnTo>
                    <a:lnTo>
                      <a:pt x="6677" y="923"/>
                    </a:lnTo>
                    <a:lnTo>
                      <a:pt x="6665" y="930"/>
                    </a:lnTo>
                    <a:lnTo>
                      <a:pt x="6651" y="937"/>
                    </a:lnTo>
                    <a:lnTo>
                      <a:pt x="6638" y="943"/>
                    </a:lnTo>
                    <a:lnTo>
                      <a:pt x="6622" y="948"/>
                    </a:lnTo>
                    <a:lnTo>
                      <a:pt x="6608" y="952"/>
                    </a:lnTo>
                    <a:lnTo>
                      <a:pt x="6594" y="956"/>
                    </a:lnTo>
                    <a:lnTo>
                      <a:pt x="6580" y="959"/>
                    </a:lnTo>
                    <a:lnTo>
                      <a:pt x="6565" y="961"/>
                    </a:lnTo>
                    <a:lnTo>
                      <a:pt x="6551" y="962"/>
                    </a:lnTo>
                    <a:lnTo>
                      <a:pt x="6538" y="962"/>
                    </a:lnTo>
                    <a:lnTo>
                      <a:pt x="6517" y="962"/>
                    </a:lnTo>
                    <a:lnTo>
                      <a:pt x="6498" y="959"/>
                    </a:lnTo>
                    <a:lnTo>
                      <a:pt x="6479" y="955"/>
                    </a:lnTo>
                    <a:lnTo>
                      <a:pt x="6463" y="950"/>
                    </a:lnTo>
                    <a:lnTo>
                      <a:pt x="6447" y="942"/>
                    </a:lnTo>
                    <a:lnTo>
                      <a:pt x="6433" y="934"/>
                    </a:lnTo>
                    <a:lnTo>
                      <a:pt x="6420" y="924"/>
                    </a:lnTo>
                    <a:lnTo>
                      <a:pt x="6408" y="913"/>
                    </a:lnTo>
                    <a:lnTo>
                      <a:pt x="6398" y="900"/>
                    </a:lnTo>
                    <a:lnTo>
                      <a:pt x="6388" y="887"/>
                    </a:lnTo>
                    <a:lnTo>
                      <a:pt x="6381" y="872"/>
                    </a:lnTo>
                    <a:lnTo>
                      <a:pt x="6374" y="855"/>
                    </a:lnTo>
                    <a:lnTo>
                      <a:pt x="6369" y="838"/>
                    </a:lnTo>
                    <a:lnTo>
                      <a:pt x="6365" y="820"/>
                    </a:lnTo>
                    <a:lnTo>
                      <a:pt x="6363" y="801"/>
                    </a:lnTo>
                    <a:lnTo>
                      <a:pt x="6362" y="781"/>
                    </a:lnTo>
                    <a:lnTo>
                      <a:pt x="6363" y="766"/>
                    </a:lnTo>
                    <a:lnTo>
                      <a:pt x="6364" y="753"/>
                    </a:lnTo>
                    <a:lnTo>
                      <a:pt x="6367" y="741"/>
                    </a:lnTo>
                    <a:lnTo>
                      <a:pt x="6371" y="728"/>
                    </a:lnTo>
                    <a:lnTo>
                      <a:pt x="6375" y="718"/>
                    </a:lnTo>
                    <a:lnTo>
                      <a:pt x="6381" y="707"/>
                    </a:lnTo>
                    <a:lnTo>
                      <a:pt x="6387" y="696"/>
                    </a:lnTo>
                    <a:lnTo>
                      <a:pt x="6394" y="686"/>
                    </a:lnTo>
                    <a:lnTo>
                      <a:pt x="6402" y="676"/>
                    </a:lnTo>
                    <a:lnTo>
                      <a:pt x="6410" y="668"/>
                    </a:lnTo>
                    <a:lnTo>
                      <a:pt x="6420" y="659"/>
                    </a:lnTo>
                    <a:lnTo>
                      <a:pt x="6429" y="651"/>
                    </a:lnTo>
                    <a:lnTo>
                      <a:pt x="6439" y="644"/>
                    </a:lnTo>
                    <a:lnTo>
                      <a:pt x="6450" y="636"/>
                    </a:lnTo>
                    <a:lnTo>
                      <a:pt x="6461" y="630"/>
                    </a:lnTo>
                    <a:lnTo>
                      <a:pt x="6473" y="623"/>
                    </a:lnTo>
                    <a:lnTo>
                      <a:pt x="6497" y="612"/>
                    </a:lnTo>
                    <a:lnTo>
                      <a:pt x="6522" y="602"/>
                    </a:lnTo>
                    <a:lnTo>
                      <a:pt x="6548" y="595"/>
                    </a:lnTo>
                    <a:lnTo>
                      <a:pt x="6574" y="588"/>
                    </a:lnTo>
                    <a:lnTo>
                      <a:pt x="6600" y="584"/>
                    </a:lnTo>
                    <a:lnTo>
                      <a:pt x="6625" y="581"/>
                    </a:lnTo>
                    <a:lnTo>
                      <a:pt x="6650" y="579"/>
                    </a:lnTo>
                    <a:lnTo>
                      <a:pt x="6672" y="578"/>
                    </a:lnTo>
                    <a:lnTo>
                      <a:pt x="6689" y="578"/>
                    </a:lnTo>
                    <a:lnTo>
                      <a:pt x="6705" y="578"/>
                    </a:lnTo>
                    <a:lnTo>
                      <a:pt x="6721" y="576"/>
                    </a:lnTo>
                    <a:lnTo>
                      <a:pt x="6737" y="574"/>
                    </a:lnTo>
                    <a:lnTo>
                      <a:pt x="6737" y="560"/>
                    </a:lnTo>
                    <a:lnTo>
                      <a:pt x="6737" y="523"/>
                    </a:lnTo>
                    <a:lnTo>
                      <a:pt x="6736" y="487"/>
                    </a:lnTo>
                    <a:lnTo>
                      <a:pt x="6734" y="471"/>
                    </a:lnTo>
                    <a:lnTo>
                      <a:pt x="6732" y="454"/>
                    </a:lnTo>
                    <a:lnTo>
                      <a:pt x="6729" y="439"/>
                    </a:lnTo>
                    <a:lnTo>
                      <a:pt x="6724" y="423"/>
                    </a:lnTo>
                    <a:lnTo>
                      <a:pt x="6718" y="409"/>
                    </a:lnTo>
                    <a:lnTo>
                      <a:pt x="6710" y="397"/>
                    </a:lnTo>
                    <a:lnTo>
                      <a:pt x="6705" y="392"/>
                    </a:lnTo>
                    <a:lnTo>
                      <a:pt x="6700" y="386"/>
                    </a:lnTo>
                    <a:lnTo>
                      <a:pt x="6694" y="381"/>
                    </a:lnTo>
                    <a:lnTo>
                      <a:pt x="6688" y="377"/>
                    </a:lnTo>
                    <a:lnTo>
                      <a:pt x="6681" y="373"/>
                    </a:lnTo>
                    <a:lnTo>
                      <a:pt x="6673" y="369"/>
                    </a:lnTo>
                    <a:lnTo>
                      <a:pt x="6666" y="367"/>
                    </a:lnTo>
                    <a:lnTo>
                      <a:pt x="6656" y="364"/>
                    </a:lnTo>
                    <a:lnTo>
                      <a:pt x="6647" y="363"/>
                    </a:lnTo>
                    <a:lnTo>
                      <a:pt x="6637" y="360"/>
                    </a:lnTo>
                    <a:lnTo>
                      <a:pt x="6626" y="359"/>
                    </a:lnTo>
                    <a:lnTo>
                      <a:pt x="6614" y="359"/>
                    </a:lnTo>
                    <a:lnTo>
                      <a:pt x="6600" y="359"/>
                    </a:lnTo>
                    <a:lnTo>
                      <a:pt x="6587" y="360"/>
                    </a:lnTo>
                    <a:lnTo>
                      <a:pt x="6574" y="363"/>
                    </a:lnTo>
                    <a:lnTo>
                      <a:pt x="6563" y="365"/>
                    </a:lnTo>
                    <a:lnTo>
                      <a:pt x="6551" y="368"/>
                    </a:lnTo>
                    <a:lnTo>
                      <a:pt x="6541" y="371"/>
                    </a:lnTo>
                    <a:lnTo>
                      <a:pt x="6531" y="377"/>
                    </a:lnTo>
                    <a:lnTo>
                      <a:pt x="6523" y="382"/>
                    </a:lnTo>
                    <a:lnTo>
                      <a:pt x="6515" y="389"/>
                    </a:lnTo>
                    <a:lnTo>
                      <a:pt x="6507" y="396"/>
                    </a:lnTo>
                    <a:lnTo>
                      <a:pt x="6501" y="405"/>
                    </a:lnTo>
                    <a:lnTo>
                      <a:pt x="6496" y="414"/>
                    </a:lnTo>
                    <a:lnTo>
                      <a:pt x="6490" y="424"/>
                    </a:lnTo>
                    <a:lnTo>
                      <a:pt x="6487" y="436"/>
                    </a:lnTo>
                    <a:lnTo>
                      <a:pt x="6484" y="449"/>
                    </a:lnTo>
                    <a:lnTo>
                      <a:pt x="6481" y="464"/>
                    </a:lnTo>
                    <a:lnTo>
                      <a:pt x="6377" y="464"/>
                    </a:lnTo>
                    <a:lnTo>
                      <a:pt x="6378" y="452"/>
                    </a:lnTo>
                    <a:lnTo>
                      <a:pt x="6379" y="440"/>
                    </a:lnTo>
                    <a:lnTo>
                      <a:pt x="6382" y="429"/>
                    </a:lnTo>
                    <a:lnTo>
                      <a:pt x="6384" y="418"/>
                    </a:lnTo>
                    <a:lnTo>
                      <a:pt x="6387" y="407"/>
                    </a:lnTo>
                    <a:lnTo>
                      <a:pt x="6390" y="397"/>
                    </a:lnTo>
                    <a:lnTo>
                      <a:pt x="6395" y="389"/>
                    </a:lnTo>
                    <a:lnTo>
                      <a:pt x="6399" y="379"/>
                    </a:lnTo>
                    <a:lnTo>
                      <a:pt x="6404" y="371"/>
                    </a:lnTo>
                    <a:lnTo>
                      <a:pt x="6410" y="363"/>
                    </a:lnTo>
                    <a:lnTo>
                      <a:pt x="6415" y="355"/>
                    </a:lnTo>
                    <a:lnTo>
                      <a:pt x="6422" y="348"/>
                    </a:lnTo>
                    <a:lnTo>
                      <a:pt x="6436" y="334"/>
                    </a:lnTo>
                    <a:lnTo>
                      <a:pt x="6452" y="323"/>
                    </a:lnTo>
                    <a:lnTo>
                      <a:pt x="6468" y="313"/>
                    </a:lnTo>
                    <a:lnTo>
                      <a:pt x="6487" y="304"/>
                    </a:lnTo>
                    <a:lnTo>
                      <a:pt x="6506" y="297"/>
                    </a:lnTo>
                    <a:lnTo>
                      <a:pt x="6526" y="291"/>
                    </a:lnTo>
                    <a:lnTo>
                      <a:pt x="6547" y="287"/>
                    </a:lnTo>
                    <a:lnTo>
                      <a:pt x="6568" y="283"/>
                    </a:lnTo>
                    <a:lnTo>
                      <a:pt x="6590" y="282"/>
                    </a:lnTo>
                    <a:lnTo>
                      <a:pt x="6612" y="281"/>
                    </a:lnTo>
                    <a:lnTo>
                      <a:pt x="6638" y="282"/>
                    </a:lnTo>
                    <a:lnTo>
                      <a:pt x="6663" y="284"/>
                    </a:lnTo>
                    <a:lnTo>
                      <a:pt x="6687" y="288"/>
                    </a:lnTo>
                    <a:lnTo>
                      <a:pt x="6707" y="293"/>
                    </a:lnTo>
                    <a:lnTo>
                      <a:pt x="6728" y="301"/>
                    </a:lnTo>
                    <a:lnTo>
                      <a:pt x="6745" y="309"/>
                    </a:lnTo>
                    <a:lnTo>
                      <a:pt x="6754" y="314"/>
                    </a:lnTo>
                    <a:lnTo>
                      <a:pt x="6761" y="319"/>
                    </a:lnTo>
                    <a:lnTo>
                      <a:pt x="6769" y="326"/>
                    </a:lnTo>
                    <a:lnTo>
                      <a:pt x="6775" y="331"/>
                    </a:lnTo>
                    <a:lnTo>
                      <a:pt x="6782" y="339"/>
                    </a:lnTo>
                    <a:lnTo>
                      <a:pt x="6788" y="345"/>
                    </a:lnTo>
                    <a:lnTo>
                      <a:pt x="6794" y="353"/>
                    </a:lnTo>
                    <a:lnTo>
                      <a:pt x="6799" y="360"/>
                    </a:lnTo>
                    <a:lnTo>
                      <a:pt x="6805" y="369"/>
                    </a:lnTo>
                    <a:lnTo>
                      <a:pt x="6809" y="378"/>
                    </a:lnTo>
                    <a:lnTo>
                      <a:pt x="6812" y="386"/>
                    </a:lnTo>
                    <a:lnTo>
                      <a:pt x="6817" y="396"/>
                    </a:lnTo>
                    <a:lnTo>
                      <a:pt x="6822" y="417"/>
                    </a:lnTo>
                    <a:lnTo>
                      <a:pt x="6826" y="440"/>
                    </a:lnTo>
                    <a:lnTo>
                      <a:pt x="6829" y="465"/>
                    </a:lnTo>
                    <a:lnTo>
                      <a:pt x="6830" y="491"/>
                    </a:lnTo>
                    <a:lnTo>
                      <a:pt x="6830" y="947"/>
                    </a:lnTo>
                    <a:lnTo>
                      <a:pt x="6740" y="947"/>
                    </a:lnTo>
                    <a:close/>
                    <a:moveTo>
                      <a:pt x="6160" y="947"/>
                    </a:moveTo>
                    <a:lnTo>
                      <a:pt x="6160" y="586"/>
                    </a:lnTo>
                    <a:lnTo>
                      <a:pt x="6160" y="556"/>
                    </a:lnTo>
                    <a:lnTo>
                      <a:pt x="6160" y="522"/>
                    </a:lnTo>
                    <a:lnTo>
                      <a:pt x="6159" y="505"/>
                    </a:lnTo>
                    <a:lnTo>
                      <a:pt x="6158" y="486"/>
                    </a:lnTo>
                    <a:lnTo>
                      <a:pt x="6156" y="469"/>
                    </a:lnTo>
                    <a:lnTo>
                      <a:pt x="6153" y="453"/>
                    </a:lnTo>
                    <a:lnTo>
                      <a:pt x="6147" y="436"/>
                    </a:lnTo>
                    <a:lnTo>
                      <a:pt x="6142" y="422"/>
                    </a:lnTo>
                    <a:lnTo>
                      <a:pt x="6137" y="415"/>
                    </a:lnTo>
                    <a:lnTo>
                      <a:pt x="6134" y="408"/>
                    </a:lnTo>
                    <a:lnTo>
                      <a:pt x="6129" y="403"/>
                    </a:lnTo>
                    <a:lnTo>
                      <a:pt x="6124" y="397"/>
                    </a:lnTo>
                    <a:lnTo>
                      <a:pt x="6119" y="392"/>
                    </a:lnTo>
                    <a:lnTo>
                      <a:pt x="6113" y="388"/>
                    </a:lnTo>
                    <a:lnTo>
                      <a:pt x="6106" y="383"/>
                    </a:lnTo>
                    <a:lnTo>
                      <a:pt x="6099" y="380"/>
                    </a:lnTo>
                    <a:lnTo>
                      <a:pt x="6091" y="378"/>
                    </a:lnTo>
                    <a:lnTo>
                      <a:pt x="6083" y="376"/>
                    </a:lnTo>
                    <a:lnTo>
                      <a:pt x="6073" y="374"/>
                    </a:lnTo>
                    <a:lnTo>
                      <a:pt x="6065" y="374"/>
                    </a:lnTo>
                    <a:lnTo>
                      <a:pt x="6053" y="374"/>
                    </a:lnTo>
                    <a:lnTo>
                      <a:pt x="6043" y="377"/>
                    </a:lnTo>
                    <a:lnTo>
                      <a:pt x="6032" y="380"/>
                    </a:lnTo>
                    <a:lnTo>
                      <a:pt x="6022" y="383"/>
                    </a:lnTo>
                    <a:lnTo>
                      <a:pt x="6014" y="389"/>
                    </a:lnTo>
                    <a:lnTo>
                      <a:pt x="6005" y="395"/>
                    </a:lnTo>
                    <a:lnTo>
                      <a:pt x="5996" y="402"/>
                    </a:lnTo>
                    <a:lnTo>
                      <a:pt x="5988" y="409"/>
                    </a:lnTo>
                    <a:lnTo>
                      <a:pt x="5980" y="418"/>
                    </a:lnTo>
                    <a:lnTo>
                      <a:pt x="5974" y="427"/>
                    </a:lnTo>
                    <a:lnTo>
                      <a:pt x="5966" y="436"/>
                    </a:lnTo>
                    <a:lnTo>
                      <a:pt x="5960" y="447"/>
                    </a:lnTo>
                    <a:lnTo>
                      <a:pt x="5949" y="469"/>
                    </a:lnTo>
                    <a:lnTo>
                      <a:pt x="5938" y="493"/>
                    </a:lnTo>
                    <a:lnTo>
                      <a:pt x="5929" y="518"/>
                    </a:lnTo>
                    <a:lnTo>
                      <a:pt x="5922" y="543"/>
                    </a:lnTo>
                    <a:lnTo>
                      <a:pt x="5915" y="569"/>
                    </a:lnTo>
                    <a:lnTo>
                      <a:pt x="5911" y="594"/>
                    </a:lnTo>
                    <a:lnTo>
                      <a:pt x="5906" y="618"/>
                    </a:lnTo>
                    <a:lnTo>
                      <a:pt x="5904" y="640"/>
                    </a:lnTo>
                    <a:lnTo>
                      <a:pt x="5902" y="661"/>
                    </a:lnTo>
                    <a:lnTo>
                      <a:pt x="5902" y="680"/>
                    </a:lnTo>
                    <a:lnTo>
                      <a:pt x="5902" y="947"/>
                    </a:lnTo>
                    <a:lnTo>
                      <a:pt x="5809" y="947"/>
                    </a:lnTo>
                    <a:lnTo>
                      <a:pt x="5809" y="586"/>
                    </a:lnTo>
                    <a:lnTo>
                      <a:pt x="5809" y="556"/>
                    </a:lnTo>
                    <a:lnTo>
                      <a:pt x="5809" y="522"/>
                    </a:lnTo>
                    <a:lnTo>
                      <a:pt x="5808" y="505"/>
                    </a:lnTo>
                    <a:lnTo>
                      <a:pt x="5807" y="486"/>
                    </a:lnTo>
                    <a:lnTo>
                      <a:pt x="5804" y="469"/>
                    </a:lnTo>
                    <a:lnTo>
                      <a:pt x="5801" y="453"/>
                    </a:lnTo>
                    <a:lnTo>
                      <a:pt x="5797" y="436"/>
                    </a:lnTo>
                    <a:lnTo>
                      <a:pt x="5790" y="422"/>
                    </a:lnTo>
                    <a:lnTo>
                      <a:pt x="5787" y="415"/>
                    </a:lnTo>
                    <a:lnTo>
                      <a:pt x="5783" y="408"/>
                    </a:lnTo>
                    <a:lnTo>
                      <a:pt x="5778" y="403"/>
                    </a:lnTo>
                    <a:lnTo>
                      <a:pt x="5773" y="397"/>
                    </a:lnTo>
                    <a:lnTo>
                      <a:pt x="5767" y="392"/>
                    </a:lnTo>
                    <a:lnTo>
                      <a:pt x="5762" y="388"/>
                    </a:lnTo>
                    <a:lnTo>
                      <a:pt x="5756" y="383"/>
                    </a:lnTo>
                    <a:lnTo>
                      <a:pt x="5748" y="380"/>
                    </a:lnTo>
                    <a:lnTo>
                      <a:pt x="5740" y="378"/>
                    </a:lnTo>
                    <a:lnTo>
                      <a:pt x="5732" y="376"/>
                    </a:lnTo>
                    <a:lnTo>
                      <a:pt x="5723" y="374"/>
                    </a:lnTo>
                    <a:lnTo>
                      <a:pt x="5713" y="374"/>
                    </a:lnTo>
                    <a:lnTo>
                      <a:pt x="5702" y="374"/>
                    </a:lnTo>
                    <a:lnTo>
                      <a:pt x="5691" y="377"/>
                    </a:lnTo>
                    <a:lnTo>
                      <a:pt x="5682" y="380"/>
                    </a:lnTo>
                    <a:lnTo>
                      <a:pt x="5672" y="383"/>
                    </a:lnTo>
                    <a:lnTo>
                      <a:pt x="5663" y="389"/>
                    </a:lnTo>
                    <a:lnTo>
                      <a:pt x="5654" y="395"/>
                    </a:lnTo>
                    <a:lnTo>
                      <a:pt x="5646" y="402"/>
                    </a:lnTo>
                    <a:lnTo>
                      <a:pt x="5637" y="409"/>
                    </a:lnTo>
                    <a:lnTo>
                      <a:pt x="5630" y="418"/>
                    </a:lnTo>
                    <a:lnTo>
                      <a:pt x="5623" y="427"/>
                    </a:lnTo>
                    <a:lnTo>
                      <a:pt x="5616" y="436"/>
                    </a:lnTo>
                    <a:lnTo>
                      <a:pt x="5609" y="447"/>
                    </a:lnTo>
                    <a:lnTo>
                      <a:pt x="5597" y="469"/>
                    </a:lnTo>
                    <a:lnTo>
                      <a:pt x="5587" y="493"/>
                    </a:lnTo>
                    <a:lnTo>
                      <a:pt x="5579" y="518"/>
                    </a:lnTo>
                    <a:lnTo>
                      <a:pt x="5571" y="543"/>
                    </a:lnTo>
                    <a:lnTo>
                      <a:pt x="5565" y="569"/>
                    </a:lnTo>
                    <a:lnTo>
                      <a:pt x="5559" y="594"/>
                    </a:lnTo>
                    <a:lnTo>
                      <a:pt x="5555" y="618"/>
                    </a:lnTo>
                    <a:lnTo>
                      <a:pt x="5553" y="640"/>
                    </a:lnTo>
                    <a:lnTo>
                      <a:pt x="5552" y="661"/>
                    </a:lnTo>
                    <a:lnTo>
                      <a:pt x="5550" y="680"/>
                    </a:lnTo>
                    <a:lnTo>
                      <a:pt x="5550" y="947"/>
                    </a:lnTo>
                    <a:lnTo>
                      <a:pt x="5457" y="947"/>
                    </a:lnTo>
                    <a:lnTo>
                      <a:pt x="5457" y="296"/>
                    </a:lnTo>
                    <a:lnTo>
                      <a:pt x="5550" y="296"/>
                    </a:lnTo>
                    <a:lnTo>
                      <a:pt x="5550" y="447"/>
                    </a:lnTo>
                    <a:lnTo>
                      <a:pt x="5554" y="447"/>
                    </a:lnTo>
                    <a:lnTo>
                      <a:pt x="5558" y="430"/>
                    </a:lnTo>
                    <a:lnTo>
                      <a:pt x="5565" y="412"/>
                    </a:lnTo>
                    <a:lnTo>
                      <a:pt x="5571" y="397"/>
                    </a:lnTo>
                    <a:lnTo>
                      <a:pt x="5578" y="382"/>
                    </a:lnTo>
                    <a:lnTo>
                      <a:pt x="5585" y="367"/>
                    </a:lnTo>
                    <a:lnTo>
                      <a:pt x="5594" y="354"/>
                    </a:lnTo>
                    <a:lnTo>
                      <a:pt x="5604" y="341"/>
                    </a:lnTo>
                    <a:lnTo>
                      <a:pt x="5614" y="329"/>
                    </a:lnTo>
                    <a:lnTo>
                      <a:pt x="5625" y="318"/>
                    </a:lnTo>
                    <a:lnTo>
                      <a:pt x="5637" y="309"/>
                    </a:lnTo>
                    <a:lnTo>
                      <a:pt x="5651" y="301"/>
                    </a:lnTo>
                    <a:lnTo>
                      <a:pt x="5665" y="294"/>
                    </a:lnTo>
                    <a:lnTo>
                      <a:pt x="5681" y="289"/>
                    </a:lnTo>
                    <a:lnTo>
                      <a:pt x="5698" y="284"/>
                    </a:lnTo>
                    <a:lnTo>
                      <a:pt x="5715" y="282"/>
                    </a:lnTo>
                    <a:lnTo>
                      <a:pt x="5735" y="281"/>
                    </a:lnTo>
                    <a:lnTo>
                      <a:pt x="5752" y="282"/>
                    </a:lnTo>
                    <a:lnTo>
                      <a:pt x="5770" y="283"/>
                    </a:lnTo>
                    <a:lnTo>
                      <a:pt x="5786" y="287"/>
                    </a:lnTo>
                    <a:lnTo>
                      <a:pt x="5801" y="291"/>
                    </a:lnTo>
                    <a:lnTo>
                      <a:pt x="5814" y="296"/>
                    </a:lnTo>
                    <a:lnTo>
                      <a:pt x="5828" y="303"/>
                    </a:lnTo>
                    <a:lnTo>
                      <a:pt x="5840" y="310"/>
                    </a:lnTo>
                    <a:lnTo>
                      <a:pt x="5851" y="319"/>
                    </a:lnTo>
                    <a:lnTo>
                      <a:pt x="5861" y="329"/>
                    </a:lnTo>
                    <a:lnTo>
                      <a:pt x="5869" y="341"/>
                    </a:lnTo>
                    <a:lnTo>
                      <a:pt x="5877" y="353"/>
                    </a:lnTo>
                    <a:lnTo>
                      <a:pt x="5885" y="366"/>
                    </a:lnTo>
                    <a:lnTo>
                      <a:pt x="5890" y="381"/>
                    </a:lnTo>
                    <a:lnTo>
                      <a:pt x="5894" y="396"/>
                    </a:lnTo>
                    <a:lnTo>
                      <a:pt x="5898" y="412"/>
                    </a:lnTo>
                    <a:lnTo>
                      <a:pt x="5899" y="430"/>
                    </a:lnTo>
                    <a:lnTo>
                      <a:pt x="5902" y="430"/>
                    </a:lnTo>
                    <a:lnTo>
                      <a:pt x="5907" y="415"/>
                    </a:lnTo>
                    <a:lnTo>
                      <a:pt x="5914" y="399"/>
                    </a:lnTo>
                    <a:lnTo>
                      <a:pt x="5922" y="385"/>
                    </a:lnTo>
                    <a:lnTo>
                      <a:pt x="5929" y="372"/>
                    </a:lnTo>
                    <a:lnTo>
                      <a:pt x="5938" y="359"/>
                    </a:lnTo>
                    <a:lnTo>
                      <a:pt x="5948" y="346"/>
                    </a:lnTo>
                    <a:lnTo>
                      <a:pt x="5958" y="335"/>
                    </a:lnTo>
                    <a:lnTo>
                      <a:pt x="5970" y="325"/>
                    </a:lnTo>
                    <a:lnTo>
                      <a:pt x="5982" y="315"/>
                    </a:lnTo>
                    <a:lnTo>
                      <a:pt x="5995" y="306"/>
                    </a:lnTo>
                    <a:lnTo>
                      <a:pt x="6008" y="298"/>
                    </a:lnTo>
                    <a:lnTo>
                      <a:pt x="6022" y="293"/>
                    </a:lnTo>
                    <a:lnTo>
                      <a:pt x="6038" y="288"/>
                    </a:lnTo>
                    <a:lnTo>
                      <a:pt x="6053" y="284"/>
                    </a:lnTo>
                    <a:lnTo>
                      <a:pt x="6069" y="282"/>
                    </a:lnTo>
                    <a:lnTo>
                      <a:pt x="6086" y="281"/>
                    </a:lnTo>
                    <a:lnTo>
                      <a:pt x="6097" y="281"/>
                    </a:lnTo>
                    <a:lnTo>
                      <a:pt x="6107" y="282"/>
                    </a:lnTo>
                    <a:lnTo>
                      <a:pt x="6117" y="283"/>
                    </a:lnTo>
                    <a:lnTo>
                      <a:pt x="6127" y="285"/>
                    </a:lnTo>
                    <a:lnTo>
                      <a:pt x="6135" y="288"/>
                    </a:lnTo>
                    <a:lnTo>
                      <a:pt x="6144" y="291"/>
                    </a:lnTo>
                    <a:lnTo>
                      <a:pt x="6153" y="294"/>
                    </a:lnTo>
                    <a:lnTo>
                      <a:pt x="6160" y="298"/>
                    </a:lnTo>
                    <a:lnTo>
                      <a:pt x="6175" y="307"/>
                    </a:lnTo>
                    <a:lnTo>
                      <a:pt x="6190" y="318"/>
                    </a:lnTo>
                    <a:lnTo>
                      <a:pt x="6201" y="330"/>
                    </a:lnTo>
                    <a:lnTo>
                      <a:pt x="6212" y="343"/>
                    </a:lnTo>
                    <a:lnTo>
                      <a:pt x="6222" y="358"/>
                    </a:lnTo>
                    <a:lnTo>
                      <a:pt x="6231" y="373"/>
                    </a:lnTo>
                    <a:lnTo>
                      <a:pt x="6237" y="391"/>
                    </a:lnTo>
                    <a:lnTo>
                      <a:pt x="6243" y="408"/>
                    </a:lnTo>
                    <a:lnTo>
                      <a:pt x="6247" y="426"/>
                    </a:lnTo>
                    <a:lnTo>
                      <a:pt x="6250" y="444"/>
                    </a:lnTo>
                    <a:lnTo>
                      <a:pt x="6252" y="464"/>
                    </a:lnTo>
                    <a:lnTo>
                      <a:pt x="6252" y="482"/>
                    </a:lnTo>
                    <a:lnTo>
                      <a:pt x="6252" y="947"/>
                    </a:lnTo>
                    <a:lnTo>
                      <a:pt x="6160" y="947"/>
                    </a:lnTo>
                    <a:close/>
                    <a:moveTo>
                      <a:pt x="5158" y="677"/>
                    </a:moveTo>
                    <a:lnTo>
                      <a:pt x="5158" y="947"/>
                    </a:lnTo>
                    <a:lnTo>
                      <a:pt x="5065" y="947"/>
                    </a:lnTo>
                    <a:lnTo>
                      <a:pt x="5065" y="296"/>
                    </a:lnTo>
                    <a:lnTo>
                      <a:pt x="5158" y="296"/>
                    </a:lnTo>
                    <a:lnTo>
                      <a:pt x="5158" y="422"/>
                    </a:lnTo>
                    <a:lnTo>
                      <a:pt x="5161" y="422"/>
                    </a:lnTo>
                    <a:lnTo>
                      <a:pt x="5168" y="405"/>
                    </a:lnTo>
                    <a:lnTo>
                      <a:pt x="5178" y="389"/>
                    </a:lnTo>
                    <a:lnTo>
                      <a:pt x="5187" y="374"/>
                    </a:lnTo>
                    <a:lnTo>
                      <a:pt x="5198" y="360"/>
                    </a:lnTo>
                    <a:lnTo>
                      <a:pt x="5209" y="347"/>
                    </a:lnTo>
                    <a:lnTo>
                      <a:pt x="5221" y="336"/>
                    </a:lnTo>
                    <a:lnTo>
                      <a:pt x="5233" y="326"/>
                    </a:lnTo>
                    <a:lnTo>
                      <a:pt x="5246" y="316"/>
                    </a:lnTo>
                    <a:lnTo>
                      <a:pt x="5260" y="308"/>
                    </a:lnTo>
                    <a:lnTo>
                      <a:pt x="5275" y="301"/>
                    </a:lnTo>
                    <a:lnTo>
                      <a:pt x="5290" y="295"/>
                    </a:lnTo>
                    <a:lnTo>
                      <a:pt x="5306" y="290"/>
                    </a:lnTo>
                    <a:lnTo>
                      <a:pt x="5323" y="287"/>
                    </a:lnTo>
                    <a:lnTo>
                      <a:pt x="5341" y="283"/>
                    </a:lnTo>
                    <a:lnTo>
                      <a:pt x="5359" y="282"/>
                    </a:lnTo>
                    <a:lnTo>
                      <a:pt x="5378" y="281"/>
                    </a:lnTo>
                    <a:lnTo>
                      <a:pt x="5378" y="381"/>
                    </a:lnTo>
                    <a:lnTo>
                      <a:pt x="5363" y="382"/>
                    </a:lnTo>
                    <a:lnTo>
                      <a:pt x="5348" y="383"/>
                    </a:lnTo>
                    <a:lnTo>
                      <a:pt x="5333" y="385"/>
                    </a:lnTo>
                    <a:lnTo>
                      <a:pt x="5320" y="389"/>
                    </a:lnTo>
                    <a:lnTo>
                      <a:pt x="5307" y="392"/>
                    </a:lnTo>
                    <a:lnTo>
                      <a:pt x="5295" y="396"/>
                    </a:lnTo>
                    <a:lnTo>
                      <a:pt x="5284" y="402"/>
                    </a:lnTo>
                    <a:lnTo>
                      <a:pt x="5273" y="407"/>
                    </a:lnTo>
                    <a:lnTo>
                      <a:pt x="5263" y="415"/>
                    </a:lnTo>
                    <a:lnTo>
                      <a:pt x="5253" y="421"/>
                    </a:lnTo>
                    <a:lnTo>
                      <a:pt x="5243" y="429"/>
                    </a:lnTo>
                    <a:lnTo>
                      <a:pt x="5235" y="437"/>
                    </a:lnTo>
                    <a:lnTo>
                      <a:pt x="5226" y="446"/>
                    </a:lnTo>
                    <a:lnTo>
                      <a:pt x="5218" y="456"/>
                    </a:lnTo>
                    <a:lnTo>
                      <a:pt x="5212" y="466"/>
                    </a:lnTo>
                    <a:lnTo>
                      <a:pt x="5205" y="477"/>
                    </a:lnTo>
                    <a:lnTo>
                      <a:pt x="5199" y="487"/>
                    </a:lnTo>
                    <a:lnTo>
                      <a:pt x="5193" y="498"/>
                    </a:lnTo>
                    <a:lnTo>
                      <a:pt x="5188" y="510"/>
                    </a:lnTo>
                    <a:lnTo>
                      <a:pt x="5184" y="521"/>
                    </a:lnTo>
                    <a:lnTo>
                      <a:pt x="5175" y="546"/>
                    </a:lnTo>
                    <a:lnTo>
                      <a:pt x="5168" y="571"/>
                    </a:lnTo>
                    <a:lnTo>
                      <a:pt x="5164" y="598"/>
                    </a:lnTo>
                    <a:lnTo>
                      <a:pt x="5161" y="624"/>
                    </a:lnTo>
                    <a:lnTo>
                      <a:pt x="5159" y="651"/>
                    </a:lnTo>
                    <a:lnTo>
                      <a:pt x="5158" y="677"/>
                    </a:lnTo>
                    <a:close/>
                    <a:moveTo>
                      <a:pt x="4683" y="359"/>
                    </a:moveTo>
                    <a:lnTo>
                      <a:pt x="4672" y="359"/>
                    </a:lnTo>
                    <a:lnTo>
                      <a:pt x="4660" y="361"/>
                    </a:lnTo>
                    <a:lnTo>
                      <a:pt x="4649" y="364"/>
                    </a:lnTo>
                    <a:lnTo>
                      <a:pt x="4638" y="367"/>
                    </a:lnTo>
                    <a:lnTo>
                      <a:pt x="4628" y="370"/>
                    </a:lnTo>
                    <a:lnTo>
                      <a:pt x="4619" y="374"/>
                    </a:lnTo>
                    <a:lnTo>
                      <a:pt x="4610" y="380"/>
                    </a:lnTo>
                    <a:lnTo>
                      <a:pt x="4602" y="385"/>
                    </a:lnTo>
                    <a:lnTo>
                      <a:pt x="4594" y="392"/>
                    </a:lnTo>
                    <a:lnTo>
                      <a:pt x="4587" y="399"/>
                    </a:lnTo>
                    <a:lnTo>
                      <a:pt x="4580" y="407"/>
                    </a:lnTo>
                    <a:lnTo>
                      <a:pt x="4574" y="415"/>
                    </a:lnTo>
                    <a:lnTo>
                      <a:pt x="4568" y="423"/>
                    </a:lnTo>
                    <a:lnTo>
                      <a:pt x="4563" y="432"/>
                    </a:lnTo>
                    <a:lnTo>
                      <a:pt x="4559" y="442"/>
                    </a:lnTo>
                    <a:lnTo>
                      <a:pt x="4554" y="452"/>
                    </a:lnTo>
                    <a:lnTo>
                      <a:pt x="4546" y="472"/>
                    </a:lnTo>
                    <a:lnTo>
                      <a:pt x="4540" y="493"/>
                    </a:lnTo>
                    <a:lnTo>
                      <a:pt x="4535" y="515"/>
                    </a:lnTo>
                    <a:lnTo>
                      <a:pt x="4532" y="537"/>
                    </a:lnTo>
                    <a:lnTo>
                      <a:pt x="4528" y="559"/>
                    </a:lnTo>
                    <a:lnTo>
                      <a:pt x="4526" y="581"/>
                    </a:lnTo>
                    <a:lnTo>
                      <a:pt x="4525" y="601"/>
                    </a:lnTo>
                    <a:lnTo>
                      <a:pt x="4525" y="622"/>
                    </a:lnTo>
                    <a:lnTo>
                      <a:pt x="4525" y="642"/>
                    </a:lnTo>
                    <a:lnTo>
                      <a:pt x="4526" y="663"/>
                    </a:lnTo>
                    <a:lnTo>
                      <a:pt x="4528" y="685"/>
                    </a:lnTo>
                    <a:lnTo>
                      <a:pt x="4532" y="707"/>
                    </a:lnTo>
                    <a:lnTo>
                      <a:pt x="4535" y="728"/>
                    </a:lnTo>
                    <a:lnTo>
                      <a:pt x="4540" y="750"/>
                    </a:lnTo>
                    <a:lnTo>
                      <a:pt x="4546" y="772"/>
                    </a:lnTo>
                    <a:lnTo>
                      <a:pt x="4554" y="793"/>
                    </a:lnTo>
                    <a:lnTo>
                      <a:pt x="4559" y="802"/>
                    </a:lnTo>
                    <a:lnTo>
                      <a:pt x="4563" y="811"/>
                    </a:lnTo>
                    <a:lnTo>
                      <a:pt x="4568" y="820"/>
                    </a:lnTo>
                    <a:lnTo>
                      <a:pt x="4574" y="828"/>
                    </a:lnTo>
                    <a:lnTo>
                      <a:pt x="4580" y="837"/>
                    </a:lnTo>
                    <a:lnTo>
                      <a:pt x="4587" y="845"/>
                    </a:lnTo>
                    <a:lnTo>
                      <a:pt x="4594" y="851"/>
                    </a:lnTo>
                    <a:lnTo>
                      <a:pt x="4602" y="858"/>
                    </a:lnTo>
                    <a:lnTo>
                      <a:pt x="4610" y="864"/>
                    </a:lnTo>
                    <a:lnTo>
                      <a:pt x="4619" y="869"/>
                    </a:lnTo>
                    <a:lnTo>
                      <a:pt x="4628" y="874"/>
                    </a:lnTo>
                    <a:lnTo>
                      <a:pt x="4638" y="877"/>
                    </a:lnTo>
                    <a:lnTo>
                      <a:pt x="4649" y="880"/>
                    </a:lnTo>
                    <a:lnTo>
                      <a:pt x="4660" y="883"/>
                    </a:lnTo>
                    <a:lnTo>
                      <a:pt x="4672" y="884"/>
                    </a:lnTo>
                    <a:lnTo>
                      <a:pt x="4683" y="885"/>
                    </a:lnTo>
                    <a:lnTo>
                      <a:pt x="4696" y="884"/>
                    </a:lnTo>
                    <a:lnTo>
                      <a:pt x="4708" y="883"/>
                    </a:lnTo>
                    <a:lnTo>
                      <a:pt x="4719" y="880"/>
                    </a:lnTo>
                    <a:lnTo>
                      <a:pt x="4730" y="877"/>
                    </a:lnTo>
                    <a:lnTo>
                      <a:pt x="4740" y="874"/>
                    </a:lnTo>
                    <a:lnTo>
                      <a:pt x="4750" y="870"/>
                    </a:lnTo>
                    <a:lnTo>
                      <a:pt x="4758" y="864"/>
                    </a:lnTo>
                    <a:lnTo>
                      <a:pt x="4767" y="858"/>
                    </a:lnTo>
                    <a:lnTo>
                      <a:pt x="4775" y="852"/>
                    </a:lnTo>
                    <a:lnTo>
                      <a:pt x="4782" y="845"/>
                    </a:lnTo>
                    <a:lnTo>
                      <a:pt x="4789" y="837"/>
                    </a:lnTo>
                    <a:lnTo>
                      <a:pt x="4795" y="829"/>
                    </a:lnTo>
                    <a:lnTo>
                      <a:pt x="4801" y="821"/>
                    </a:lnTo>
                    <a:lnTo>
                      <a:pt x="4806" y="812"/>
                    </a:lnTo>
                    <a:lnTo>
                      <a:pt x="4812" y="802"/>
                    </a:lnTo>
                    <a:lnTo>
                      <a:pt x="4816" y="793"/>
                    </a:lnTo>
                    <a:lnTo>
                      <a:pt x="4823" y="772"/>
                    </a:lnTo>
                    <a:lnTo>
                      <a:pt x="4830" y="751"/>
                    </a:lnTo>
                    <a:lnTo>
                      <a:pt x="4835" y="730"/>
                    </a:lnTo>
                    <a:lnTo>
                      <a:pt x="4839" y="707"/>
                    </a:lnTo>
                    <a:lnTo>
                      <a:pt x="4842" y="685"/>
                    </a:lnTo>
                    <a:lnTo>
                      <a:pt x="4844" y="663"/>
                    </a:lnTo>
                    <a:lnTo>
                      <a:pt x="4845" y="642"/>
                    </a:lnTo>
                    <a:lnTo>
                      <a:pt x="4845" y="622"/>
                    </a:lnTo>
                    <a:lnTo>
                      <a:pt x="4845" y="601"/>
                    </a:lnTo>
                    <a:lnTo>
                      <a:pt x="4844" y="581"/>
                    </a:lnTo>
                    <a:lnTo>
                      <a:pt x="4842" y="558"/>
                    </a:lnTo>
                    <a:lnTo>
                      <a:pt x="4839" y="536"/>
                    </a:lnTo>
                    <a:lnTo>
                      <a:pt x="4835" y="515"/>
                    </a:lnTo>
                    <a:lnTo>
                      <a:pt x="4830" y="493"/>
                    </a:lnTo>
                    <a:lnTo>
                      <a:pt x="4823" y="471"/>
                    </a:lnTo>
                    <a:lnTo>
                      <a:pt x="4815" y="452"/>
                    </a:lnTo>
                    <a:lnTo>
                      <a:pt x="4810" y="442"/>
                    </a:lnTo>
                    <a:lnTo>
                      <a:pt x="4805" y="432"/>
                    </a:lnTo>
                    <a:lnTo>
                      <a:pt x="4800" y="423"/>
                    </a:lnTo>
                    <a:lnTo>
                      <a:pt x="4794" y="415"/>
                    </a:lnTo>
                    <a:lnTo>
                      <a:pt x="4788" y="407"/>
                    </a:lnTo>
                    <a:lnTo>
                      <a:pt x="4781" y="399"/>
                    </a:lnTo>
                    <a:lnTo>
                      <a:pt x="4774" y="392"/>
                    </a:lnTo>
                    <a:lnTo>
                      <a:pt x="4766" y="385"/>
                    </a:lnTo>
                    <a:lnTo>
                      <a:pt x="4757" y="380"/>
                    </a:lnTo>
                    <a:lnTo>
                      <a:pt x="4749" y="374"/>
                    </a:lnTo>
                    <a:lnTo>
                      <a:pt x="4740" y="370"/>
                    </a:lnTo>
                    <a:lnTo>
                      <a:pt x="4729" y="366"/>
                    </a:lnTo>
                    <a:lnTo>
                      <a:pt x="4719" y="364"/>
                    </a:lnTo>
                    <a:lnTo>
                      <a:pt x="4707" y="361"/>
                    </a:lnTo>
                    <a:lnTo>
                      <a:pt x="4696" y="359"/>
                    </a:lnTo>
                    <a:lnTo>
                      <a:pt x="4683" y="359"/>
                    </a:lnTo>
                    <a:close/>
                    <a:moveTo>
                      <a:pt x="4683" y="962"/>
                    </a:moveTo>
                    <a:lnTo>
                      <a:pt x="4665" y="962"/>
                    </a:lnTo>
                    <a:lnTo>
                      <a:pt x="4648" y="961"/>
                    </a:lnTo>
                    <a:lnTo>
                      <a:pt x="4630" y="958"/>
                    </a:lnTo>
                    <a:lnTo>
                      <a:pt x="4615" y="955"/>
                    </a:lnTo>
                    <a:lnTo>
                      <a:pt x="4599" y="951"/>
                    </a:lnTo>
                    <a:lnTo>
                      <a:pt x="4585" y="946"/>
                    </a:lnTo>
                    <a:lnTo>
                      <a:pt x="4571" y="940"/>
                    </a:lnTo>
                    <a:lnTo>
                      <a:pt x="4558" y="934"/>
                    </a:lnTo>
                    <a:lnTo>
                      <a:pt x="4545" y="927"/>
                    </a:lnTo>
                    <a:lnTo>
                      <a:pt x="4534" y="918"/>
                    </a:lnTo>
                    <a:lnTo>
                      <a:pt x="4522" y="910"/>
                    </a:lnTo>
                    <a:lnTo>
                      <a:pt x="4512" y="901"/>
                    </a:lnTo>
                    <a:lnTo>
                      <a:pt x="4502" y="891"/>
                    </a:lnTo>
                    <a:lnTo>
                      <a:pt x="4493" y="880"/>
                    </a:lnTo>
                    <a:lnTo>
                      <a:pt x="4484" y="870"/>
                    </a:lnTo>
                    <a:lnTo>
                      <a:pt x="4476" y="859"/>
                    </a:lnTo>
                    <a:lnTo>
                      <a:pt x="4469" y="847"/>
                    </a:lnTo>
                    <a:lnTo>
                      <a:pt x="4462" y="834"/>
                    </a:lnTo>
                    <a:lnTo>
                      <a:pt x="4456" y="821"/>
                    </a:lnTo>
                    <a:lnTo>
                      <a:pt x="4449" y="808"/>
                    </a:lnTo>
                    <a:lnTo>
                      <a:pt x="4445" y="794"/>
                    </a:lnTo>
                    <a:lnTo>
                      <a:pt x="4439" y="779"/>
                    </a:lnTo>
                    <a:lnTo>
                      <a:pt x="4435" y="764"/>
                    </a:lnTo>
                    <a:lnTo>
                      <a:pt x="4432" y="750"/>
                    </a:lnTo>
                    <a:lnTo>
                      <a:pt x="4426" y="720"/>
                    </a:lnTo>
                    <a:lnTo>
                      <a:pt x="4422" y="688"/>
                    </a:lnTo>
                    <a:lnTo>
                      <a:pt x="4420" y="656"/>
                    </a:lnTo>
                    <a:lnTo>
                      <a:pt x="4419" y="623"/>
                    </a:lnTo>
                    <a:lnTo>
                      <a:pt x="4420" y="591"/>
                    </a:lnTo>
                    <a:lnTo>
                      <a:pt x="4422" y="558"/>
                    </a:lnTo>
                    <a:lnTo>
                      <a:pt x="4426" y="526"/>
                    </a:lnTo>
                    <a:lnTo>
                      <a:pt x="4432" y="496"/>
                    </a:lnTo>
                    <a:lnTo>
                      <a:pt x="4435" y="481"/>
                    </a:lnTo>
                    <a:lnTo>
                      <a:pt x="4439" y="467"/>
                    </a:lnTo>
                    <a:lnTo>
                      <a:pt x="4445" y="452"/>
                    </a:lnTo>
                    <a:lnTo>
                      <a:pt x="4449" y="439"/>
                    </a:lnTo>
                    <a:lnTo>
                      <a:pt x="4456" y="424"/>
                    </a:lnTo>
                    <a:lnTo>
                      <a:pt x="4462" y="411"/>
                    </a:lnTo>
                    <a:lnTo>
                      <a:pt x="4469" y="398"/>
                    </a:lnTo>
                    <a:lnTo>
                      <a:pt x="4476" y="386"/>
                    </a:lnTo>
                    <a:lnTo>
                      <a:pt x="4484" y="374"/>
                    </a:lnTo>
                    <a:lnTo>
                      <a:pt x="4493" y="364"/>
                    </a:lnTo>
                    <a:lnTo>
                      <a:pt x="4502" y="353"/>
                    </a:lnTo>
                    <a:lnTo>
                      <a:pt x="4512" y="343"/>
                    </a:lnTo>
                    <a:lnTo>
                      <a:pt x="4522" y="334"/>
                    </a:lnTo>
                    <a:lnTo>
                      <a:pt x="4534" y="326"/>
                    </a:lnTo>
                    <a:lnTo>
                      <a:pt x="4545" y="317"/>
                    </a:lnTo>
                    <a:lnTo>
                      <a:pt x="4558" y="310"/>
                    </a:lnTo>
                    <a:lnTo>
                      <a:pt x="4571" y="304"/>
                    </a:lnTo>
                    <a:lnTo>
                      <a:pt x="4585" y="297"/>
                    </a:lnTo>
                    <a:lnTo>
                      <a:pt x="4599" y="293"/>
                    </a:lnTo>
                    <a:lnTo>
                      <a:pt x="4615" y="289"/>
                    </a:lnTo>
                    <a:lnTo>
                      <a:pt x="4630" y="285"/>
                    </a:lnTo>
                    <a:lnTo>
                      <a:pt x="4648" y="283"/>
                    </a:lnTo>
                    <a:lnTo>
                      <a:pt x="4665" y="282"/>
                    </a:lnTo>
                    <a:lnTo>
                      <a:pt x="4683" y="281"/>
                    </a:lnTo>
                    <a:lnTo>
                      <a:pt x="4702" y="282"/>
                    </a:lnTo>
                    <a:lnTo>
                      <a:pt x="4720" y="283"/>
                    </a:lnTo>
                    <a:lnTo>
                      <a:pt x="4737" y="285"/>
                    </a:lnTo>
                    <a:lnTo>
                      <a:pt x="4753" y="289"/>
                    </a:lnTo>
                    <a:lnTo>
                      <a:pt x="4769" y="293"/>
                    </a:lnTo>
                    <a:lnTo>
                      <a:pt x="4783" y="297"/>
                    </a:lnTo>
                    <a:lnTo>
                      <a:pt x="4797" y="304"/>
                    </a:lnTo>
                    <a:lnTo>
                      <a:pt x="4810" y="309"/>
                    </a:lnTo>
                    <a:lnTo>
                      <a:pt x="4823" y="317"/>
                    </a:lnTo>
                    <a:lnTo>
                      <a:pt x="4835" y="325"/>
                    </a:lnTo>
                    <a:lnTo>
                      <a:pt x="4846" y="333"/>
                    </a:lnTo>
                    <a:lnTo>
                      <a:pt x="4857" y="343"/>
                    </a:lnTo>
                    <a:lnTo>
                      <a:pt x="4867" y="353"/>
                    </a:lnTo>
                    <a:lnTo>
                      <a:pt x="4877" y="364"/>
                    </a:lnTo>
                    <a:lnTo>
                      <a:pt x="4885" y="374"/>
                    </a:lnTo>
                    <a:lnTo>
                      <a:pt x="4894" y="386"/>
                    </a:lnTo>
                    <a:lnTo>
                      <a:pt x="4902" y="398"/>
                    </a:lnTo>
                    <a:lnTo>
                      <a:pt x="4908" y="410"/>
                    </a:lnTo>
                    <a:lnTo>
                      <a:pt x="4915" y="424"/>
                    </a:lnTo>
                    <a:lnTo>
                      <a:pt x="4920" y="437"/>
                    </a:lnTo>
                    <a:lnTo>
                      <a:pt x="4925" y="452"/>
                    </a:lnTo>
                    <a:lnTo>
                      <a:pt x="4930" y="466"/>
                    </a:lnTo>
                    <a:lnTo>
                      <a:pt x="4934" y="481"/>
                    </a:lnTo>
                    <a:lnTo>
                      <a:pt x="4938" y="495"/>
                    </a:lnTo>
                    <a:lnTo>
                      <a:pt x="4944" y="526"/>
                    </a:lnTo>
                    <a:lnTo>
                      <a:pt x="4948" y="558"/>
                    </a:lnTo>
                    <a:lnTo>
                      <a:pt x="4950" y="591"/>
                    </a:lnTo>
                    <a:lnTo>
                      <a:pt x="4951" y="623"/>
                    </a:lnTo>
                    <a:lnTo>
                      <a:pt x="4950" y="656"/>
                    </a:lnTo>
                    <a:lnTo>
                      <a:pt x="4948" y="688"/>
                    </a:lnTo>
                    <a:lnTo>
                      <a:pt x="4944" y="720"/>
                    </a:lnTo>
                    <a:lnTo>
                      <a:pt x="4938" y="750"/>
                    </a:lnTo>
                    <a:lnTo>
                      <a:pt x="4934" y="765"/>
                    </a:lnTo>
                    <a:lnTo>
                      <a:pt x="4930" y="779"/>
                    </a:lnTo>
                    <a:lnTo>
                      <a:pt x="4925" y="794"/>
                    </a:lnTo>
                    <a:lnTo>
                      <a:pt x="4920" y="808"/>
                    </a:lnTo>
                    <a:lnTo>
                      <a:pt x="4915" y="822"/>
                    </a:lnTo>
                    <a:lnTo>
                      <a:pt x="4908" y="834"/>
                    </a:lnTo>
                    <a:lnTo>
                      <a:pt x="4902" y="847"/>
                    </a:lnTo>
                    <a:lnTo>
                      <a:pt x="4894" y="859"/>
                    </a:lnTo>
                    <a:lnTo>
                      <a:pt x="4885" y="871"/>
                    </a:lnTo>
                    <a:lnTo>
                      <a:pt x="4877" y="882"/>
                    </a:lnTo>
                    <a:lnTo>
                      <a:pt x="4867" y="891"/>
                    </a:lnTo>
                    <a:lnTo>
                      <a:pt x="4857" y="901"/>
                    </a:lnTo>
                    <a:lnTo>
                      <a:pt x="4846" y="911"/>
                    </a:lnTo>
                    <a:lnTo>
                      <a:pt x="4835" y="920"/>
                    </a:lnTo>
                    <a:lnTo>
                      <a:pt x="4823" y="927"/>
                    </a:lnTo>
                    <a:lnTo>
                      <a:pt x="4810" y="934"/>
                    </a:lnTo>
                    <a:lnTo>
                      <a:pt x="4797" y="940"/>
                    </a:lnTo>
                    <a:lnTo>
                      <a:pt x="4783" y="946"/>
                    </a:lnTo>
                    <a:lnTo>
                      <a:pt x="4769" y="951"/>
                    </a:lnTo>
                    <a:lnTo>
                      <a:pt x="4753" y="955"/>
                    </a:lnTo>
                    <a:lnTo>
                      <a:pt x="4737" y="958"/>
                    </a:lnTo>
                    <a:lnTo>
                      <a:pt x="4720" y="961"/>
                    </a:lnTo>
                    <a:lnTo>
                      <a:pt x="4702" y="962"/>
                    </a:lnTo>
                    <a:lnTo>
                      <a:pt x="4683" y="962"/>
                    </a:lnTo>
                    <a:close/>
                    <a:moveTo>
                      <a:pt x="4340" y="77"/>
                    </a:moveTo>
                    <a:lnTo>
                      <a:pt x="4325" y="78"/>
                    </a:lnTo>
                    <a:lnTo>
                      <a:pt x="4313" y="79"/>
                    </a:lnTo>
                    <a:lnTo>
                      <a:pt x="4302" y="80"/>
                    </a:lnTo>
                    <a:lnTo>
                      <a:pt x="4291" y="82"/>
                    </a:lnTo>
                    <a:lnTo>
                      <a:pt x="4281" y="85"/>
                    </a:lnTo>
                    <a:lnTo>
                      <a:pt x="4272" y="88"/>
                    </a:lnTo>
                    <a:lnTo>
                      <a:pt x="4264" y="92"/>
                    </a:lnTo>
                    <a:lnTo>
                      <a:pt x="4256" y="95"/>
                    </a:lnTo>
                    <a:lnTo>
                      <a:pt x="4248" y="101"/>
                    </a:lnTo>
                    <a:lnTo>
                      <a:pt x="4242" y="105"/>
                    </a:lnTo>
                    <a:lnTo>
                      <a:pt x="4236" y="112"/>
                    </a:lnTo>
                    <a:lnTo>
                      <a:pt x="4231" y="117"/>
                    </a:lnTo>
                    <a:lnTo>
                      <a:pt x="4227" y="124"/>
                    </a:lnTo>
                    <a:lnTo>
                      <a:pt x="4222" y="130"/>
                    </a:lnTo>
                    <a:lnTo>
                      <a:pt x="4219" y="138"/>
                    </a:lnTo>
                    <a:lnTo>
                      <a:pt x="4216" y="145"/>
                    </a:lnTo>
                    <a:lnTo>
                      <a:pt x="4210" y="161"/>
                    </a:lnTo>
                    <a:lnTo>
                      <a:pt x="4207" y="178"/>
                    </a:lnTo>
                    <a:lnTo>
                      <a:pt x="4205" y="196"/>
                    </a:lnTo>
                    <a:lnTo>
                      <a:pt x="4203" y="215"/>
                    </a:lnTo>
                    <a:lnTo>
                      <a:pt x="4203" y="255"/>
                    </a:lnTo>
                    <a:lnTo>
                      <a:pt x="4203" y="296"/>
                    </a:lnTo>
                    <a:lnTo>
                      <a:pt x="4389" y="296"/>
                    </a:lnTo>
                    <a:lnTo>
                      <a:pt x="4389" y="374"/>
                    </a:lnTo>
                    <a:lnTo>
                      <a:pt x="4203" y="374"/>
                    </a:lnTo>
                    <a:lnTo>
                      <a:pt x="4203" y="947"/>
                    </a:lnTo>
                    <a:lnTo>
                      <a:pt x="4109" y="947"/>
                    </a:lnTo>
                    <a:lnTo>
                      <a:pt x="4109" y="374"/>
                    </a:lnTo>
                    <a:lnTo>
                      <a:pt x="4001" y="374"/>
                    </a:lnTo>
                    <a:lnTo>
                      <a:pt x="4001" y="296"/>
                    </a:lnTo>
                    <a:lnTo>
                      <a:pt x="4109" y="296"/>
                    </a:lnTo>
                    <a:lnTo>
                      <a:pt x="4109" y="206"/>
                    </a:lnTo>
                    <a:lnTo>
                      <a:pt x="4111" y="181"/>
                    </a:lnTo>
                    <a:lnTo>
                      <a:pt x="4114" y="158"/>
                    </a:lnTo>
                    <a:lnTo>
                      <a:pt x="4118" y="137"/>
                    </a:lnTo>
                    <a:lnTo>
                      <a:pt x="4124" y="117"/>
                    </a:lnTo>
                    <a:lnTo>
                      <a:pt x="4128" y="107"/>
                    </a:lnTo>
                    <a:lnTo>
                      <a:pt x="4132" y="99"/>
                    </a:lnTo>
                    <a:lnTo>
                      <a:pt x="4137" y="90"/>
                    </a:lnTo>
                    <a:lnTo>
                      <a:pt x="4142" y="81"/>
                    </a:lnTo>
                    <a:lnTo>
                      <a:pt x="4147" y="74"/>
                    </a:lnTo>
                    <a:lnTo>
                      <a:pt x="4153" y="66"/>
                    </a:lnTo>
                    <a:lnTo>
                      <a:pt x="4159" y="59"/>
                    </a:lnTo>
                    <a:lnTo>
                      <a:pt x="4166" y="52"/>
                    </a:lnTo>
                    <a:lnTo>
                      <a:pt x="4172" y="45"/>
                    </a:lnTo>
                    <a:lnTo>
                      <a:pt x="4180" y="40"/>
                    </a:lnTo>
                    <a:lnTo>
                      <a:pt x="4188" y="35"/>
                    </a:lnTo>
                    <a:lnTo>
                      <a:pt x="4196" y="29"/>
                    </a:lnTo>
                    <a:lnTo>
                      <a:pt x="4214" y="21"/>
                    </a:lnTo>
                    <a:lnTo>
                      <a:pt x="4232" y="13"/>
                    </a:lnTo>
                    <a:lnTo>
                      <a:pt x="4253" y="7"/>
                    </a:lnTo>
                    <a:lnTo>
                      <a:pt x="4275" y="3"/>
                    </a:lnTo>
                    <a:lnTo>
                      <a:pt x="4298" y="1"/>
                    </a:lnTo>
                    <a:lnTo>
                      <a:pt x="4323" y="0"/>
                    </a:lnTo>
                    <a:lnTo>
                      <a:pt x="4350" y="1"/>
                    </a:lnTo>
                    <a:lnTo>
                      <a:pt x="4379" y="3"/>
                    </a:lnTo>
                    <a:lnTo>
                      <a:pt x="4406" y="6"/>
                    </a:lnTo>
                    <a:lnTo>
                      <a:pt x="4434" y="12"/>
                    </a:lnTo>
                    <a:lnTo>
                      <a:pt x="4434" y="95"/>
                    </a:lnTo>
                    <a:lnTo>
                      <a:pt x="4410" y="88"/>
                    </a:lnTo>
                    <a:lnTo>
                      <a:pt x="4387" y="82"/>
                    </a:lnTo>
                    <a:lnTo>
                      <a:pt x="4375" y="80"/>
                    </a:lnTo>
                    <a:lnTo>
                      <a:pt x="4363" y="79"/>
                    </a:lnTo>
                    <a:lnTo>
                      <a:pt x="4351" y="78"/>
                    </a:lnTo>
                    <a:lnTo>
                      <a:pt x="4340" y="77"/>
                    </a:lnTo>
                    <a:close/>
                    <a:moveTo>
                      <a:pt x="3709" y="677"/>
                    </a:moveTo>
                    <a:lnTo>
                      <a:pt x="3709" y="947"/>
                    </a:lnTo>
                    <a:lnTo>
                      <a:pt x="3617" y="947"/>
                    </a:lnTo>
                    <a:lnTo>
                      <a:pt x="3617" y="296"/>
                    </a:lnTo>
                    <a:lnTo>
                      <a:pt x="3709" y="296"/>
                    </a:lnTo>
                    <a:lnTo>
                      <a:pt x="3709" y="422"/>
                    </a:lnTo>
                    <a:lnTo>
                      <a:pt x="3712" y="422"/>
                    </a:lnTo>
                    <a:lnTo>
                      <a:pt x="3720" y="405"/>
                    </a:lnTo>
                    <a:lnTo>
                      <a:pt x="3729" y="389"/>
                    </a:lnTo>
                    <a:lnTo>
                      <a:pt x="3738" y="374"/>
                    </a:lnTo>
                    <a:lnTo>
                      <a:pt x="3748" y="360"/>
                    </a:lnTo>
                    <a:lnTo>
                      <a:pt x="3760" y="347"/>
                    </a:lnTo>
                    <a:lnTo>
                      <a:pt x="3771" y="336"/>
                    </a:lnTo>
                    <a:lnTo>
                      <a:pt x="3784" y="326"/>
                    </a:lnTo>
                    <a:lnTo>
                      <a:pt x="3797" y="316"/>
                    </a:lnTo>
                    <a:lnTo>
                      <a:pt x="3811" y="308"/>
                    </a:lnTo>
                    <a:lnTo>
                      <a:pt x="3825" y="301"/>
                    </a:lnTo>
                    <a:lnTo>
                      <a:pt x="3841" y="295"/>
                    </a:lnTo>
                    <a:lnTo>
                      <a:pt x="3858" y="290"/>
                    </a:lnTo>
                    <a:lnTo>
                      <a:pt x="3874" y="287"/>
                    </a:lnTo>
                    <a:lnTo>
                      <a:pt x="3891" y="283"/>
                    </a:lnTo>
                    <a:lnTo>
                      <a:pt x="3910" y="282"/>
                    </a:lnTo>
                    <a:lnTo>
                      <a:pt x="3929" y="281"/>
                    </a:lnTo>
                    <a:lnTo>
                      <a:pt x="3929" y="381"/>
                    </a:lnTo>
                    <a:lnTo>
                      <a:pt x="3914" y="382"/>
                    </a:lnTo>
                    <a:lnTo>
                      <a:pt x="3899" y="383"/>
                    </a:lnTo>
                    <a:lnTo>
                      <a:pt x="3885" y="385"/>
                    </a:lnTo>
                    <a:lnTo>
                      <a:pt x="3872" y="389"/>
                    </a:lnTo>
                    <a:lnTo>
                      <a:pt x="3859" y="392"/>
                    </a:lnTo>
                    <a:lnTo>
                      <a:pt x="3847" y="396"/>
                    </a:lnTo>
                    <a:lnTo>
                      <a:pt x="3835" y="402"/>
                    </a:lnTo>
                    <a:lnTo>
                      <a:pt x="3824" y="407"/>
                    </a:lnTo>
                    <a:lnTo>
                      <a:pt x="3813" y="415"/>
                    </a:lnTo>
                    <a:lnTo>
                      <a:pt x="3803" y="421"/>
                    </a:lnTo>
                    <a:lnTo>
                      <a:pt x="3795" y="429"/>
                    </a:lnTo>
                    <a:lnTo>
                      <a:pt x="3786" y="437"/>
                    </a:lnTo>
                    <a:lnTo>
                      <a:pt x="3777" y="446"/>
                    </a:lnTo>
                    <a:lnTo>
                      <a:pt x="3770" y="456"/>
                    </a:lnTo>
                    <a:lnTo>
                      <a:pt x="3763" y="466"/>
                    </a:lnTo>
                    <a:lnTo>
                      <a:pt x="3757" y="477"/>
                    </a:lnTo>
                    <a:lnTo>
                      <a:pt x="3750" y="487"/>
                    </a:lnTo>
                    <a:lnTo>
                      <a:pt x="3745" y="498"/>
                    </a:lnTo>
                    <a:lnTo>
                      <a:pt x="3739" y="510"/>
                    </a:lnTo>
                    <a:lnTo>
                      <a:pt x="3735" y="521"/>
                    </a:lnTo>
                    <a:lnTo>
                      <a:pt x="3726" y="546"/>
                    </a:lnTo>
                    <a:lnTo>
                      <a:pt x="3720" y="571"/>
                    </a:lnTo>
                    <a:lnTo>
                      <a:pt x="3716" y="598"/>
                    </a:lnTo>
                    <a:lnTo>
                      <a:pt x="3712" y="624"/>
                    </a:lnTo>
                    <a:lnTo>
                      <a:pt x="3710" y="651"/>
                    </a:lnTo>
                    <a:lnTo>
                      <a:pt x="3709" y="677"/>
                    </a:lnTo>
                    <a:close/>
                    <a:moveTo>
                      <a:pt x="3274" y="359"/>
                    </a:moveTo>
                    <a:lnTo>
                      <a:pt x="3260" y="360"/>
                    </a:lnTo>
                    <a:lnTo>
                      <a:pt x="3246" y="361"/>
                    </a:lnTo>
                    <a:lnTo>
                      <a:pt x="3234" y="365"/>
                    </a:lnTo>
                    <a:lnTo>
                      <a:pt x="3222" y="369"/>
                    </a:lnTo>
                    <a:lnTo>
                      <a:pt x="3211" y="373"/>
                    </a:lnTo>
                    <a:lnTo>
                      <a:pt x="3200" y="380"/>
                    </a:lnTo>
                    <a:lnTo>
                      <a:pt x="3190" y="386"/>
                    </a:lnTo>
                    <a:lnTo>
                      <a:pt x="3182" y="394"/>
                    </a:lnTo>
                    <a:lnTo>
                      <a:pt x="3173" y="403"/>
                    </a:lnTo>
                    <a:lnTo>
                      <a:pt x="3165" y="412"/>
                    </a:lnTo>
                    <a:lnTo>
                      <a:pt x="3159" y="422"/>
                    </a:lnTo>
                    <a:lnTo>
                      <a:pt x="3154" y="433"/>
                    </a:lnTo>
                    <a:lnTo>
                      <a:pt x="3148" y="445"/>
                    </a:lnTo>
                    <a:lnTo>
                      <a:pt x="3144" y="457"/>
                    </a:lnTo>
                    <a:lnTo>
                      <a:pt x="3139" y="469"/>
                    </a:lnTo>
                    <a:lnTo>
                      <a:pt x="3137" y="482"/>
                    </a:lnTo>
                    <a:lnTo>
                      <a:pt x="3398" y="482"/>
                    </a:lnTo>
                    <a:lnTo>
                      <a:pt x="3398" y="469"/>
                    </a:lnTo>
                    <a:lnTo>
                      <a:pt x="3396" y="457"/>
                    </a:lnTo>
                    <a:lnTo>
                      <a:pt x="3392" y="445"/>
                    </a:lnTo>
                    <a:lnTo>
                      <a:pt x="3389" y="433"/>
                    </a:lnTo>
                    <a:lnTo>
                      <a:pt x="3384" y="422"/>
                    </a:lnTo>
                    <a:lnTo>
                      <a:pt x="3377" y="412"/>
                    </a:lnTo>
                    <a:lnTo>
                      <a:pt x="3371" y="403"/>
                    </a:lnTo>
                    <a:lnTo>
                      <a:pt x="3362" y="394"/>
                    </a:lnTo>
                    <a:lnTo>
                      <a:pt x="3353" y="386"/>
                    </a:lnTo>
                    <a:lnTo>
                      <a:pt x="3345" y="380"/>
                    </a:lnTo>
                    <a:lnTo>
                      <a:pt x="3334" y="373"/>
                    </a:lnTo>
                    <a:lnTo>
                      <a:pt x="3323" y="369"/>
                    </a:lnTo>
                    <a:lnTo>
                      <a:pt x="3312" y="365"/>
                    </a:lnTo>
                    <a:lnTo>
                      <a:pt x="3299" y="361"/>
                    </a:lnTo>
                    <a:lnTo>
                      <a:pt x="3287" y="360"/>
                    </a:lnTo>
                    <a:lnTo>
                      <a:pt x="3274" y="359"/>
                    </a:lnTo>
                    <a:close/>
                    <a:moveTo>
                      <a:pt x="3130" y="560"/>
                    </a:moveTo>
                    <a:lnTo>
                      <a:pt x="3130" y="598"/>
                    </a:lnTo>
                    <a:lnTo>
                      <a:pt x="3131" y="625"/>
                    </a:lnTo>
                    <a:lnTo>
                      <a:pt x="3133" y="651"/>
                    </a:lnTo>
                    <a:lnTo>
                      <a:pt x="3137" y="677"/>
                    </a:lnTo>
                    <a:lnTo>
                      <a:pt x="3144" y="703"/>
                    </a:lnTo>
                    <a:lnTo>
                      <a:pt x="3151" y="727"/>
                    </a:lnTo>
                    <a:lnTo>
                      <a:pt x="3161" y="751"/>
                    </a:lnTo>
                    <a:lnTo>
                      <a:pt x="3167" y="763"/>
                    </a:lnTo>
                    <a:lnTo>
                      <a:pt x="3172" y="774"/>
                    </a:lnTo>
                    <a:lnTo>
                      <a:pt x="3178" y="785"/>
                    </a:lnTo>
                    <a:lnTo>
                      <a:pt x="3186" y="795"/>
                    </a:lnTo>
                    <a:lnTo>
                      <a:pt x="3193" y="804"/>
                    </a:lnTo>
                    <a:lnTo>
                      <a:pt x="3200" y="814"/>
                    </a:lnTo>
                    <a:lnTo>
                      <a:pt x="3209" y="823"/>
                    </a:lnTo>
                    <a:lnTo>
                      <a:pt x="3218" y="832"/>
                    </a:lnTo>
                    <a:lnTo>
                      <a:pt x="3227" y="839"/>
                    </a:lnTo>
                    <a:lnTo>
                      <a:pt x="3237" y="847"/>
                    </a:lnTo>
                    <a:lnTo>
                      <a:pt x="3247" y="853"/>
                    </a:lnTo>
                    <a:lnTo>
                      <a:pt x="3258" y="860"/>
                    </a:lnTo>
                    <a:lnTo>
                      <a:pt x="3269" y="865"/>
                    </a:lnTo>
                    <a:lnTo>
                      <a:pt x="3280" y="871"/>
                    </a:lnTo>
                    <a:lnTo>
                      <a:pt x="3292" y="874"/>
                    </a:lnTo>
                    <a:lnTo>
                      <a:pt x="3305" y="878"/>
                    </a:lnTo>
                    <a:lnTo>
                      <a:pt x="3318" y="880"/>
                    </a:lnTo>
                    <a:lnTo>
                      <a:pt x="3333" y="883"/>
                    </a:lnTo>
                    <a:lnTo>
                      <a:pt x="3347" y="884"/>
                    </a:lnTo>
                    <a:lnTo>
                      <a:pt x="3361" y="885"/>
                    </a:lnTo>
                    <a:lnTo>
                      <a:pt x="3378" y="884"/>
                    </a:lnTo>
                    <a:lnTo>
                      <a:pt x="3394" y="883"/>
                    </a:lnTo>
                    <a:lnTo>
                      <a:pt x="3410" y="882"/>
                    </a:lnTo>
                    <a:lnTo>
                      <a:pt x="3426" y="879"/>
                    </a:lnTo>
                    <a:lnTo>
                      <a:pt x="3457" y="874"/>
                    </a:lnTo>
                    <a:lnTo>
                      <a:pt x="3490" y="866"/>
                    </a:lnTo>
                    <a:lnTo>
                      <a:pt x="3490" y="943"/>
                    </a:lnTo>
                    <a:lnTo>
                      <a:pt x="3471" y="948"/>
                    </a:lnTo>
                    <a:lnTo>
                      <a:pt x="3453" y="952"/>
                    </a:lnTo>
                    <a:lnTo>
                      <a:pt x="3435" y="955"/>
                    </a:lnTo>
                    <a:lnTo>
                      <a:pt x="3416" y="959"/>
                    </a:lnTo>
                    <a:lnTo>
                      <a:pt x="3398" y="960"/>
                    </a:lnTo>
                    <a:lnTo>
                      <a:pt x="3378" y="962"/>
                    </a:lnTo>
                    <a:lnTo>
                      <a:pt x="3360" y="962"/>
                    </a:lnTo>
                    <a:lnTo>
                      <a:pt x="3340" y="962"/>
                    </a:lnTo>
                    <a:lnTo>
                      <a:pt x="3320" y="962"/>
                    </a:lnTo>
                    <a:lnTo>
                      <a:pt x="3300" y="961"/>
                    </a:lnTo>
                    <a:lnTo>
                      <a:pt x="3280" y="959"/>
                    </a:lnTo>
                    <a:lnTo>
                      <a:pt x="3262" y="955"/>
                    </a:lnTo>
                    <a:lnTo>
                      <a:pt x="3245" y="951"/>
                    </a:lnTo>
                    <a:lnTo>
                      <a:pt x="3227" y="947"/>
                    </a:lnTo>
                    <a:lnTo>
                      <a:pt x="3211" y="941"/>
                    </a:lnTo>
                    <a:lnTo>
                      <a:pt x="3196" y="935"/>
                    </a:lnTo>
                    <a:lnTo>
                      <a:pt x="3181" y="928"/>
                    </a:lnTo>
                    <a:lnTo>
                      <a:pt x="3167" y="921"/>
                    </a:lnTo>
                    <a:lnTo>
                      <a:pt x="3154" y="912"/>
                    </a:lnTo>
                    <a:lnTo>
                      <a:pt x="3142" y="903"/>
                    </a:lnTo>
                    <a:lnTo>
                      <a:pt x="3130" y="893"/>
                    </a:lnTo>
                    <a:lnTo>
                      <a:pt x="3118" y="883"/>
                    </a:lnTo>
                    <a:lnTo>
                      <a:pt x="3107" y="872"/>
                    </a:lnTo>
                    <a:lnTo>
                      <a:pt x="3097" y="860"/>
                    </a:lnTo>
                    <a:lnTo>
                      <a:pt x="3088" y="848"/>
                    </a:lnTo>
                    <a:lnTo>
                      <a:pt x="3080" y="835"/>
                    </a:lnTo>
                    <a:lnTo>
                      <a:pt x="3072" y="821"/>
                    </a:lnTo>
                    <a:lnTo>
                      <a:pt x="3065" y="807"/>
                    </a:lnTo>
                    <a:lnTo>
                      <a:pt x="3058" y="793"/>
                    </a:lnTo>
                    <a:lnTo>
                      <a:pt x="3052" y="777"/>
                    </a:lnTo>
                    <a:lnTo>
                      <a:pt x="3046" y="762"/>
                    </a:lnTo>
                    <a:lnTo>
                      <a:pt x="3042" y="746"/>
                    </a:lnTo>
                    <a:lnTo>
                      <a:pt x="3037" y="728"/>
                    </a:lnTo>
                    <a:lnTo>
                      <a:pt x="3033" y="711"/>
                    </a:lnTo>
                    <a:lnTo>
                      <a:pt x="3030" y="694"/>
                    </a:lnTo>
                    <a:lnTo>
                      <a:pt x="3028" y="676"/>
                    </a:lnTo>
                    <a:lnTo>
                      <a:pt x="3025" y="658"/>
                    </a:lnTo>
                    <a:lnTo>
                      <a:pt x="3024" y="638"/>
                    </a:lnTo>
                    <a:lnTo>
                      <a:pt x="3023" y="620"/>
                    </a:lnTo>
                    <a:lnTo>
                      <a:pt x="3023" y="600"/>
                    </a:lnTo>
                    <a:lnTo>
                      <a:pt x="3024" y="569"/>
                    </a:lnTo>
                    <a:lnTo>
                      <a:pt x="3027" y="537"/>
                    </a:lnTo>
                    <a:lnTo>
                      <a:pt x="3031" y="508"/>
                    </a:lnTo>
                    <a:lnTo>
                      <a:pt x="3036" y="479"/>
                    </a:lnTo>
                    <a:lnTo>
                      <a:pt x="3040" y="465"/>
                    </a:lnTo>
                    <a:lnTo>
                      <a:pt x="3044" y="450"/>
                    </a:lnTo>
                    <a:lnTo>
                      <a:pt x="3048" y="437"/>
                    </a:lnTo>
                    <a:lnTo>
                      <a:pt x="3054" y="424"/>
                    </a:lnTo>
                    <a:lnTo>
                      <a:pt x="3059" y="412"/>
                    </a:lnTo>
                    <a:lnTo>
                      <a:pt x="3065" y="399"/>
                    </a:lnTo>
                    <a:lnTo>
                      <a:pt x="3072" y="389"/>
                    </a:lnTo>
                    <a:lnTo>
                      <a:pt x="3079" y="377"/>
                    </a:lnTo>
                    <a:lnTo>
                      <a:pt x="3086" y="366"/>
                    </a:lnTo>
                    <a:lnTo>
                      <a:pt x="3095" y="356"/>
                    </a:lnTo>
                    <a:lnTo>
                      <a:pt x="3104" y="346"/>
                    </a:lnTo>
                    <a:lnTo>
                      <a:pt x="3113" y="338"/>
                    </a:lnTo>
                    <a:lnTo>
                      <a:pt x="3123" y="329"/>
                    </a:lnTo>
                    <a:lnTo>
                      <a:pt x="3134" y="321"/>
                    </a:lnTo>
                    <a:lnTo>
                      <a:pt x="3145" y="314"/>
                    </a:lnTo>
                    <a:lnTo>
                      <a:pt x="3157" y="307"/>
                    </a:lnTo>
                    <a:lnTo>
                      <a:pt x="3170" y="302"/>
                    </a:lnTo>
                    <a:lnTo>
                      <a:pt x="3183" y="296"/>
                    </a:lnTo>
                    <a:lnTo>
                      <a:pt x="3197" y="292"/>
                    </a:lnTo>
                    <a:lnTo>
                      <a:pt x="3212" y="288"/>
                    </a:lnTo>
                    <a:lnTo>
                      <a:pt x="3227" y="285"/>
                    </a:lnTo>
                    <a:lnTo>
                      <a:pt x="3244" y="283"/>
                    </a:lnTo>
                    <a:lnTo>
                      <a:pt x="3260" y="282"/>
                    </a:lnTo>
                    <a:lnTo>
                      <a:pt x="3277" y="281"/>
                    </a:lnTo>
                    <a:lnTo>
                      <a:pt x="3291" y="281"/>
                    </a:lnTo>
                    <a:lnTo>
                      <a:pt x="3305" y="282"/>
                    </a:lnTo>
                    <a:lnTo>
                      <a:pt x="3318" y="284"/>
                    </a:lnTo>
                    <a:lnTo>
                      <a:pt x="3330" y="285"/>
                    </a:lnTo>
                    <a:lnTo>
                      <a:pt x="3343" y="289"/>
                    </a:lnTo>
                    <a:lnTo>
                      <a:pt x="3355" y="292"/>
                    </a:lnTo>
                    <a:lnTo>
                      <a:pt x="3366" y="295"/>
                    </a:lnTo>
                    <a:lnTo>
                      <a:pt x="3377" y="300"/>
                    </a:lnTo>
                    <a:lnTo>
                      <a:pt x="3388" y="305"/>
                    </a:lnTo>
                    <a:lnTo>
                      <a:pt x="3398" y="309"/>
                    </a:lnTo>
                    <a:lnTo>
                      <a:pt x="3407" y="316"/>
                    </a:lnTo>
                    <a:lnTo>
                      <a:pt x="3416" y="321"/>
                    </a:lnTo>
                    <a:lnTo>
                      <a:pt x="3425" y="329"/>
                    </a:lnTo>
                    <a:lnTo>
                      <a:pt x="3432" y="335"/>
                    </a:lnTo>
                    <a:lnTo>
                      <a:pt x="3441" y="343"/>
                    </a:lnTo>
                    <a:lnTo>
                      <a:pt x="3448" y="352"/>
                    </a:lnTo>
                    <a:lnTo>
                      <a:pt x="3455" y="359"/>
                    </a:lnTo>
                    <a:lnTo>
                      <a:pt x="3462" y="368"/>
                    </a:lnTo>
                    <a:lnTo>
                      <a:pt x="3467" y="378"/>
                    </a:lnTo>
                    <a:lnTo>
                      <a:pt x="3473" y="388"/>
                    </a:lnTo>
                    <a:lnTo>
                      <a:pt x="3482" y="408"/>
                    </a:lnTo>
                    <a:lnTo>
                      <a:pt x="3490" y="430"/>
                    </a:lnTo>
                    <a:lnTo>
                      <a:pt x="3496" y="453"/>
                    </a:lnTo>
                    <a:lnTo>
                      <a:pt x="3501" y="477"/>
                    </a:lnTo>
                    <a:lnTo>
                      <a:pt x="3504" y="503"/>
                    </a:lnTo>
                    <a:lnTo>
                      <a:pt x="3504" y="529"/>
                    </a:lnTo>
                    <a:lnTo>
                      <a:pt x="3504" y="560"/>
                    </a:lnTo>
                    <a:lnTo>
                      <a:pt x="3130" y="560"/>
                    </a:lnTo>
                    <a:close/>
                    <a:moveTo>
                      <a:pt x="2706" y="359"/>
                    </a:moveTo>
                    <a:lnTo>
                      <a:pt x="2696" y="360"/>
                    </a:lnTo>
                    <a:lnTo>
                      <a:pt x="2686" y="361"/>
                    </a:lnTo>
                    <a:lnTo>
                      <a:pt x="2675" y="364"/>
                    </a:lnTo>
                    <a:lnTo>
                      <a:pt x="2666" y="367"/>
                    </a:lnTo>
                    <a:lnTo>
                      <a:pt x="2658" y="371"/>
                    </a:lnTo>
                    <a:lnTo>
                      <a:pt x="2649" y="376"/>
                    </a:lnTo>
                    <a:lnTo>
                      <a:pt x="2640" y="381"/>
                    </a:lnTo>
                    <a:lnTo>
                      <a:pt x="2633" y="388"/>
                    </a:lnTo>
                    <a:lnTo>
                      <a:pt x="2626" y="394"/>
                    </a:lnTo>
                    <a:lnTo>
                      <a:pt x="2619" y="402"/>
                    </a:lnTo>
                    <a:lnTo>
                      <a:pt x="2612" y="409"/>
                    </a:lnTo>
                    <a:lnTo>
                      <a:pt x="2607" y="418"/>
                    </a:lnTo>
                    <a:lnTo>
                      <a:pt x="2596" y="435"/>
                    </a:lnTo>
                    <a:lnTo>
                      <a:pt x="2586" y="455"/>
                    </a:lnTo>
                    <a:lnTo>
                      <a:pt x="2577" y="475"/>
                    </a:lnTo>
                    <a:lnTo>
                      <a:pt x="2571" y="497"/>
                    </a:lnTo>
                    <a:lnTo>
                      <a:pt x="2565" y="519"/>
                    </a:lnTo>
                    <a:lnTo>
                      <a:pt x="2561" y="541"/>
                    </a:lnTo>
                    <a:lnTo>
                      <a:pt x="2558" y="561"/>
                    </a:lnTo>
                    <a:lnTo>
                      <a:pt x="2556" y="582"/>
                    </a:lnTo>
                    <a:lnTo>
                      <a:pt x="2553" y="601"/>
                    </a:lnTo>
                    <a:lnTo>
                      <a:pt x="2553" y="619"/>
                    </a:lnTo>
                    <a:lnTo>
                      <a:pt x="2553" y="637"/>
                    </a:lnTo>
                    <a:lnTo>
                      <a:pt x="2555" y="657"/>
                    </a:lnTo>
                    <a:lnTo>
                      <a:pt x="2557" y="677"/>
                    </a:lnTo>
                    <a:lnTo>
                      <a:pt x="2560" y="699"/>
                    </a:lnTo>
                    <a:lnTo>
                      <a:pt x="2563" y="721"/>
                    </a:lnTo>
                    <a:lnTo>
                      <a:pt x="2569" y="744"/>
                    </a:lnTo>
                    <a:lnTo>
                      <a:pt x="2575" y="765"/>
                    </a:lnTo>
                    <a:lnTo>
                      <a:pt x="2583" y="786"/>
                    </a:lnTo>
                    <a:lnTo>
                      <a:pt x="2591" y="806"/>
                    </a:lnTo>
                    <a:lnTo>
                      <a:pt x="2602" y="825"/>
                    </a:lnTo>
                    <a:lnTo>
                      <a:pt x="2608" y="833"/>
                    </a:lnTo>
                    <a:lnTo>
                      <a:pt x="2614" y="841"/>
                    </a:lnTo>
                    <a:lnTo>
                      <a:pt x="2621" y="849"/>
                    </a:lnTo>
                    <a:lnTo>
                      <a:pt x="2628" y="855"/>
                    </a:lnTo>
                    <a:lnTo>
                      <a:pt x="2636" y="862"/>
                    </a:lnTo>
                    <a:lnTo>
                      <a:pt x="2645" y="867"/>
                    </a:lnTo>
                    <a:lnTo>
                      <a:pt x="2653" y="873"/>
                    </a:lnTo>
                    <a:lnTo>
                      <a:pt x="2662" y="877"/>
                    </a:lnTo>
                    <a:lnTo>
                      <a:pt x="2672" y="880"/>
                    </a:lnTo>
                    <a:lnTo>
                      <a:pt x="2682" y="883"/>
                    </a:lnTo>
                    <a:lnTo>
                      <a:pt x="2692" y="884"/>
                    </a:lnTo>
                    <a:lnTo>
                      <a:pt x="2704" y="885"/>
                    </a:lnTo>
                    <a:lnTo>
                      <a:pt x="2715" y="884"/>
                    </a:lnTo>
                    <a:lnTo>
                      <a:pt x="2726" y="883"/>
                    </a:lnTo>
                    <a:lnTo>
                      <a:pt x="2737" y="879"/>
                    </a:lnTo>
                    <a:lnTo>
                      <a:pt x="2747" y="876"/>
                    </a:lnTo>
                    <a:lnTo>
                      <a:pt x="2755" y="871"/>
                    </a:lnTo>
                    <a:lnTo>
                      <a:pt x="2764" y="865"/>
                    </a:lnTo>
                    <a:lnTo>
                      <a:pt x="2772" y="860"/>
                    </a:lnTo>
                    <a:lnTo>
                      <a:pt x="2779" y="852"/>
                    </a:lnTo>
                    <a:lnTo>
                      <a:pt x="2786" y="845"/>
                    </a:lnTo>
                    <a:lnTo>
                      <a:pt x="2792" y="836"/>
                    </a:lnTo>
                    <a:lnTo>
                      <a:pt x="2798" y="827"/>
                    </a:lnTo>
                    <a:lnTo>
                      <a:pt x="2803" y="817"/>
                    </a:lnTo>
                    <a:lnTo>
                      <a:pt x="2813" y="797"/>
                    </a:lnTo>
                    <a:lnTo>
                      <a:pt x="2820" y="775"/>
                    </a:lnTo>
                    <a:lnTo>
                      <a:pt x="2827" y="752"/>
                    </a:lnTo>
                    <a:lnTo>
                      <a:pt x="2831" y="728"/>
                    </a:lnTo>
                    <a:lnTo>
                      <a:pt x="2836" y="705"/>
                    </a:lnTo>
                    <a:lnTo>
                      <a:pt x="2838" y="682"/>
                    </a:lnTo>
                    <a:lnTo>
                      <a:pt x="2841" y="637"/>
                    </a:lnTo>
                    <a:lnTo>
                      <a:pt x="2842" y="598"/>
                    </a:lnTo>
                    <a:lnTo>
                      <a:pt x="2841" y="581"/>
                    </a:lnTo>
                    <a:lnTo>
                      <a:pt x="2841" y="562"/>
                    </a:lnTo>
                    <a:lnTo>
                      <a:pt x="2840" y="543"/>
                    </a:lnTo>
                    <a:lnTo>
                      <a:pt x="2838" y="523"/>
                    </a:lnTo>
                    <a:lnTo>
                      <a:pt x="2835" y="503"/>
                    </a:lnTo>
                    <a:lnTo>
                      <a:pt x="2830" y="483"/>
                    </a:lnTo>
                    <a:lnTo>
                      <a:pt x="2825" y="464"/>
                    </a:lnTo>
                    <a:lnTo>
                      <a:pt x="2818" y="445"/>
                    </a:lnTo>
                    <a:lnTo>
                      <a:pt x="2811" y="428"/>
                    </a:lnTo>
                    <a:lnTo>
                      <a:pt x="2802" y="411"/>
                    </a:lnTo>
                    <a:lnTo>
                      <a:pt x="2797" y="404"/>
                    </a:lnTo>
                    <a:lnTo>
                      <a:pt x="2790" y="396"/>
                    </a:lnTo>
                    <a:lnTo>
                      <a:pt x="2785" y="390"/>
                    </a:lnTo>
                    <a:lnTo>
                      <a:pt x="2778" y="384"/>
                    </a:lnTo>
                    <a:lnTo>
                      <a:pt x="2771" y="379"/>
                    </a:lnTo>
                    <a:lnTo>
                      <a:pt x="2763" y="373"/>
                    </a:lnTo>
                    <a:lnTo>
                      <a:pt x="2755" y="369"/>
                    </a:lnTo>
                    <a:lnTo>
                      <a:pt x="2747" y="366"/>
                    </a:lnTo>
                    <a:lnTo>
                      <a:pt x="2737" y="364"/>
                    </a:lnTo>
                    <a:lnTo>
                      <a:pt x="2727" y="361"/>
                    </a:lnTo>
                    <a:lnTo>
                      <a:pt x="2717" y="359"/>
                    </a:lnTo>
                    <a:lnTo>
                      <a:pt x="2706" y="359"/>
                    </a:lnTo>
                    <a:close/>
                    <a:moveTo>
                      <a:pt x="2727" y="962"/>
                    </a:moveTo>
                    <a:lnTo>
                      <a:pt x="2712" y="962"/>
                    </a:lnTo>
                    <a:lnTo>
                      <a:pt x="2697" y="961"/>
                    </a:lnTo>
                    <a:lnTo>
                      <a:pt x="2683" y="958"/>
                    </a:lnTo>
                    <a:lnTo>
                      <a:pt x="2669" y="954"/>
                    </a:lnTo>
                    <a:lnTo>
                      <a:pt x="2655" y="950"/>
                    </a:lnTo>
                    <a:lnTo>
                      <a:pt x="2642" y="945"/>
                    </a:lnTo>
                    <a:lnTo>
                      <a:pt x="2631" y="938"/>
                    </a:lnTo>
                    <a:lnTo>
                      <a:pt x="2620" y="931"/>
                    </a:lnTo>
                    <a:lnTo>
                      <a:pt x="2609" y="923"/>
                    </a:lnTo>
                    <a:lnTo>
                      <a:pt x="2599" y="914"/>
                    </a:lnTo>
                    <a:lnTo>
                      <a:pt x="2590" y="904"/>
                    </a:lnTo>
                    <a:lnTo>
                      <a:pt x="2582" y="893"/>
                    </a:lnTo>
                    <a:lnTo>
                      <a:pt x="2574" y="882"/>
                    </a:lnTo>
                    <a:lnTo>
                      <a:pt x="2568" y="869"/>
                    </a:lnTo>
                    <a:lnTo>
                      <a:pt x="2561" y="855"/>
                    </a:lnTo>
                    <a:lnTo>
                      <a:pt x="2556" y="840"/>
                    </a:lnTo>
                    <a:lnTo>
                      <a:pt x="2553" y="840"/>
                    </a:lnTo>
                    <a:lnTo>
                      <a:pt x="2553" y="1240"/>
                    </a:lnTo>
                    <a:lnTo>
                      <a:pt x="2460" y="1240"/>
                    </a:lnTo>
                    <a:lnTo>
                      <a:pt x="2460" y="296"/>
                    </a:lnTo>
                    <a:lnTo>
                      <a:pt x="2553" y="296"/>
                    </a:lnTo>
                    <a:lnTo>
                      <a:pt x="2553" y="407"/>
                    </a:lnTo>
                    <a:lnTo>
                      <a:pt x="2556" y="407"/>
                    </a:lnTo>
                    <a:lnTo>
                      <a:pt x="2561" y="393"/>
                    </a:lnTo>
                    <a:lnTo>
                      <a:pt x="2567" y="380"/>
                    </a:lnTo>
                    <a:lnTo>
                      <a:pt x="2573" y="368"/>
                    </a:lnTo>
                    <a:lnTo>
                      <a:pt x="2581" y="356"/>
                    </a:lnTo>
                    <a:lnTo>
                      <a:pt x="2589" y="345"/>
                    </a:lnTo>
                    <a:lnTo>
                      <a:pt x="2599" y="334"/>
                    </a:lnTo>
                    <a:lnTo>
                      <a:pt x="2609" y="325"/>
                    </a:lnTo>
                    <a:lnTo>
                      <a:pt x="2620" y="316"/>
                    </a:lnTo>
                    <a:lnTo>
                      <a:pt x="2632" y="308"/>
                    </a:lnTo>
                    <a:lnTo>
                      <a:pt x="2644" y="302"/>
                    </a:lnTo>
                    <a:lnTo>
                      <a:pt x="2657" y="295"/>
                    </a:lnTo>
                    <a:lnTo>
                      <a:pt x="2670" y="291"/>
                    </a:lnTo>
                    <a:lnTo>
                      <a:pt x="2683" y="287"/>
                    </a:lnTo>
                    <a:lnTo>
                      <a:pt x="2697" y="283"/>
                    </a:lnTo>
                    <a:lnTo>
                      <a:pt x="2711" y="282"/>
                    </a:lnTo>
                    <a:lnTo>
                      <a:pt x="2726" y="281"/>
                    </a:lnTo>
                    <a:lnTo>
                      <a:pt x="2742" y="282"/>
                    </a:lnTo>
                    <a:lnTo>
                      <a:pt x="2759" y="283"/>
                    </a:lnTo>
                    <a:lnTo>
                      <a:pt x="2775" y="285"/>
                    </a:lnTo>
                    <a:lnTo>
                      <a:pt x="2789" y="290"/>
                    </a:lnTo>
                    <a:lnTo>
                      <a:pt x="2803" y="294"/>
                    </a:lnTo>
                    <a:lnTo>
                      <a:pt x="2816" y="300"/>
                    </a:lnTo>
                    <a:lnTo>
                      <a:pt x="2828" y="305"/>
                    </a:lnTo>
                    <a:lnTo>
                      <a:pt x="2840" y="313"/>
                    </a:lnTo>
                    <a:lnTo>
                      <a:pt x="2850" y="320"/>
                    </a:lnTo>
                    <a:lnTo>
                      <a:pt x="2861" y="329"/>
                    </a:lnTo>
                    <a:lnTo>
                      <a:pt x="2869" y="338"/>
                    </a:lnTo>
                    <a:lnTo>
                      <a:pt x="2878" y="347"/>
                    </a:lnTo>
                    <a:lnTo>
                      <a:pt x="2887" y="357"/>
                    </a:lnTo>
                    <a:lnTo>
                      <a:pt x="2894" y="369"/>
                    </a:lnTo>
                    <a:lnTo>
                      <a:pt x="2901" y="380"/>
                    </a:lnTo>
                    <a:lnTo>
                      <a:pt x="2907" y="392"/>
                    </a:lnTo>
                    <a:lnTo>
                      <a:pt x="2913" y="404"/>
                    </a:lnTo>
                    <a:lnTo>
                      <a:pt x="2918" y="417"/>
                    </a:lnTo>
                    <a:lnTo>
                      <a:pt x="2924" y="430"/>
                    </a:lnTo>
                    <a:lnTo>
                      <a:pt x="2927" y="444"/>
                    </a:lnTo>
                    <a:lnTo>
                      <a:pt x="2934" y="471"/>
                    </a:lnTo>
                    <a:lnTo>
                      <a:pt x="2940" y="500"/>
                    </a:lnTo>
                    <a:lnTo>
                      <a:pt x="2944" y="529"/>
                    </a:lnTo>
                    <a:lnTo>
                      <a:pt x="2946" y="558"/>
                    </a:lnTo>
                    <a:lnTo>
                      <a:pt x="2947" y="587"/>
                    </a:lnTo>
                    <a:lnTo>
                      <a:pt x="2948" y="617"/>
                    </a:lnTo>
                    <a:lnTo>
                      <a:pt x="2947" y="644"/>
                    </a:lnTo>
                    <a:lnTo>
                      <a:pt x="2946" y="672"/>
                    </a:lnTo>
                    <a:lnTo>
                      <a:pt x="2943" y="700"/>
                    </a:lnTo>
                    <a:lnTo>
                      <a:pt x="2939" y="730"/>
                    </a:lnTo>
                    <a:lnTo>
                      <a:pt x="2933" y="759"/>
                    </a:lnTo>
                    <a:lnTo>
                      <a:pt x="2926" y="788"/>
                    </a:lnTo>
                    <a:lnTo>
                      <a:pt x="2920" y="801"/>
                    </a:lnTo>
                    <a:lnTo>
                      <a:pt x="2916" y="815"/>
                    </a:lnTo>
                    <a:lnTo>
                      <a:pt x="2910" y="829"/>
                    </a:lnTo>
                    <a:lnTo>
                      <a:pt x="2904" y="842"/>
                    </a:lnTo>
                    <a:lnTo>
                      <a:pt x="2897" y="854"/>
                    </a:lnTo>
                    <a:lnTo>
                      <a:pt x="2891" y="867"/>
                    </a:lnTo>
                    <a:lnTo>
                      <a:pt x="2883" y="878"/>
                    </a:lnTo>
                    <a:lnTo>
                      <a:pt x="2875" y="890"/>
                    </a:lnTo>
                    <a:lnTo>
                      <a:pt x="2866" y="900"/>
                    </a:lnTo>
                    <a:lnTo>
                      <a:pt x="2857" y="911"/>
                    </a:lnTo>
                    <a:lnTo>
                      <a:pt x="2848" y="920"/>
                    </a:lnTo>
                    <a:lnTo>
                      <a:pt x="2837" y="928"/>
                    </a:lnTo>
                    <a:lnTo>
                      <a:pt x="2825" y="936"/>
                    </a:lnTo>
                    <a:lnTo>
                      <a:pt x="2814" y="942"/>
                    </a:lnTo>
                    <a:lnTo>
                      <a:pt x="2801" y="948"/>
                    </a:lnTo>
                    <a:lnTo>
                      <a:pt x="2788" y="953"/>
                    </a:lnTo>
                    <a:lnTo>
                      <a:pt x="2774" y="958"/>
                    </a:lnTo>
                    <a:lnTo>
                      <a:pt x="2759" y="960"/>
                    </a:lnTo>
                    <a:lnTo>
                      <a:pt x="2743" y="962"/>
                    </a:lnTo>
                    <a:lnTo>
                      <a:pt x="2727" y="962"/>
                    </a:lnTo>
                    <a:close/>
                    <a:moveTo>
                      <a:pt x="1959" y="947"/>
                    </a:moveTo>
                    <a:lnTo>
                      <a:pt x="1959" y="586"/>
                    </a:lnTo>
                    <a:lnTo>
                      <a:pt x="1959" y="556"/>
                    </a:lnTo>
                    <a:lnTo>
                      <a:pt x="1959" y="522"/>
                    </a:lnTo>
                    <a:lnTo>
                      <a:pt x="1958" y="505"/>
                    </a:lnTo>
                    <a:lnTo>
                      <a:pt x="1957" y="486"/>
                    </a:lnTo>
                    <a:lnTo>
                      <a:pt x="1955" y="469"/>
                    </a:lnTo>
                    <a:lnTo>
                      <a:pt x="1950" y="453"/>
                    </a:lnTo>
                    <a:lnTo>
                      <a:pt x="1946" y="436"/>
                    </a:lnTo>
                    <a:lnTo>
                      <a:pt x="1940" y="422"/>
                    </a:lnTo>
                    <a:lnTo>
                      <a:pt x="1936" y="415"/>
                    </a:lnTo>
                    <a:lnTo>
                      <a:pt x="1933" y="408"/>
                    </a:lnTo>
                    <a:lnTo>
                      <a:pt x="1927" y="403"/>
                    </a:lnTo>
                    <a:lnTo>
                      <a:pt x="1923" y="397"/>
                    </a:lnTo>
                    <a:lnTo>
                      <a:pt x="1918" y="392"/>
                    </a:lnTo>
                    <a:lnTo>
                      <a:pt x="1911" y="388"/>
                    </a:lnTo>
                    <a:lnTo>
                      <a:pt x="1905" y="383"/>
                    </a:lnTo>
                    <a:lnTo>
                      <a:pt x="1898" y="380"/>
                    </a:lnTo>
                    <a:lnTo>
                      <a:pt x="1889" y="378"/>
                    </a:lnTo>
                    <a:lnTo>
                      <a:pt x="1882" y="376"/>
                    </a:lnTo>
                    <a:lnTo>
                      <a:pt x="1873" y="374"/>
                    </a:lnTo>
                    <a:lnTo>
                      <a:pt x="1863" y="374"/>
                    </a:lnTo>
                    <a:lnTo>
                      <a:pt x="1851" y="374"/>
                    </a:lnTo>
                    <a:lnTo>
                      <a:pt x="1840" y="377"/>
                    </a:lnTo>
                    <a:lnTo>
                      <a:pt x="1829" y="379"/>
                    </a:lnTo>
                    <a:lnTo>
                      <a:pt x="1818" y="383"/>
                    </a:lnTo>
                    <a:lnTo>
                      <a:pt x="1808" y="388"/>
                    </a:lnTo>
                    <a:lnTo>
                      <a:pt x="1797" y="394"/>
                    </a:lnTo>
                    <a:lnTo>
                      <a:pt x="1789" y="401"/>
                    </a:lnTo>
                    <a:lnTo>
                      <a:pt x="1780" y="407"/>
                    </a:lnTo>
                    <a:lnTo>
                      <a:pt x="1771" y="416"/>
                    </a:lnTo>
                    <a:lnTo>
                      <a:pt x="1762" y="424"/>
                    </a:lnTo>
                    <a:lnTo>
                      <a:pt x="1755" y="434"/>
                    </a:lnTo>
                    <a:lnTo>
                      <a:pt x="1747" y="444"/>
                    </a:lnTo>
                    <a:lnTo>
                      <a:pt x="1741" y="454"/>
                    </a:lnTo>
                    <a:lnTo>
                      <a:pt x="1734" y="466"/>
                    </a:lnTo>
                    <a:lnTo>
                      <a:pt x="1728" y="477"/>
                    </a:lnTo>
                    <a:lnTo>
                      <a:pt x="1722" y="488"/>
                    </a:lnTo>
                    <a:lnTo>
                      <a:pt x="1711" y="512"/>
                    </a:lnTo>
                    <a:lnTo>
                      <a:pt x="1703" y="537"/>
                    </a:lnTo>
                    <a:lnTo>
                      <a:pt x="1695" y="563"/>
                    </a:lnTo>
                    <a:lnTo>
                      <a:pt x="1689" y="588"/>
                    </a:lnTo>
                    <a:lnTo>
                      <a:pt x="1684" y="613"/>
                    </a:lnTo>
                    <a:lnTo>
                      <a:pt x="1681" y="636"/>
                    </a:lnTo>
                    <a:lnTo>
                      <a:pt x="1679" y="659"/>
                    </a:lnTo>
                    <a:lnTo>
                      <a:pt x="1679" y="680"/>
                    </a:lnTo>
                    <a:lnTo>
                      <a:pt x="1679" y="947"/>
                    </a:lnTo>
                    <a:lnTo>
                      <a:pt x="1586" y="947"/>
                    </a:lnTo>
                    <a:lnTo>
                      <a:pt x="1586" y="4"/>
                    </a:lnTo>
                    <a:lnTo>
                      <a:pt x="1679" y="4"/>
                    </a:lnTo>
                    <a:lnTo>
                      <a:pt x="1679" y="447"/>
                    </a:lnTo>
                    <a:lnTo>
                      <a:pt x="1681" y="447"/>
                    </a:lnTo>
                    <a:lnTo>
                      <a:pt x="1688" y="429"/>
                    </a:lnTo>
                    <a:lnTo>
                      <a:pt x="1695" y="411"/>
                    </a:lnTo>
                    <a:lnTo>
                      <a:pt x="1703" y="394"/>
                    </a:lnTo>
                    <a:lnTo>
                      <a:pt x="1710" y="379"/>
                    </a:lnTo>
                    <a:lnTo>
                      <a:pt x="1720" y="364"/>
                    </a:lnTo>
                    <a:lnTo>
                      <a:pt x="1730" y="351"/>
                    </a:lnTo>
                    <a:lnTo>
                      <a:pt x="1741" y="338"/>
                    </a:lnTo>
                    <a:lnTo>
                      <a:pt x="1753" y="327"/>
                    </a:lnTo>
                    <a:lnTo>
                      <a:pt x="1766" y="316"/>
                    </a:lnTo>
                    <a:lnTo>
                      <a:pt x="1779" y="307"/>
                    </a:lnTo>
                    <a:lnTo>
                      <a:pt x="1794" y="300"/>
                    </a:lnTo>
                    <a:lnTo>
                      <a:pt x="1810" y="293"/>
                    </a:lnTo>
                    <a:lnTo>
                      <a:pt x="1827" y="288"/>
                    </a:lnTo>
                    <a:lnTo>
                      <a:pt x="1845" y="284"/>
                    </a:lnTo>
                    <a:lnTo>
                      <a:pt x="1864" y="282"/>
                    </a:lnTo>
                    <a:lnTo>
                      <a:pt x="1885" y="281"/>
                    </a:lnTo>
                    <a:lnTo>
                      <a:pt x="1896" y="281"/>
                    </a:lnTo>
                    <a:lnTo>
                      <a:pt x="1906" y="282"/>
                    </a:lnTo>
                    <a:lnTo>
                      <a:pt x="1915" y="283"/>
                    </a:lnTo>
                    <a:lnTo>
                      <a:pt x="1925" y="285"/>
                    </a:lnTo>
                    <a:lnTo>
                      <a:pt x="1934" y="288"/>
                    </a:lnTo>
                    <a:lnTo>
                      <a:pt x="1943" y="291"/>
                    </a:lnTo>
                    <a:lnTo>
                      <a:pt x="1951" y="294"/>
                    </a:lnTo>
                    <a:lnTo>
                      <a:pt x="1959" y="298"/>
                    </a:lnTo>
                    <a:lnTo>
                      <a:pt x="1974" y="307"/>
                    </a:lnTo>
                    <a:lnTo>
                      <a:pt x="1988" y="318"/>
                    </a:lnTo>
                    <a:lnTo>
                      <a:pt x="2000" y="330"/>
                    </a:lnTo>
                    <a:lnTo>
                      <a:pt x="2011" y="343"/>
                    </a:lnTo>
                    <a:lnTo>
                      <a:pt x="2021" y="358"/>
                    </a:lnTo>
                    <a:lnTo>
                      <a:pt x="2029" y="373"/>
                    </a:lnTo>
                    <a:lnTo>
                      <a:pt x="2036" y="391"/>
                    </a:lnTo>
                    <a:lnTo>
                      <a:pt x="2041" y="408"/>
                    </a:lnTo>
                    <a:lnTo>
                      <a:pt x="2046" y="426"/>
                    </a:lnTo>
                    <a:lnTo>
                      <a:pt x="2049" y="444"/>
                    </a:lnTo>
                    <a:lnTo>
                      <a:pt x="2051" y="464"/>
                    </a:lnTo>
                    <a:lnTo>
                      <a:pt x="2051" y="482"/>
                    </a:lnTo>
                    <a:lnTo>
                      <a:pt x="2051" y="947"/>
                    </a:lnTo>
                    <a:lnTo>
                      <a:pt x="1959" y="947"/>
                    </a:lnTo>
                    <a:close/>
                    <a:moveTo>
                      <a:pt x="1200" y="359"/>
                    </a:moveTo>
                    <a:lnTo>
                      <a:pt x="1190" y="360"/>
                    </a:lnTo>
                    <a:lnTo>
                      <a:pt x="1180" y="361"/>
                    </a:lnTo>
                    <a:lnTo>
                      <a:pt x="1170" y="364"/>
                    </a:lnTo>
                    <a:lnTo>
                      <a:pt x="1160" y="367"/>
                    </a:lnTo>
                    <a:lnTo>
                      <a:pt x="1152" y="371"/>
                    </a:lnTo>
                    <a:lnTo>
                      <a:pt x="1144" y="377"/>
                    </a:lnTo>
                    <a:lnTo>
                      <a:pt x="1136" y="383"/>
                    </a:lnTo>
                    <a:lnTo>
                      <a:pt x="1129" y="390"/>
                    </a:lnTo>
                    <a:lnTo>
                      <a:pt x="1122" y="396"/>
                    </a:lnTo>
                    <a:lnTo>
                      <a:pt x="1117" y="405"/>
                    </a:lnTo>
                    <a:lnTo>
                      <a:pt x="1110" y="412"/>
                    </a:lnTo>
                    <a:lnTo>
                      <a:pt x="1105" y="422"/>
                    </a:lnTo>
                    <a:lnTo>
                      <a:pt x="1096" y="441"/>
                    </a:lnTo>
                    <a:lnTo>
                      <a:pt x="1089" y="461"/>
                    </a:lnTo>
                    <a:lnTo>
                      <a:pt x="1082" y="483"/>
                    </a:lnTo>
                    <a:lnTo>
                      <a:pt x="1077" y="505"/>
                    </a:lnTo>
                    <a:lnTo>
                      <a:pt x="1072" y="528"/>
                    </a:lnTo>
                    <a:lnTo>
                      <a:pt x="1069" y="549"/>
                    </a:lnTo>
                    <a:lnTo>
                      <a:pt x="1067" y="571"/>
                    </a:lnTo>
                    <a:lnTo>
                      <a:pt x="1066" y="592"/>
                    </a:lnTo>
                    <a:lnTo>
                      <a:pt x="1066" y="610"/>
                    </a:lnTo>
                    <a:lnTo>
                      <a:pt x="1065" y="627"/>
                    </a:lnTo>
                    <a:lnTo>
                      <a:pt x="1066" y="644"/>
                    </a:lnTo>
                    <a:lnTo>
                      <a:pt x="1066" y="662"/>
                    </a:lnTo>
                    <a:lnTo>
                      <a:pt x="1067" y="682"/>
                    </a:lnTo>
                    <a:lnTo>
                      <a:pt x="1069" y="701"/>
                    </a:lnTo>
                    <a:lnTo>
                      <a:pt x="1072" y="722"/>
                    </a:lnTo>
                    <a:lnTo>
                      <a:pt x="1077" y="741"/>
                    </a:lnTo>
                    <a:lnTo>
                      <a:pt x="1081" y="761"/>
                    </a:lnTo>
                    <a:lnTo>
                      <a:pt x="1088" y="781"/>
                    </a:lnTo>
                    <a:lnTo>
                      <a:pt x="1095" y="799"/>
                    </a:lnTo>
                    <a:lnTo>
                      <a:pt x="1105" y="815"/>
                    </a:lnTo>
                    <a:lnTo>
                      <a:pt x="1110" y="823"/>
                    </a:lnTo>
                    <a:lnTo>
                      <a:pt x="1116" y="831"/>
                    </a:lnTo>
                    <a:lnTo>
                      <a:pt x="1121" y="837"/>
                    </a:lnTo>
                    <a:lnTo>
                      <a:pt x="1128" y="844"/>
                    </a:lnTo>
                    <a:lnTo>
                      <a:pt x="1135" y="849"/>
                    </a:lnTo>
                    <a:lnTo>
                      <a:pt x="1143" y="854"/>
                    </a:lnTo>
                    <a:lnTo>
                      <a:pt x="1151" y="859"/>
                    </a:lnTo>
                    <a:lnTo>
                      <a:pt x="1159" y="862"/>
                    </a:lnTo>
                    <a:lnTo>
                      <a:pt x="1168" y="865"/>
                    </a:lnTo>
                    <a:lnTo>
                      <a:pt x="1178" y="867"/>
                    </a:lnTo>
                    <a:lnTo>
                      <a:pt x="1187" y="869"/>
                    </a:lnTo>
                    <a:lnTo>
                      <a:pt x="1198" y="870"/>
                    </a:lnTo>
                    <a:lnTo>
                      <a:pt x="1209" y="869"/>
                    </a:lnTo>
                    <a:lnTo>
                      <a:pt x="1219" y="867"/>
                    </a:lnTo>
                    <a:lnTo>
                      <a:pt x="1229" y="865"/>
                    </a:lnTo>
                    <a:lnTo>
                      <a:pt x="1238" y="862"/>
                    </a:lnTo>
                    <a:lnTo>
                      <a:pt x="1248" y="858"/>
                    </a:lnTo>
                    <a:lnTo>
                      <a:pt x="1256" y="853"/>
                    </a:lnTo>
                    <a:lnTo>
                      <a:pt x="1264" y="848"/>
                    </a:lnTo>
                    <a:lnTo>
                      <a:pt x="1272" y="841"/>
                    </a:lnTo>
                    <a:lnTo>
                      <a:pt x="1280" y="835"/>
                    </a:lnTo>
                    <a:lnTo>
                      <a:pt x="1286" y="827"/>
                    </a:lnTo>
                    <a:lnTo>
                      <a:pt x="1293" y="820"/>
                    </a:lnTo>
                    <a:lnTo>
                      <a:pt x="1299" y="812"/>
                    </a:lnTo>
                    <a:lnTo>
                      <a:pt x="1310" y="794"/>
                    </a:lnTo>
                    <a:lnTo>
                      <a:pt x="1320" y="774"/>
                    </a:lnTo>
                    <a:lnTo>
                      <a:pt x="1328" y="753"/>
                    </a:lnTo>
                    <a:lnTo>
                      <a:pt x="1336" y="733"/>
                    </a:lnTo>
                    <a:lnTo>
                      <a:pt x="1341" y="711"/>
                    </a:lnTo>
                    <a:lnTo>
                      <a:pt x="1346" y="689"/>
                    </a:lnTo>
                    <a:lnTo>
                      <a:pt x="1349" y="668"/>
                    </a:lnTo>
                    <a:lnTo>
                      <a:pt x="1351" y="647"/>
                    </a:lnTo>
                    <a:lnTo>
                      <a:pt x="1353" y="627"/>
                    </a:lnTo>
                    <a:lnTo>
                      <a:pt x="1353" y="609"/>
                    </a:lnTo>
                    <a:lnTo>
                      <a:pt x="1353" y="592"/>
                    </a:lnTo>
                    <a:lnTo>
                      <a:pt x="1351" y="573"/>
                    </a:lnTo>
                    <a:lnTo>
                      <a:pt x="1349" y="553"/>
                    </a:lnTo>
                    <a:lnTo>
                      <a:pt x="1346" y="532"/>
                    </a:lnTo>
                    <a:lnTo>
                      <a:pt x="1341" y="511"/>
                    </a:lnTo>
                    <a:lnTo>
                      <a:pt x="1336" y="491"/>
                    </a:lnTo>
                    <a:lnTo>
                      <a:pt x="1328" y="470"/>
                    </a:lnTo>
                    <a:lnTo>
                      <a:pt x="1321" y="450"/>
                    </a:lnTo>
                    <a:lnTo>
                      <a:pt x="1311" y="432"/>
                    </a:lnTo>
                    <a:lnTo>
                      <a:pt x="1300" y="415"/>
                    </a:lnTo>
                    <a:lnTo>
                      <a:pt x="1294" y="407"/>
                    </a:lnTo>
                    <a:lnTo>
                      <a:pt x="1287" y="399"/>
                    </a:lnTo>
                    <a:lnTo>
                      <a:pt x="1281" y="392"/>
                    </a:lnTo>
                    <a:lnTo>
                      <a:pt x="1273" y="385"/>
                    </a:lnTo>
                    <a:lnTo>
                      <a:pt x="1266" y="380"/>
                    </a:lnTo>
                    <a:lnTo>
                      <a:pt x="1258" y="374"/>
                    </a:lnTo>
                    <a:lnTo>
                      <a:pt x="1249" y="370"/>
                    </a:lnTo>
                    <a:lnTo>
                      <a:pt x="1241" y="367"/>
                    </a:lnTo>
                    <a:lnTo>
                      <a:pt x="1231" y="364"/>
                    </a:lnTo>
                    <a:lnTo>
                      <a:pt x="1221" y="361"/>
                    </a:lnTo>
                    <a:lnTo>
                      <a:pt x="1211" y="359"/>
                    </a:lnTo>
                    <a:lnTo>
                      <a:pt x="1200" y="359"/>
                    </a:lnTo>
                    <a:close/>
                    <a:moveTo>
                      <a:pt x="1170" y="1231"/>
                    </a:moveTo>
                    <a:lnTo>
                      <a:pt x="1147" y="1231"/>
                    </a:lnTo>
                    <a:lnTo>
                      <a:pt x="1124" y="1230"/>
                    </a:lnTo>
                    <a:lnTo>
                      <a:pt x="1103" y="1228"/>
                    </a:lnTo>
                    <a:lnTo>
                      <a:pt x="1081" y="1226"/>
                    </a:lnTo>
                    <a:lnTo>
                      <a:pt x="1059" y="1222"/>
                    </a:lnTo>
                    <a:lnTo>
                      <a:pt x="1038" y="1218"/>
                    </a:lnTo>
                    <a:lnTo>
                      <a:pt x="1016" y="1214"/>
                    </a:lnTo>
                    <a:lnTo>
                      <a:pt x="994" y="1209"/>
                    </a:lnTo>
                    <a:lnTo>
                      <a:pt x="994" y="1115"/>
                    </a:lnTo>
                    <a:lnTo>
                      <a:pt x="1014" y="1124"/>
                    </a:lnTo>
                    <a:lnTo>
                      <a:pt x="1033" y="1131"/>
                    </a:lnTo>
                    <a:lnTo>
                      <a:pt x="1053" y="1139"/>
                    </a:lnTo>
                    <a:lnTo>
                      <a:pt x="1073" y="1144"/>
                    </a:lnTo>
                    <a:lnTo>
                      <a:pt x="1094" y="1149"/>
                    </a:lnTo>
                    <a:lnTo>
                      <a:pt x="1115" y="1151"/>
                    </a:lnTo>
                    <a:lnTo>
                      <a:pt x="1135" y="1153"/>
                    </a:lnTo>
                    <a:lnTo>
                      <a:pt x="1157" y="1154"/>
                    </a:lnTo>
                    <a:lnTo>
                      <a:pt x="1184" y="1153"/>
                    </a:lnTo>
                    <a:lnTo>
                      <a:pt x="1208" y="1150"/>
                    </a:lnTo>
                    <a:lnTo>
                      <a:pt x="1220" y="1149"/>
                    </a:lnTo>
                    <a:lnTo>
                      <a:pt x="1231" y="1145"/>
                    </a:lnTo>
                    <a:lnTo>
                      <a:pt x="1241" y="1143"/>
                    </a:lnTo>
                    <a:lnTo>
                      <a:pt x="1251" y="1140"/>
                    </a:lnTo>
                    <a:lnTo>
                      <a:pt x="1260" y="1136"/>
                    </a:lnTo>
                    <a:lnTo>
                      <a:pt x="1269" y="1131"/>
                    </a:lnTo>
                    <a:lnTo>
                      <a:pt x="1277" y="1127"/>
                    </a:lnTo>
                    <a:lnTo>
                      <a:pt x="1285" y="1123"/>
                    </a:lnTo>
                    <a:lnTo>
                      <a:pt x="1293" y="1117"/>
                    </a:lnTo>
                    <a:lnTo>
                      <a:pt x="1299" y="1111"/>
                    </a:lnTo>
                    <a:lnTo>
                      <a:pt x="1306" y="1105"/>
                    </a:lnTo>
                    <a:lnTo>
                      <a:pt x="1311" y="1098"/>
                    </a:lnTo>
                    <a:lnTo>
                      <a:pt x="1317" y="1091"/>
                    </a:lnTo>
                    <a:lnTo>
                      <a:pt x="1322" y="1083"/>
                    </a:lnTo>
                    <a:lnTo>
                      <a:pt x="1326" y="1076"/>
                    </a:lnTo>
                    <a:lnTo>
                      <a:pt x="1331" y="1067"/>
                    </a:lnTo>
                    <a:lnTo>
                      <a:pt x="1338" y="1050"/>
                    </a:lnTo>
                    <a:lnTo>
                      <a:pt x="1344" y="1030"/>
                    </a:lnTo>
                    <a:lnTo>
                      <a:pt x="1348" y="1010"/>
                    </a:lnTo>
                    <a:lnTo>
                      <a:pt x="1351" y="987"/>
                    </a:lnTo>
                    <a:lnTo>
                      <a:pt x="1353" y="963"/>
                    </a:lnTo>
                    <a:lnTo>
                      <a:pt x="1353" y="938"/>
                    </a:lnTo>
                    <a:lnTo>
                      <a:pt x="1353" y="823"/>
                    </a:lnTo>
                    <a:lnTo>
                      <a:pt x="1351" y="823"/>
                    </a:lnTo>
                    <a:lnTo>
                      <a:pt x="1346" y="837"/>
                    </a:lnTo>
                    <a:lnTo>
                      <a:pt x="1339" y="850"/>
                    </a:lnTo>
                    <a:lnTo>
                      <a:pt x="1333" y="863"/>
                    </a:lnTo>
                    <a:lnTo>
                      <a:pt x="1325" y="875"/>
                    </a:lnTo>
                    <a:lnTo>
                      <a:pt x="1317" y="886"/>
                    </a:lnTo>
                    <a:lnTo>
                      <a:pt x="1307" y="897"/>
                    </a:lnTo>
                    <a:lnTo>
                      <a:pt x="1297" y="905"/>
                    </a:lnTo>
                    <a:lnTo>
                      <a:pt x="1286" y="914"/>
                    </a:lnTo>
                    <a:lnTo>
                      <a:pt x="1274" y="922"/>
                    </a:lnTo>
                    <a:lnTo>
                      <a:pt x="1262" y="928"/>
                    </a:lnTo>
                    <a:lnTo>
                      <a:pt x="1249" y="934"/>
                    </a:lnTo>
                    <a:lnTo>
                      <a:pt x="1236" y="939"/>
                    </a:lnTo>
                    <a:lnTo>
                      <a:pt x="1222" y="942"/>
                    </a:lnTo>
                    <a:lnTo>
                      <a:pt x="1208" y="945"/>
                    </a:lnTo>
                    <a:lnTo>
                      <a:pt x="1194" y="947"/>
                    </a:lnTo>
                    <a:lnTo>
                      <a:pt x="1179" y="947"/>
                    </a:lnTo>
                    <a:lnTo>
                      <a:pt x="1162" y="947"/>
                    </a:lnTo>
                    <a:lnTo>
                      <a:pt x="1146" y="946"/>
                    </a:lnTo>
                    <a:lnTo>
                      <a:pt x="1132" y="942"/>
                    </a:lnTo>
                    <a:lnTo>
                      <a:pt x="1118" y="939"/>
                    </a:lnTo>
                    <a:lnTo>
                      <a:pt x="1105" y="935"/>
                    </a:lnTo>
                    <a:lnTo>
                      <a:pt x="1092" y="930"/>
                    </a:lnTo>
                    <a:lnTo>
                      <a:pt x="1080" y="924"/>
                    </a:lnTo>
                    <a:lnTo>
                      <a:pt x="1069" y="917"/>
                    </a:lnTo>
                    <a:lnTo>
                      <a:pt x="1058" y="910"/>
                    </a:lnTo>
                    <a:lnTo>
                      <a:pt x="1049" y="902"/>
                    </a:lnTo>
                    <a:lnTo>
                      <a:pt x="1039" y="893"/>
                    </a:lnTo>
                    <a:lnTo>
                      <a:pt x="1030" y="884"/>
                    </a:lnTo>
                    <a:lnTo>
                      <a:pt x="1022" y="874"/>
                    </a:lnTo>
                    <a:lnTo>
                      <a:pt x="1015" y="864"/>
                    </a:lnTo>
                    <a:lnTo>
                      <a:pt x="1007" y="853"/>
                    </a:lnTo>
                    <a:lnTo>
                      <a:pt x="1002" y="841"/>
                    </a:lnTo>
                    <a:lnTo>
                      <a:pt x="995" y="829"/>
                    </a:lnTo>
                    <a:lnTo>
                      <a:pt x="990" y="817"/>
                    </a:lnTo>
                    <a:lnTo>
                      <a:pt x="986" y="804"/>
                    </a:lnTo>
                    <a:lnTo>
                      <a:pt x="981" y="791"/>
                    </a:lnTo>
                    <a:lnTo>
                      <a:pt x="974" y="765"/>
                    </a:lnTo>
                    <a:lnTo>
                      <a:pt x="968" y="738"/>
                    </a:lnTo>
                    <a:lnTo>
                      <a:pt x="964" y="710"/>
                    </a:lnTo>
                    <a:lnTo>
                      <a:pt x="961" y="682"/>
                    </a:lnTo>
                    <a:lnTo>
                      <a:pt x="960" y="654"/>
                    </a:lnTo>
                    <a:lnTo>
                      <a:pt x="958" y="626"/>
                    </a:lnTo>
                    <a:lnTo>
                      <a:pt x="960" y="599"/>
                    </a:lnTo>
                    <a:lnTo>
                      <a:pt x="961" y="571"/>
                    </a:lnTo>
                    <a:lnTo>
                      <a:pt x="964" y="542"/>
                    </a:lnTo>
                    <a:lnTo>
                      <a:pt x="968" y="512"/>
                    </a:lnTo>
                    <a:lnTo>
                      <a:pt x="975" y="483"/>
                    </a:lnTo>
                    <a:lnTo>
                      <a:pt x="982" y="455"/>
                    </a:lnTo>
                    <a:lnTo>
                      <a:pt x="987" y="441"/>
                    </a:lnTo>
                    <a:lnTo>
                      <a:pt x="992" y="428"/>
                    </a:lnTo>
                    <a:lnTo>
                      <a:pt x="998" y="414"/>
                    </a:lnTo>
                    <a:lnTo>
                      <a:pt x="1003" y="401"/>
                    </a:lnTo>
                    <a:lnTo>
                      <a:pt x="1009" y="389"/>
                    </a:lnTo>
                    <a:lnTo>
                      <a:pt x="1017" y="376"/>
                    </a:lnTo>
                    <a:lnTo>
                      <a:pt x="1025" y="365"/>
                    </a:lnTo>
                    <a:lnTo>
                      <a:pt x="1033" y="353"/>
                    </a:lnTo>
                    <a:lnTo>
                      <a:pt x="1042" y="343"/>
                    </a:lnTo>
                    <a:lnTo>
                      <a:pt x="1051" y="333"/>
                    </a:lnTo>
                    <a:lnTo>
                      <a:pt x="1060" y="323"/>
                    </a:lnTo>
                    <a:lnTo>
                      <a:pt x="1071" y="315"/>
                    </a:lnTo>
                    <a:lnTo>
                      <a:pt x="1083" y="308"/>
                    </a:lnTo>
                    <a:lnTo>
                      <a:pt x="1095" y="301"/>
                    </a:lnTo>
                    <a:lnTo>
                      <a:pt x="1107" y="295"/>
                    </a:lnTo>
                    <a:lnTo>
                      <a:pt x="1121" y="290"/>
                    </a:lnTo>
                    <a:lnTo>
                      <a:pt x="1135" y="287"/>
                    </a:lnTo>
                    <a:lnTo>
                      <a:pt x="1149" y="283"/>
                    </a:lnTo>
                    <a:lnTo>
                      <a:pt x="1165" y="282"/>
                    </a:lnTo>
                    <a:lnTo>
                      <a:pt x="1181" y="281"/>
                    </a:lnTo>
                    <a:lnTo>
                      <a:pt x="1196" y="282"/>
                    </a:lnTo>
                    <a:lnTo>
                      <a:pt x="1210" y="283"/>
                    </a:lnTo>
                    <a:lnTo>
                      <a:pt x="1223" y="285"/>
                    </a:lnTo>
                    <a:lnTo>
                      <a:pt x="1237" y="290"/>
                    </a:lnTo>
                    <a:lnTo>
                      <a:pt x="1250" y="294"/>
                    </a:lnTo>
                    <a:lnTo>
                      <a:pt x="1263" y="300"/>
                    </a:lnTo>
                    <a:lnTo>
                      <a:pt x="1275" y="306"/>
                    </a:lnTo>
                    <a:lnTo>
                      <a:pt x="1287" y="314"/>
                    </a:lnTo>
                    <a:lnTo>
                      <a:pt x="1298" y="321"/>
                    </a:lnTo>
                    <a:lnTo>
                      <a:pt x="1309" y="331"/>
                    </a:lnTo>
                    <a:lnTo>
                      <a:pt x="1318" y="341"/>
                    </a:lnTo>
                    <a:lnTo>
                      <a:pt x="1326" y="352"/>
                    </a:lnTo>
                    <a:lnTo>
                      <a:pt x="1334" y="364"/>
                    </a:lnTo>
                    <a:lnTo>
                      <a:pt x="1340" y="376"/>
                    </a:lnTo>
                    <a:lnTo>
                      <a:pt x="1347" y="389"/>
                    </a:lnTo>
                    <a:lnTo>
                      <a:pt x="1351" y="403"/>
                    </a:lnTo>
                    <a:lnTo>
                      <a:pt x="1353" y="403"/>
                    </a:lnTo>
                    <a:lnTo>
                      <a:pt x="1353" y="296"/>
                    </a:lnTo>
                    <a:lnTo>
                      <a:pt x="1447" y="296"/>
                    </a:lnTo>
                    <a:lnTo>
                      <a:pt x="1447" y="949"/>
                    </a:lnTo>
                    <a:lnTo>
                      <a:pt x="1447" y="965"/>
                    </a:lnTo>
                    <a:lnTo>
                      <a:pt x="1446" y="983"/>
                    </a:lnTo>
                    <a:lnTo>
                      <a:pt x="1445" y="998"/>
                    </a:lnTo>
                    <a:lnTo>
                      <a:pt x="1442" y="1014"/>
                    </a:lnTo>
                    <a:lnTo>
                      <a:pt x="1440" y="1029"/>
                    </a:lnTo>
                    <a:lnTo>
                      <a:pt x="1437" y="1043"/>
                    </a:lnTo>
                    <a:lnTo>
                      <a:pt x="1434" y="1057"/>
                    </a:lnTo>
                    <a:lnTo>
                      <a:pt x="1429" y="1070"/>
                    </a:lnTo>
                    <a:lnTo>
                      <a:pt x="1425" y="1083"/>
                    </a:lnTo>
                    <a:lnTo>
                      <a:pt x="1421" y="1097"/>
                    </a:lnTo>
                    <a:lnTo>
                      <a:pt x="1414" y="1107"/>
                    </a:lnTo>
                    <a:lnTo>
                      <a:pt x="1409" y="1119"/>
                    </a:lnTo>
                    <a:lnTo>
                      <a:pt x="1402" y="1130"/>
                    </a:lnTo>
                    <a:lnTo>
                      <a:pt x="1395" y="1140"/>
                    </a:lnTo>
                    <a:lnTo>
                      <a:pt x="1387" y="1150"/>
                    </a:lnTo>
                    <a:lnTo>
                      <a:pt x="1378" y="1159"/>
                    </a:lnTo>
                    <a:lnTo>
                      <a:pt x="1370" y="1168"/>
                    </a:lnTo>
                    <a:lnTo>
                      <a:pt x="1360" y="1176"/>
                    </a:lnTo>
                    <a:lnTo>
                      <a:pt x="1350" y="1183"/>
                    </a:lnTo>
                    <a:lnTo>
                      <a:pt x="1340" y="1191"/>
                    </a:lnTo>
                    <a:lnTo>
                      <a:pt x="1330" y="1197"/>
                    </a:lnTo>
                    <a:lnTo>
                      <a:pt x="1318" y="1203"/>
                    </a:lnTo>
                    <a:lnTo>
                      <a:pt x="1306" y="1208"/>
                    </a:lnTo>
                    <a:lnTo>
                      <a:pt x="1293" y="1214"/>
                    </a:lnTo>
                    <a:lnTo>
                      <a:pt x="1280" y="1218"/>
                    </a:lnTo>
                    <a:lnTo>
                      <a:pt x="1266" y="1221"/>
                    </a:lnTo>
                    <a:lnTo>
                      <a:pt x="1251" y="1225"/>
                    </a:lnTo>
                    <a:lnTo>
                      <a:pt x="1236" y="1227"/>
                    </a:lnTo>
                    <a:lnTo>
                      <a:pt x="1221" y="1229"/>
                    </a:lnTo>
                    <a:lnTo>
                      <a:pt x="1205" y="1230"/>
                    </a:lnTo>
                    <a:lnTo>
                      <a:pt x="1187" y="1231"/>
                    </a:lnTo>
                    <a:lnTo>
                      <a:pt x="1170" y="1231"/>
                    </a:lnTo>
                    <a:close/>
                    <a:moveTo>
                      <a:pt x="765" y="947"/>
                    </a:moveTo>
                    <a:lnTo>
                      <a:pt x="765" y="296"/>
                    </a:lnTo>
                    <a:lnTo>
                      <a:pt x="859" y="296"/>
                    </a:lnTo>
                    <a:lnTo>
                      <a:pt x="859" y="947"/>
                    </a:lnTo>
                    <a:lnTo>
                      <a:pt x="765" y="947"/>
                    </a:lnTo>
                    <a:close/>
                    <a:moveTo>
                      <a:pt x="750" y="127"/>
                    </a:moveTo>
                    <a:lnTo>
                      <a:pt x="750" y="4"/>
                    </a:lnTo>
                    <a:lnTo>
                      <a:pt x="874" y="4"/>
                    </a:lnTo>
                    <a:lnTo>
                      <a:pt x="874" y="127"/>
                    </a:lnTo>
                    <a:lnTo>
                      <a:pt x="750" y="127"/>
                    </a:lnTo>
                    <a:close/>
                    <a:moveTo>
                      <a:pt x="496" y="947"/>
                    </a:moveTo>
                    <a:lnTo>
                      <a:pt x="496" y="502"/>
                    </a:lnTo>
                    <a:lnTo>
                      <a:pt x="107" y="502"/>
                    </a:lnTo>
                    <a:lnTo>
                      <a:pt x="107" y="947"/>
                    </a:lnTo>
                    <a:lnTo>
                      <a:pt x="0" y="947"/>
                    </a:lnTo>
                    <a:lnTo>
                      <a:pt x="0" y="4"/>
                    </a:lnTo>
                    <a:lnTo>
                      <a:pt x="107" y="4"/>
                    </a:lnTo>
                    <a:lnTo>
                      <a:pt x="107" y="412"/>
                    </a:lnTo>
                    <a:lnTo>
                      <a:pt x="496" y="412"/>
                    </a:lnTo>
                    <a:lnTo>
                      <a:pt x="496" y="4"/>
                    </a:lnTo>
                    <a:lnTo>
                      <a:pt x="604" y="4"/>
                    </a:lnTo>
                    <a:lnTo>
                      <a:pt x="604" y="947"/>
                    </a:lnTo>
                    <a:lnTo>
                      <a:pt x="496" y="947"/>
                    </a:lnTo>
                    <a:close/>
                  </a:path>
                </a:pathLst>
              </a:custGeom>
              <a:solidFill>
                <a:srgbClr val="1F1A17"/>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grpSp>
            <p:nvGrpSpPr>
              <p:cNvPr id="59" name="Group 21"/>
              <p:cNvGrpSpPr/>
              <p:nvPr userDrawn="1"/>
            </p:nvGrpSpPr>
            <p:grpSpPr>
              <a:xfrm>
                <a:off x="471488" y="605980"/>
                <a:ext cx="2196707" cy="386471"/>
                <a:chOff x="931863" y="2459038"/>
                <a:chExt cx="2427287" cy="427038"/>
              </a:xfrm>
              <a:solidFill>
                <a:sysClr val="windowText" lastClr="000000"/>
              </a:solidFill>
            </p:grpSpPr>
            <p:sp>
              <p:nvSpPr>
                <p:cNvPr id="60" name="Freeform 5"/>
                <p:cNvSpPr>
                  <a:spLocks noEditPoints="1"/>
                </p:cNvSpPr>
                <p:nvPr userDrawn="1"/>
              </p:nvSpPr>
              <p:spPr bwMode="auto">
                <a:xfrm>
                  <a:off x="931863" y="2555875"/>
                  <a:ext cx="247650" cy="330200"/>
                </a:xfrm>
                <a:custGeom>
                  <a:avLst/>
                  <a:gdLst/>
                  <a:ahLst/>
                  <a:cxnLst>
                    <a:cxn ang="0">
                      <a:pos x="1703" y="546"/>
                    </a:cxn>
                    <a:cxn ang="0">
                      <a:pos x="1652" y="361"/>
                    </a:cxn>
                    <a:cxn ang="0">
                      <a:pos x="1561" y="217"/>
                    </a:cxn>
                    <a:cxn ang="0">
                      <a:pos x="1432" y="113"/>
                    </a:cxn>
                    <a:cxn ang="0">
                      <a:pos x="1271" y="45"/>
                    </a:cxn>
                    <a:cxn ang="0">
                      <a:pos x="1083" y="9"/>
                    </a:cxn>
                    <a:cxn ang="0">
                      <a:pos x="872" y="1"/>
                    </a:cxn>
                    <a:cxn ang="0">
                      <a:pos x="670" y="21"/>
                    </a:cxn>
                    <a:cxn ang="0">
                      <a:pos x="486" y="74"/>
                    </a:cxn>
                    <a:cxn ang="0">
                      <a:pos x="328" y="160"/>
                    </a:cxn>
                    <a:cxn ang="0">
                      <a:pos x="204" y="282"/>
                    </a:cxn>
                    <a:cxn ang="0">
                      <a:pos x="121" y="444"/>
                    </a:cxn>
                    <a:cxn ang="0">
                      <a:pos x="84" y="647"/>
                    </a:cxn>
                    <a:cxn ang="0">
                      <a:pos x="582" y="635"/>
                    </a:cxn>
                    <a:cxn ang="0">
                      <a:pos x="601" y="550"/>
                    </a:cxn>
                    <a:cxn ang="0">
                      <a:pos x="636" y="480"/>
                    </a:cxn>
                    <a:cxn ang="0">
                      <a:pos x="687" y="425"/>
                    </a:cxn>
                    <a:cxn ang="0">
                      <a:pos x="755" y="386"/>
                    </a:cxn>
                    <a:cxn ang="0">
                      <a:pos x="838" y="364"/>
                    </a:cxn>
                    <a:cxn ang="0">
                      <a:pos x="939" y="359"/>
                    </a:cxn>
                    <a:cxn ang="0">
                      <a:pos x="1038" y="376"/>
                    </a:cxn>
                    <a:cxn ang="0">
                      <a:pos x="1112" y="417"/>
                    </a:cxn>
                    <a:cxn ang="0">
                      <a:pos x="1165" y="477"/>
                    </a:cxn>
                    <a:cxn ang="0">
                      <a:pos x="1198" y="553"/>
                    </a:cxn>
                    <a:cxn ang="0">
                      <a:pos x="1220" y="678"/>
                    </a:cxn>
                    <a:cxn ang="0">
                      <a:pos x="1028" y="982"/>
                    </a:cxn>
                    <a:cxn ang="0">
                      <a:pos x="772" y="1009"/>
                    </a:cxn>
                    <a:cxn ang="0">
                      <a:pos x="519" y="1067"/>
                    </a:cxn>
                    <a:cxn ang="0">
                      <a:pos x="295" y="1168"/>
                    </a:cxn>
                    <a:cxn ang="0">
                      <a:pos x="121" y="1322"/>
                    </a:cxn>
                    <a:cxn ang="0">
                      <a:pos x="18" y="1542"/>
                    </a:cxn>
                    <a:cxn ang="0">
                      <a:pos x="3" y="1780"/>
                    </a:cxn>
                    <a:cxn ang="0">
                      <a:pos x="40" y="1931"/>
                    </a:cxn>
                    <a:cxn ang="0">
                      <a:pos x="111" y="2057"/>
                    </a:cxn>
                    <a:cxn ang="0">
                      <a:pos x="213" y="2155"/>
                    </a:cxn>
                    <a:cxn ang="0">
                      <a:pos x="340" y="2227"/>
                    </a:cxn>
                    <a:cxn ang="0">
                      <a:pos x="485" y="2270"/>
                    </a:cxn>
                    <a:cxn ang="0">
                      <a:pos x="644" y="2285"/>
                    </a:cxn>
                    <a:cxn ang="0">
                      <a:pos x="797" y="2273"/>
                    </a:cxn>
                    <a:cxn ang="0">
                      <a:pos x="901" y="2248"/>
                    </a:cxn>
                    <a:cxn ang="0">
                      <a:pos x="995" y="2208"/>
                    </a:cxn>
                    <a:cxn ang="0">
                      <a:pos x="1082" y="2152"/>
                    </a:cxn>
                    <a:cxn ang="0">
                      <a:pos x="1155" y="2077"/>
                    </a:cxn>
                    <a:cxn ang="0">
                      <a:pos x="1214" y="1982"/>
                    </a:cxn>
                    <a:cxn ang="0">
                      <a:pos x="1224" y="1298"/>
                    </a:cxn>
                    <a:cxn ang="0">
                      <a:pos x="1211" y="1436"/>
                    </a:cxn>
                    <a:cxn ang="0">
                      <a:pos x="1178" y="1574"/>
                    </a:cxn>
                    <a:cxn ang="0">
                      <a:pos x="1124" y="1704"/>
                    </a:cxn>
                    <a:cxn ang="0">
                      <a:pos x="1044" y="1813"/>
                    </a:cxn>
                    <a:cxn ang="0">
                      <a:pos x="937" y="1891"/>
                    </a:cxn>
                    <a:cxn ang="0">
                      <a:pos x="799" y="1927"/>
                    </a:cxn>
                    <a:cxn ang="0">
                      <a:pos x="707" y="1923"/>
                    </a:cxn>
                    <a:cxn ang="0">
                      <a:pos x="641" y="1907"/>
                    </a:cxn>
                    <a:cxn ang="0">
                      <a:pos x="587" y="1877"/>
                    </a:cxn>
                    <a:cxn ang="0">
                      <a:pos x="545" y="1835"/>
                    </a:cxn>
                    <a:cxn ang="0">
                      <a:pos x="515" y="1780"/>
                    </a:cxn>
                    <a:cxn ang="0">
                      <a:pos x="499" y="1713"/>
                    </a:cxn>
                    <a:cxn ang="0">
                      <a:pos x="502" y="1607"/>
                    </a:cxn>
                    <a:cxn ang="0">
                      <a:pos x="558" y="1485"/>
                    </a:cxn>
                    <a:cxn ang="0">
                      <a:pos x="662" y="1396"/>
                    </a:cxn>
                    <a:cxn ang="0">
                      <a:pos x="798" y="1334"/>
                    </a:cxn>
                    <a:cxn ang="0">
                      <a:pos x="947" y="1297"/>
                    </a:cxn>
                    <a:cxn ang="0">
                      <a:pos x="1175" y="1272"/>
                    </a:cxn>
                  </a:cxnLst>
                  <a:rect l="0" t="0" r="r" b="b"/>
                  <a:pathLst>
                    <a:path w="1711" h="2285">
                      <a:moveTo>
                        <a:pt x="1711" y="2235"/>
                      </a:moveTo>
                      <a:lnTo>
                        <a:pt x="1711" y="679"/>
                      </a:lnTo>
                      <a:lnTo>
                        <a:pt x="1710" y="633"/>
                      </a:lnTo>
                      <a:lnTo>
                        <a:pt x="1707" y="589"/>
                      </a:lnTo>
                      <a:lnTo>
                        <a:pt x="1703" y="546"/>
                      </a:lnTo>
                      <a:lnTo>
                        <a:pt x="1697" y="505"/>
                      </a:lnTo>
                      <a:lnTo>
                        <a:pt x="1688" y="467"/>
                      </a:lnTo>
                      <a:lnTo>
                        <a:pt x="1678" y="430"/>
                      </a:lnTo>
                      <a:lnTo>
                        <a:pt x="1666" y="394"/>
                      </a:lnTo>
                      <a:lnTo>
                        <a:pt x="1652" y="361"/>
                      </a:lnTo>
                      <a:lnTo>
                        <a:pt x="1637" y="328"/>
                      </a:lnTo>
                      <a:lnTo>
                        <a:pt x="1620" y="299"/>
                      </a:lnTo>
                      <a:lnTo>
                        <a:pt x="1602" y="270"/>
                      </a:lnTo>
                      <a:lnTo>
                        <a:pt x="1582" y="243"/>
                      </a:lnTo>
                      <a:lnTo>
                        <a:pt x="1561" y="217"/>
                      </a:lnTo>
                      <a:lnTo>
                        <a:pt x="1538" y="194"/>
                      </a:lnTo>
                      <a:lnTo>
                        <a:pt x="1514" y="172"/>
                      </a:lnTo>
                      <a:lnTo>
                        <a:pt x="1487" y="151"/>
                      </a:lnTo>
                      <a:lnTo>
                        <a:pt x="1460" y="131"/>
                      </a:lnTo>
                      <a:lnTo>
                        <a:pt x="1432" y="113"/>
                      </a:lnTo>
                      <a:lnTo>
                        <a:pt x="1402" y="98"/>
                      </a:lnTo>
                      <a:lnTo>
                        <a:pt x="1372" y="82"/>
                      </a:lnTo>
                      <a:lnTo>
                        <a:pt x="1339" y="68"/>
                      </a:lnTo>
                      <a:lnTo>
                        <a:pt x="1306" y="57"/>
                      </a:lnTo>
                      <a:lnTo>
                        <a:pt x="1271" y="45"/>
                      </a:lnTo>
                      <a:lnTo>
                        <a:pt x="1236" y="36"/>
                      </a:lnTo>
                      <a:lnTo>
                        <a:pt x="1199" y="27"/>
                      </a:lnTo>
                      <a:lnTo>
                        <a:pt x="1162" y="20"/>
                      </a:lnTo>
                      <a:lnTo>
                        <a:pt x="1123" y="14"/>
                      </a:lnTo>
                      <a:lnTo>
                        <a:pt x="1083" y="9"/>
                      </a:lnTo>
                      <a:lnTo>
                        <a:pt x="1043" y="5"/>
                      </a:lnTo>
                      <a:lnTo>
                        <a:pt x="1001" y="2"/>
                      </a:lnTo>
                      <a:lnTo>
                        <a:pt x="959" y="1"/>
                      </a:lnTo>
                      <a:lnTo>
                        <a:pt x="916" y="0"/>
                      </a:lnTo>
                      <a:lnTo>
                        <a:pt x="872" y="1"/>
                      </a:lnTo>
                      <a:lnTo>
                        <a:pt x="831" y="3"/>
                      </a:lnTo>
                      <a:lnTo>
                        <a:pt x="789" y="5"/>
                      </a:lnTo>
                      <a:lnTo>
                        <a:pt x="748" y="10"/>
                      </a:lnTo>
                      <a:lnTo>
                        <a:pt x="709" y="15"/>
                      </a:lnTo>
                      <a:lnTo>
                        <a:pt x="670" y="21"/>
                      </a:lnTo>
                      <a:lnTo>
                        <a:pt x="631" y="30"/>
                      </a:lnTo>
                      <a:lnTo>
                        <a:pt x="593" y="39"/>
                      </a:lnTo>
                      <a:lnTo>
                        <a:pt x="556" y="48"/>
                      </a:lnTo>
                      <a:lnTo>
                        <a:pt x="520" y="61"/>
                      </a:lnTo>
                      <a:lnTo>
                        <a:pt x="486" y="74"/>
                      </a:lnTo>
                      <a:lnTo>
                        <a:pt x="452" y="88"/>
                      </a:lnTo>
                      <a:lnTo>
                        <a:pt x="419" y="104"/>
                      </a:lnTo>
                      <a:lnTo>
                        <a:pt x="388" y="121"/>
                      </a:lnTo>
                      <a:lnTo>
                        <a:pt x="357" y="140"/>
                      </a:lnTo>
                      <a:lnTo>
                        <a:pt x="328" y="160"/>
                      </a:lnTo>
                      <a:lnTo>
                        <a:pt x="301" y="180"/>
                      </a:lnTo>
                      <a:lnTo>
                        <a:pt x="274" y="204"/>
                      </a:lnTo>
                      <a:lnTo>
                        <a:pt x="249" y="229"/>
                      </a:lnTo>
                      <a:lnTo>
                        <a:pt x="226" y="255"/>
                      </a:lnTo>
                      <a:lnTo>
                        <a:pt x="204" y="282"/>
                      </a:lnTo>
                      <a:lnTo>
                        <a:pt x="184" y="311"/>
                      </a:lnTo>
                      <a:lnTo>
                        <a:pt x="166" y="342"/>
                      </a:lnTo>
                      <a:lnTo>
                        <a:pt x="149" y="374"/>
                      </a:lnTo>
                      <a:lnTo>
                        <a:pt x="134" y="408"/>
                      </a:lnTo>
                      <a:lnTo>
                        <a:pt x="121" y="444"/>
                      </a:lnTo>
                      <a:lnTo>
                        <a:pt x="109" y="481"/>
                      </a:lnTo>
                      <a:lnTo>
                        <a:pt x="100" y="520"/>
                      </a:lnTo>
                      <a:lnTo>
                        <a:pt x="93" y="561"/>
                      </a:lnTo>
                      <a:lnTo>
                        <a:pt x="87" y="603"/>
                      </a:lnTo>
                      <a:lnTo>
                        <a:pt x="84" y="647"/>
                      </a:lnTo>
                      <a:lnTo>
                        <a:pt x="83" y="693"/>
                      </a:lnTo>
                      <a:lnTo>
                        <a:pt x="579" y="693"/>
                      </a:lnTo>
                      <a:lnTo>
                        <a:pt x="580" y="673"/>
                      </a:lnTo>
                      <a:lnTo>
                        <a:pt x="581" y="654"/>
                      </a:lnTo>
                      <a:lnTo>
                        <a:pt x="582" y="635"/>
                      </a:lnTo>
                      <a:lnTo>
                        <a:pt x="584" y="616"/>
                      </a:lnTo>
                      <a:lnTo>
                        <a:pt x="588" y="600"/>
                      </a:lnTo>
                      <a:lnTo>
                        <a:pt x="592" y="582"/>
                      </a:lnTo>
                      <a:lnTo>
                        <a:pt x="596" y="566"/>
                      </a:lnTo>
                      <a:lnTo>
                        <a:pt x="601" y="550"/>
                      </a:lnTo>
                      <a:lnTo>
                        <a:pt x="607" y="535"/>
                      </a:lnTo>
                      <a:lnTo>
                        <a:pt x="613" y="520"/>
                      </a:lnTo>
                      <a:lnTo>
                        <a:pt x="620" y="506"/>
                      </a:lnTo>
                      <a:lnTo>
                        <a:pt x="628" y="493"/>
                      </a:lnTo>
                      <a:lnTo>
                        <a:pt x="636" y="480"/>
                      </a:lnTo>
                      <a:lnTo>
                        <a:pt x="644" y="468"/>
                      </a:lnTo>
                      <a:lnTo>
                        <a:pt x="655" y="456"/>
                      </a:lnTo>
                      <a:lnTo>
                        <a:pt x="664" y="445"/>
                      </a:lnTo>
                      <a:lnTo>
                        <a:pt x="676" y="435"/>
                      </a:lnTo>
                      <a:lnTo>
                        <a:pt x="687" y="425"/>
                      </a:lnTo>
                      <a:lnTo>
                        <a:pt x="699" y="416"/>
                      </a:lnTo>
                      <a:lnTo>
                        <a:pt x="712" y="408"/>
                      </a:lnTo>
                      <a:lnTo>
                        <a:pt x="725" y="400"/>
                      </a:lnTo>
                      <a:lnTo>
                        <a:pt x="740" y="393"/>
                      </a:lnTo>
                      <a:lnTo>
                        <a:pt x="755" y="386"/>
                      </a:lnTo>
                      <a:lnTo>
                        <a:pt x="769" y="381"/>
                      </a:lnTo>
                      <a:lnTo>
                        <a:pt x="785" y="375"/>
                      </a:lnTo>
                      <a:lnTo>
                        <a:pt x="802" y="371"/>
                      </a:lnTo>
                      <a:lnTo>
                        <a:pt x="820" y="367"/>
                      </a:lnTo>
                      <a:lnTo>
                        <a:pt x="838" y="364"/>
                      </a:lnTo>
                      <a:lnTo>
                        <a:pt x="856" y="362"/>
                      </a:lnTo>
                      <a:lnTo>
                        <a:pt x="876" y="360"/>
                      </a:lnTo>
                      <a:lnTo>
                        <a:pt x="895" y="359"/>
                      </a:lnTo>
                      <a:lnTo>
                        <a:pt x="916" y="359"/>
                      </a:lnTo>
                      <a:lnTo>
                        <a:pt x="939" y="359"/>
                      </a:lnTo>
                      <a:lnTo>
                        <a:pt x="961" y="361"/>
                      </a:lnTo>
                      <a:lnTo>
                        <a:pt x="982" y="363"/>
                      </a:lnTo>
                      <a:lnTo>
                        <a:pt x="1002" y="367"/>
                      </a:lnTo>
                      <a:lnTo>
                        <a:pt x="1020" y="371"/>
                      </a:lnTo>
                      <a:lnTo>
                        <a:pt x="1038" y="376"/>
                      </a:lnTo>
                      <a:lnTo>
                        <a:pt x="1054" y="383"/>
                      </a:lnTo>
                      <a:lnTo>
                        <a:pt x="1070" y="390"/>
                      </a:lnTo>
                      <a:lnTo>
                        <a:pt x="1085" y="398"/>
                      </a:lnTo>
                      <a:lnTo>
                        <a:pt x="1098" y="408"/>
                      </a:lnTo>
                      <a:lnTo>
                        <a:pt x="1112" y="417"/>
                      </a:lnTo>
                      <a:lnTo>
                        <a:pt x="1124" y="428"/>
                      </a:lnTo>
                      <a:lnTo>
                        <a:pt x="1135" y="439"/>
                      </a:lnTo>
                      <a:lnTo>
                        <a:pt x="1146" y="451"/>
                      </a:lnTo>
                      <a:lnTo>
                        <a:pt x="1155" y="463"/>
                      </a:lnTo>
                      <a:lnTo>
                        <a:pt x="1165" y="477"/>
                      </a:lnTo>
                      <a:lnTo>
                        <a:pt x="1172" y="491"/>
                      </a:lnTo>
                      <a:lnTo>
                        <a:pt x="1180" y="505"/>
                      </a:lnTo>
                      <a:lnTo>
                        <a:pt x="1187" y="521"/>
                      </a:lnTo>
                      <a:lnTo>
                        <a:pt x="1193" y="537"/>
                      </a:lnTo>
                      <a:lnTo>
                        <a:pt x="1198" y="553"/>
                      </a:lnTo>
                      <a:lnTo>
                        <a:pt x="1204" y="569"/>
                      </a:lnTo>
                      <a:lnTo>
                        <a:pt x="1208" y="587"/>
                      </a:lnTo>
                      <a:lnTo>
                        <a:pt x="1211" y="604"/>
                      </a:lnTo>
                      <a:lnTo>
                        <a:pt x="1217" y="641"/>
                      </a:lnTo>
                      <a:lnTo>
                        <a:pt x="1220" y="678"/>
                      </a:lnTo>
                      <a:lnTo>
                        <a:pt x="1223" y="717"/>
                      </a:lnTo>
                      <a:lnTo>
                        <a:pt x="1224" y="758"/>
                      </a:lnTo>
                      <a:lnTo>
                        <a:pt x="1224" y="973"/>
                      </a:lnTo>
                      <a:lnTo>
                        <a:pt x="1128" y="976"/>
                      </a:lnTo>
                      <a:lnTo>
                        <a:pt x="1028" y="982"/>
                      </a:lnTo>
                      <a:lnTo>
                        <a:pt x="978" y="985"/>
                      </a:lnTo>
                      <a:lnTo>
                        <a:pt x="926" y="991"/>
                      </a:lnTo>
                      <a:lnTo>
                        <a:pt x="875" y="996"/>
                      </a:lnTo>
                      <a:lnTo>
                        <a:pt x="823" y="1002"/>
                      </a:lnTo>
                      <a:lnTo>
                        <a:pt x="772" y="1009"/>
                      </a:lnTo>
                      <a:lnTo>
                        <a:pt x="720" y="1018"/>
                      </a:lnTo>
                      <a:lnTo>
                        <a:pt x="669" y="1028"/>
                      </a:lnTo>
                      <a:lnTo>
                        <a:pt x="618" y="1040"/>
                      </a:lnTo>
                      <a:lnTo>
                        <a:pt x="569" y="1052"/>
                      </a:lnTo>
                      <a:lnTo>
                        <a:pt x="519" y="1067"/>
                      </a:lnTo>
                      <a:lnTo>
                        <a:pt x="472" y="1084"/>
                      </a:lnTo>
                      <a:lnTo>
                        <a:pt x="426" y="1102"/>
                      </a:lnTo>
                      <a:lnTo>
                        <a:pt x="381" y="1122"/>
                      </a:lnTo>
                      <a:lnTo>
                        <a:pt x="337" y="1144"/>
                      </a:lnTo>
                      <a:lnTo>
                        <a:pt x="295" y="1168"/>
                      </a:lnTo>
                      <a:lnTo>
                        <a:pt x="256" y="1193"/>
                      </a:lnTo>
                      <a:lnTo>
                        <a:pt x="219" y="1222"/>
                      </a:lnTo>
                      <a:lnTo>
                        <a:pt x="184" y="1253"/>
                      </a:lnTo>
                      <a:lnTo>
                        <a:pt x="151" y="1286"/>
                      </a:lnTo>
                      <a:lnTo>
                        <a:pt x="121" y="1322"/>
                      </a:lnTo>
                      <a:lnTo>
                        <a:pt x="95" y="1360"/>
                      </a:lnTo>
                      <a:lnTo>
                        <a:pt x="70" y="1401"/>
                      </a:lnTo>
                      <a:lnTo>
                        <a:pt x="49" y="1445"/>
                      </a:lnTo>
                      <a:lnTo>
                        <a:pt x="33" y="1493"/>
                      </a:lnTo>
                      <a:lnTo>
                        <a:pt x="18" y="1542"/>
                      </a:lnTo>
                      <a:lnTo>
                        <a:pt x="8" y="1595"/>
                      </a:lnTo>
                      <a:lnTo>
                        <a:pt x="2" y="1652"/>
                      </a:lnTo>
                      <a:lnTo>
                        <a:pt x="0" y="1712"/>
                      </a:lnTo>
                      <a:lnTo>
                        <a:pt x="1" y="1746"/>
                      </a:lnTo>
                      <a:lnTo>
                        <a:pt x="3" y="1780"/>
                      </a:lnTo>
                      <a:lnTo>
                        <a:pt x="7" y="1811"/>
                      </a:lnTo>
                      <a:lnTo>
                        <a:pt x="14" y="1843"/>
                      </a:lnTo>
                      <a:lnTo>
                        <a:pt x="21" y="1873"/>
                      </a:lnTo>
                      <a:lnTo>
                        <a:pt x="29" y="1902"/>
                      </a:lnTo>
                      <a:lnTo>
                        <a:pt x="40" y="1931"/>
                      </a:lnTo>
                      <a:lnTo>
                        <a:pt x="52" y="1958"/>
                      </a:lnTo>
                      <a:lnTo>
                        <a:pt x="64" y="1984"/>
                      </a:lnTo>
                      <a:lnTo>
                        <a:pt x="79" y="2009"/>
                      </a:lnTo>
                      <a:lnTo>
                        <a:pt x="95" y="2033"/>
                      </a:lnTo>
                      <a:lnTo>
                        <a:pt x="111" y="2057"/>
                      </a:lnTo>
                      <a:lnTo>
                        <a:pt x="129" y="2079"/>
                      </a:lnTo>
                      <a:lnTo>
                        <a:pt x="149" y="2099"/>
                      </a:lnTo>
                      <a:lnTo>
                        <a:pt x="169" y="2119"/>
                      </a:lnTo>
                      <a:lnTo>
                        <a:pt x="191" y="2137"/>
                      </a:lnTo>
                      <a:lnTo>
                        <a:pt x="213" y="2155"/>
                      </a:lnTo>
                      <a:lnTo>
                        <a:pt x="237" y="2172"/>
                      </a:lnTo>
                      <a:lnTo>
                        <a:pt x="262" y="2188"/>
                      </a:lnTo>
                      <a:lnTo>
                        <a:pt x="287" y="2201"/>
                      </a:lnTo>
                      <a:lnTo>
                        <a:pt x="312" y="2215"/>
                      </a:lnTo>
                      <a:lnTo>
                        <a:pt x="340" y="2227"/>
                      </a:lnTo>
                      <a:lnTo>
                        <a:pt x="367" y="2238"/>
                      </a:lnTo>
                      <a:lnTo>
                        <a:pt x="396" y="2247"/>
                      </a:lnTo>
                      <a:lnTo>
                        <a:pt x="425" y="2257"/>
                      </a:lnTo>
                      <a:lnTo>
                        <a:pt x="455" y="2264"/>
                      </a:lnTo>
                      <a:lnTo>
                        <a:pt x="485" y="2270"/>
                      </a:lnTo>
                      <a:lnTo>
                        <a:pt x="516" y="2276"/>
                      </a:lnTo>
                      <a:lnTo>
                        <a:pt x="548" y="2280"/>
                      </a:lnTo>
                      <a:lnTo>
                        <a:pt x="579" y="2283"/>
                      </a:lnTo>
                      <a:lnTo>
                        <a:pt x="612" y="2284"/>
                      </a:lnTo>
                      <a:lnTo>
                        <a:pt x="644" y="2285"/>
                      </a:lnTo>
                      <a:lnTo>
                        <a:pt x="689" y="2284"/>
                      </a:lnTo>
                      <a:lnTo>
                        <a:pt x="733" y="2281"/>
                      </a:lnTo>
                      <a:lnTo>
                        <a:pt x="755" y="2279"/>
                      </a:lnTo>
                      <a:lnTo>
                        <a:pt x="776" y="2277"/>
                      </a:lnTo>
                      <a:lnTo>
                        <a:pt x="797" y="2273"/>
                      </a:lnTo>
                      <a:lnTo>
                        <a:pt x="819" y="2269"/>
                      </a:lnTo>
                      <a:lnTo>
                        <a:pt x="839" y="2265"/>
                      </a:lnTo>
                      <a:lnTo>
                        <a:pt x="860" y="2260"/>
                      </a:lnTo>
                      <a:lnTo>
                        <a:pt x="880" y="2255"/>
                      </a:lnTo>
                      <a:lnTo>
                        <a:pt x="901" y="2248"/>
                      </a:lnTo>
                      <a:lnTo>
                        <a:pt x="920" y="2242"/>
                      </a:lnTo>
                      <a:lnTo>
                        <a:pt x="940" y="2235"/>
                      </a:lnTo>
                      <a:lnTo>
                        <a:pt x="959" y="2226"/>
                      </a:lnTo>
                      <a:lnTo>
                        <a:pt x="978" y="2218"/>
                      </a:lnTo>
                      <a:lnTo>
                        <a:pt x="995" y="2208"/>
                      </a:lnTo>
                      <a:lnTo>
                        <a:pt x="1013" y="2199"/>
                      </a:lnTo>
                      <a:lnTo>
                        <a:pt x="1031" y="2189"/>
                      </a:lnTo>
                      <a:lnTo>
                        <a:pt x="1048" y="2177"/>
                      </a:lnTo>
                      <a:lnTo>
                        <a:pt x="1065" y="2164"/>
                      </a:lnTo>
                      <a:lnTo>
                        <a:pt x="1082" y="2152"/>
                      </a:lnTo>
                      <a:lnTo>
                        <a:pt x="1097" y="2138"/>
                      </a:lnTo>
                      <a:lnTo>
                        <a:pt x="1112" y="2125"/>
                      </a:lnTo>
                      <a:lnTo>
                        <a:pt x="1127" y="2110"/>
                      </a:lnTo>
                      <a:lnTo>
                        <a:pt x="1142" y="2094"/>
                      </a:lnTo>
                      <a:lnTo>
                        <a:pt x="1155" y="2077"/>
                      </a:lnTo>
                      <a:lnTo>
                        <a:pt x="1168" y="2060"/>
                      </a:lnTo>
                      <a:lnTo>
                        <a:pt x="1180" y="2042"/>
                      </a:lnTo>
                      <a:lnTo>
                        <a:pt x="1192" y="2023"/>
                      </a:lnTo>
                      <a:lnTo>
                        <a:pt x="1204" y="2003"/>
                      </a:lnTo>
                      <a:lnTo>
                        <a:pt x="1214" y="1982"/>
                      </a:lnTo>
                      <a:lnTo>
                        <a:pt x="1224" y="1982"/>
                      </a:lnTo>
                      <a:lnTo>
                        <a:pt x="1224" y="2235"/>
                      </a:lnTo>
                      <a:lnTo>
                        <a:pt x="1711" y="2235"/>
                      </a:lnTo>
                      <a:close/>
                      <a:moveTo>
                        <a:pt x="1224" y="1272"/>
                      </a:moveTo>
                      <a:lnTo>
                        <a:pt x="1224" y="1298"/>
                      </a:lnTo>
                      <a:lnTo>
                        <a:pt x="1223" y="1325"/>
                      </a:lnTo>
                      <a:lnTo>
                        <a:pt x="1220" y="1352"/>
                      </a:lnTo>
                      <a:lnTo>
                        <a:pt x="1218" y="1379"/>
                      </a:lnTo>
                      <a:lnTo>
                        <a:pt x="1215" y="1408"/>
                      </a:lnTo>
                      <a:lnTo>
                        <a:pt x="1211" y="1436"/>
                      </a:lnTo>
                      <a:lnTo>
                        <a:pt x="1206" y="1463"/>
                      </a:lnTo>
                      <a:lnTo>
                        <a:pt x="1200" y="1492"/>
                      </a:lnTo>
                      <a:lnTo>
                        <a:pt x="1194" y="1520"/>
                      </a:lnTo>
                      <a:lnTo>
                        <a:pt x="1187" y="1547"/>
                      </a:lnTo>
                      <a:lnTo>
                        <a:pt x="1178" y="1574"/>
                      </a:lnTo>
                      <a:lnTo>
                        <a:pt x="1169" y="1602"/>
                      </a:lnTo>
                      <a:lnTo>
                        <a:pt x="1159" y="1628"/>
                      </a:lnTo>
                      <a:lnTo>
                        <a:pt x="1148" y="1654"/>
                      </a:lnTo>
                      <a:lnTo>
                        <a:pt x="1136" y="1679"/>
                      </a:lnTo>
                      <a:lnTo>
                        <a:pt x="1124" y="1704"/>
                      </a:lnTo>
                      <a:lnTo>
                        <a:pt x="1110" y="1727"/>
                      </a:lnTo>
                      <a:lnTo>
                        <a:pt x="1095" y="1750"/>
                      </a:lnTo>
                      <a:lnTo>
                        <a:pt x="1079" y="1772"/>
                      </a:lnTo>
                      <a:lnTo>
                        <a:pt x="1062" y="1793"/>
                      </a:lnTo>
                      <a:lnTo>
                        <a:pt x="1044" y="1813"/>
                      </a:lnTo>
                      <a:lnTo>
                        <a:pt x="1025" y="1831"/>
                      </a:lnTo>
                      <a:lnTo>
                        <a:pt x="1004" y="1849"/>
                      </a:lnTo>
                      <a:lnTo>
                        <a:pt x="983" y="1864"/>
                      </a:lnTo>
                      <a:lnTo>
                        <a:pt x="961" y="1878"/>
                      </a:lnTo>
                      <a:lnTo>
                        <a:pt x="937" y="1891"/>
                      </a:lnTo>
                      <a:lnTo>
                        <a:pt x="911" y="1901"/>
                      </a:lnTo>
                      <a:lnTo>
                        <a:pt x="885" y="1911"/>
                      </a:lnTo>
                      <a:lnTo>
                        <a:pt x="858" y="1918"/>
                      </a:lnTo>
                      <a:lnTo>
                        <a:pt x="829" y="1923"/>
                      </a:lnTo>
                      <a:lnTo>
                        <a:pt x="799" y="1927"/>
                      </a:lnTo>
                      <a:lnTo>
                        <a:pt x="768" y="1928"/>
                      </a:lnTo>
                      <a:lnTo>
                        <a:pt x="753" y="1927"/>
                      </a:lnTo>
                      <a:lnTo>
                        <a:pt x="737" y="1927"/>
                      </a:lnTo>
                      <a:lnTo>
                        <a:pt x="722" y="1924"/>
                      </a:lnTo>
                      <a:lnTo>
                        <a:pt x="707" y="1923"/>
                      </a:lnTo>
                      <a:lnTo>
                        <a:pt x="694" y="1921"/>
                      </a:lnTo>
                      <a:lnTo>
                        <a:pt x="680" y="1918"/>
                      </a:lnTo>
                      <a:lnTo>
                        <a:pt x="666" y="1915"/>
                      </a:lnTo>
                      <a:lnTo>
                        <a:pt x="654" y="1911"/>
                      </a:lnTo>
                      <a:lnTo>
                        <a:pt x="641" y="1907"/>
                      </a:lnTo>
                      <a:lnTo>
                        <a:pt x="630" y="1901"/>
                      </a:lnTo>
                      <a:lnTo>
                        <a:pt x="618" y="1896"/>
                      </a:lnTo>
                      <a:lnTo>
                        <a:pt x="608" y="1890"/>
                      </a:lnTo>
                      <a:lnTo>
                        <a:pt x="597" y="1884"/>
                      </a:lnTo>
                      <a:lnTo>
                        <a:pt x="587" y="1877"/>
                      </a:lnTo>
                      <a:lnTo>
                        <a:pt x="577" y="1870"/>
                      </a:lnTo>
                      <a:lnTo>
                        <a:pt x="569" y="1862"/>
                      </a:lnTo>
                      <a:lnTo>
                        <a:pt x="560" y="1853"/>
                      </a:lnTo>
                      <a:lnTo>
                        <a:pt x="552" y="1845"/>
                      </a:lnTo>
                      <a:lnTo>
                        <a:pt x="545" y="1835"/>
                      </a:lnTo>
                      <a:lnTo>
                        <a:pt x="538" y="1825"/>
                      </a:lnTo>
                      <a:lnTo>
                        <a:pt x="531" y="1814"/>
                      </a:lnTo>
                      <a:lnTo>
                        <a:pt x="526" y="1804"/>
                      </a:lnTo>
                      <a:lnTo>
                        <a:pt x="520" y="1792"/>
                      </a:lnTo>
                      <a:lnTo>
                        <a:pt x="515" y="1780"/>
                      </a:lnTo>
                      <a:lnTo>
                        <a:pt x="511" y="1767"/>
                      </a:lnTo>
                      <a:lnTo>
                        <a:pt x="507" y="1755"/>
                      </a:lnTo>
                      <a:lnTo>
                        <a:pt x="504" y="1741"/>
                      </a:lnTo>
                      <a:lnTo>
                        <a:pt x="501" y="1726"/>
                      </a:lnTo>
                      <a:lnTo>
                        <a:pt x="499" y="1713"/>
                      </a:lnTo>
                      <a:lnTo>
                        <a:pt x="498" y="1697"/>
                      </a:lnTo>
                      <a:lnTo>
                        <a:pt x="497" y="1681"/>
                      </a:lnTo>
                      <a:lnTo>
                        <a:pt x="497" y="1666"/>
                      </a:lnTo>
                      <a:lnTo>
                        <a:pt x="498" y="1635"/>
                      </a:lnTo>
                      <a:lnTo>
                        <a:pt x="502" y="1607"/>
                      </a:lnTo>
                      <a:lnTo>
                        <a:pt x="509" y="1580"/>
                      </a:lnTo>
                      <a:lnTo>
                        <a:pt x="518" y="1553"/>
                      </a:lnTo>
                      <a:lnTo>
                        <a:pt x="530" y="1529"/>
                      </a:lnTo>
                      <a:lnTo>
                        <a:pt x="542" y="1506"/>
                      </a:lnTo>
                      <a:lnTo>
                        <a:pt x="558" y="1485"/>
                      </a:lnTo>
                      <a:lnTo>
                        <a:pt x="576" y="1464"/>
                      </a:lnTo>
                      <a:lnTo>
                        <a:pt x="595" y="1445"/>
                      </a:lnTo>
                      <a:lnTo>
                        <a:pt x="616" y="1428"/>
                      </a:lnTo>
                      <a:lnTo>
                        <a:pt x="639" y="1411"/>
                      </a:lnTo>
                      <a:lnTo>
                        <a:pt x="662" y="1396"/>
                      </a:lnTo>
                      <a:lnTo>
                        <a:pt x="687" y="1382"/>
                      </a:lnTo>
                      <a:lnTo>
                        <a:pt x="714" y="1368"/>
                      </a:lnTo>
                      <a:lnTo>
                        <a:pt x="741" y="1356"/>
                      </a:lnTo>
                      <a:lnTo>
                        <a:pt x="768" y="1345"/>
                      </a:lnTo>
                      <a:lnTo>
                        <a:pt x="798" y="1334"/>
                      </a:lnTo>
                      <a:lnTo>
                        <a:pt x="826" y="1325"/>
                      </a:lnTo>
                      <a:lnTo>
                        <a:pt x="857" y="1317"/>
                      </a:lnTo>
                      <a:lnTo>
                        <a:pt x="886" y="1309"/>
                      </a:lnTo>
                      <a:lnTo>
                        <a:pt x="917" y="1302"/>
                      </a:lnTo>
                      <a:lnTo>
                        <a:pt x="947" y="1297"/>
                      </a:lnTo>
                      <a:lnTo>
                        <a:pt x="978" y="1291"/>
                      </a:lnTo>
                      <a:lnTo>
                        <a:pt x="1007" y="1286"/>
                      </a:lnTo>
                      <a:lnTo>
                        <a:pt x="1066" y="1279"/>
                      </a:lnTo>
                      <a:lnTo>
                        <a:pt x="1123" y="1275"/>
                      </a:lnTo>
                      <a:lnTo>
                        <a:pt x="1175" y="1272"/>
                      </a:lnTo>
                      <a:lnTo>
                        <a:pt x="1224" y="1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1" name="Freeform 6"/>
                <p:cNvSpPr>
                  <a:spLocks/>
                </p:cNvSpPr>
                <p:nvPr userDrawn="1"/>
              </p:nvSpPr>
              <p:spPr bwMode="auto">
                <a:xfrm>
                  <a:off x="1211263" y="2555875"/>
                  <a:ext cx="265112" cy="330200"/>
                </a:xfrm>
                <a:custGeom>
                  <a:avLst/>
                  <a:gdLst/>
                  <a:ahLst/>
                  <a:cxnLst>
                    <a:cxn ang="0">
                      <a:pos x="1287"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2" y="497"/>
                    </a:cxn>
                    <a:cxn ang="0">
                      <a:pos x="619" y="581"/>
                    </a:cxn>
                    <a:cxn ang="0">
                      <a:pos x="582" y="676"/>
                    </a:cxn>
                    <a:cxn ang="0">
                      <a:pos x="558" y="777"/>
                    </a:cxn>
                    <a:cxn ang="0">
                      <a:pos x="546" y="880"/>
                    </a:cxn>
                    <a:cxn ang="0">
                      <a:pos x="544" y="1006"/>
                    </a:cxn>
                    <a:cxn ang="0">
                      <a:pos x="566" y="1202"/>
                    </a:cxn>
                    <a:cxn ang="0">
                      <a:pos x="617" y="1383"/>
                    </a:cxn>
                    <a:cxn ang="0">
                      <a:pos x="698" y="1543"/>
                    </a:cxn>
                    <a:cxn ang="0">
                      <a:pos x="805" y="1679"/>
                    </a:cxn>
                    <a:cxn ang="0">
                      <a:pos x="941" y="1789"/>
                    </a:cxn>
                    <a:cxn ang="0">
                      <a:pos x="1102" y="1870"/>
                    </a:cxn>
                    <a:cxn ang="0">
                      <a:pos x="1288" y="1916"/>
                    </a:cxn>
                    <a:cxn ang="0">
                      <a:pos x="1491" y="1927"/>
                    </a:cxn>
                    <a:cxn ang="0">
                      <a:pos x="1653" y="1912"/>
                    </a:cxn>
                    <a:cxn ang="0">
                      <a:pos x="1745" y="1893"/>
                    </a:cxn>
                    <a:cxn ang="0">
                      <a:pos x="1812" y="2184"/>
                    </a:cxn>
                    <a:cxn ang="0">
                      <a:pos x="1656" y="2227"/>
                    </a:cxn>
                    <a:cxn ang="0">
                      <a:pos x="1496" y="2259"/>
                    </a:cxn>
                    <a:cxn ang="0">
                      <a:pos x="1335" y="2279"/>
                    </a:cxn>
                    <a:cxn ang="0">
                      <a:pos x="1173" y="2285"/>
                    </a:cxn>
                    <a:cxn ang="0">
                      <a:pos x="898" y="2263"/>
                    </a:cxn>
                    <a:cxn ang="0">
                      <a:pos x="659" y="2199"/>
                    </a:cxn>
                    <a:cxn ang="0">
                      <a:pos x="458" y="2094"/>
                    </a:cxn>
                    <a:cxn ang="0">
                      <a:pos x="293" y="1952"/>
                    </a:cxn>
                    <a:cxn ang="0">
                      <a:pos x="165" y="1772"/>
                    </a:cxn>
                    <a:cxn ang="0">
                      <a:pos x="73" y="1561"/>
                    </a:cxn>
                    <a:cxn ang="0">
                      <a:pos x="18" y="1319"/>
                    </a:cxn>
                    <a:cxn ang="0">
                      <a:pos x="0" y="1046"/>
                    </a:cxn>
                    <a:cxn ang="0">
                      <a:pos x="16" y="820"/>
                    </a:cxn>
                    <a:cxn ang="0">
                      <a:pos x="64" y="616"/>
                    </a:cxn>
                    <a:cxn ang="0">
                      <a:pos x="144" y="437"/>
                    </a:cxn>
                    <a:cxn ang="0">
                      <a:pos x="255" y="286"/>
                    </a:cxn>
                    <a:cxn ang="0">
                      <a:pos x="396" y="165"/>
                    </a:cxn>
                    <a:cxn ang="0">
                      <a:pos x="569" y="75"/>
                    </a:cxn>
                    <a:cxn ang="0">
                      <a:pos x="771" y="19"/>
                    </a:cxn>
                    <a:cxn ang="0">
                      <a:pos x="1003" y="0"/>
                    </a:cxn>
                    <a:cxn ang="0">
                      <a:pos x="1192" y="13"/>
                    </a:cxn>
                    <a:cxn ang="0">
                      <a:pos x="1358" y="49"/>
                    </a:cxn>
                    <a:cxn ang="0">
                      <a:pos x="1501" y="111"/>
                    </a:cxn>
                    <a:cxn ang="0">
                      <a:pos x="1619" y="198"/>
                    </a:cxn>
                    <a:cxn ang="0">
                      <a:pos x="1713" y="310"/>
                    </a:cxn>
                    <a:cxn ang="0">
                      <a:pos x="1781" y="448"/>
                    </a:cxn>
                    <a:cxn ang="0">
                      <a:pos x="1822" y="610"/>
                    </a:cxn>
                    <a:cxn ang="0">
                      <a:pos x="1836" y="799"/>
                    </a:cxn>
                  </a:cxnLst>
                  <a:rect l="0" t="0" r="r" b="b"/>
                  <a:pathLst>
                    <a:path w="1836" h="2285">
                      <a:moveTo>
                        <a:pt x="1293" y="799"/>
                      </a:moveTo>
                      <a:lnTo>
                        <a:pt x="1292" y="757"/>
                      </a:lnTo>
                      <a:lnTo>
                        <a:pt x="1289" y="715"/>
                      </a:lnTo>
                      <a:lnTo>
                        <a:pt x="1287" y="695"/>
                      </a:lnTo>
                      <a:lnTo>
                        <a:pt x="1285" y="675"/>
                      </a:lnTo>
                      <a:lnTo>
                        <a:pt x="1282" y="655"/>
                      </a:lnTo>
                      <a:lnTo>
                        <a:pt x="1278" y="635"/>
                      </a:lnTo>
                      <a:lnTo>
                        <a:pt x="1274" y="616"/>
                      </a:lnTo>
                      <a:lnTo>
                        <a:pt x="1270" y="598"/>
                      </a:lnTo>
                      <a:lnTo>
                        <a:pt x="1264" y="579"/>
                      </a:lnTo>
                      <a:lnTo>
                        <a:pt x="1258" y="561"/>
                      </a:lnTo>
                      <a:lnTo>
                        <a:pt x="1251" y="543"/>
                      </a:lnTo>
                      <a:lnTo>
                        <a:pt x="1244" y="526"/>
                      </a:lnTo>
                      <a:lnTo>
                        <a:pt x="1236" y="511"/>
                      </a:lnTo>
                      <a:lnTo>
                        <a:pt x="1227" y="494"/>
                      </a:lnTo>
                      <a:lnTo>
                        <a:pt x="1217" y="479"/>
                      </a:lnTo>
                      <a:lnTo>
                        <a:pt x="1207" y="464"/>
                      </a:lnTo>
                      <a:lnTo>
                        <a:pt x="1195" y="452"/>
                      </a:lnTo>
                      <a:lnTo>
                        <a:pt x="1184" y="438"/>
                      </a:lnTo>
                      <a:lnTo>
                        <a:pt x="1170" y="427"/>
                      </a:lnTo>
                      <a:lnTo>
                        <a:pt x="1156" y="415"/>
                      </a:lnTo>
                      <a:lnTo>
                        <a:pt x="1142" y="405"/>
                      </a:lnTo>
                      <a:lnTo>
                        <a:pt x="1126" y="395"/>
                      </a:lnTo>
                      <a:lnTo>
                        <a:pt x="1109" y="387"/>
                      </a:lnTo>
                      <a:lnTo>
                        <a:pt x="1091" y="380"/>
                      </a:lnTo>
                      <a:lnTo>
                        <a:pt x="1072" y="373"/>
                      </a:lnTo>
                      <a:lnTo>
                        <a:pt x="1052" y="368"/>
                      </a:lnTo>
                      <a:lnTo>
                        <a:pt x="1031" y="364"/>
                      </a:lnTo>
                      <a:lnTo>
                        <a:pt x="1009" y="361"/>
                      </a:lnTo>
                      <a:lnTo>
                        <a:pt x="986" y="359"/>
                      </a:lnTo>
                      <a:lnTo>
                        <a:pt x="962" y="359"/>
                      </a:lnTo>
                      <a:lnTo>
                        <a:pt x="931" y="360"/>
                      </a:lnTo>
                      <a:lnTo>
                        <a:pt x="904" y="362"/>
                      </a:lnTo>
                      <a:lnTo>
                        <a:pt x="877" y="367"/>
                      </a:lnTo>
                      <a:lnTo>
                        <a:pt x="851" y="373"/>
                      </a:lnTo>
                      <a:lnTo>
                        <a:pt x="826" y="382"/>
                      </a:lnTo>
                      <a:lnTo>
                        <a:pt x="803" y="391"/>
                      </a:lnTo>
                      <a:lnTo>
                        <a:pt x="781" y="403"/>
                      </a:lnTo>
                      <a:lnTo>
                        <a:pt x="760" y="415"/>
                      </a:lnTo>
                      <a:lnTo>
                        <a:pt x="740" y="429"/>
                      </a:lnTo>
                      <a:lnTo>
                        <a:pt x="721" y="445"/>
                      </a:lnTo>
                      <a:lnTo>
                        <a:pt x="704" y="460"/>
                      </a:lnTo>
                      <a:lnTo>
                        <a:pt x="688" y="478"/>
                      </a:lnTo>
                      <a:lnTo>
                        <a:pt x="672" y="497"/>
                      </a:lnTo>
                      <a:lnTo>
                        <a:pt x="657" y="517"/>
                      </a:lnTo>
                      <a:lnTo>
                        <a:pt x="643" y="537"/>
                      </a:lnTo>
                      <a:lnTo>
                        <a:pt x="631" y="559"/>
                      </a:lnTo>
                      <a:lnTo>
                        <a:pt x="619" y="581"/>
                      </a:lnTo>
                      <a:lnTo>
                        <a:pt x="609" y="604"/>
                      </a:lnTo>
                      <a:lnTo>
                        <a:pt x="599" y="627"/>
                      </a:lnTo>
                      <a:lnTo>
                        <a:pt x="590" y="651"/>
                      </a:lnTo>
                      <a:lnTo>
                        <a:pt x="582" y="676"/>
                      </a:lnTo>
                      <a:lnTo>
                        <a:pt x="575" y="700"/>
                      </a:lnTo>
                      <a:lnTo>
                        <a:pt x="569" y="725"/>
                      </a:lnTo>
                      <a:lnTo>
                        <a:pt x="563" y="752"/>
                      </a:lnTo>
                      <a:lnTo>
                        <a:pt x="558" y="777"/>
                      </a:lnTo>
                      <a:lnTo>
                        <a:pt x="554" y="803"/>
                      </a:lnTo>
                      <a:lnTo>
                        <a:pt x="550" y="828"/>
                      </a:lnTo>
                      <a:lnTo>
                        <a:pt x="548" y="854"/>
                      </a:lnTo>
                      <a:lnTo>
                        <a:pt x="546" y="880"/>
                      </a:lnTo>
                      <a:lnTo>
                        <a:pt x="544" y="905"/>
                      </a:lnTo>
                      <a:lnTo>
                        <a:pt x="543" y="930"/>
                      </a:lnTo>
                      <a:lnTo>
                        <a:pt x="543" y="955"/>
                      </a:lnTo>
                      <a:lnTo>
                        <a:pt x="544" y="1006"/>
                      </a:lnTo>
                      <a:lnTo>
                        <a:pt x="547" y="1057"/>
                      </a:lnTo>
                      <a:lnTo>
                        <a:pt x="551" y="1106"/>
                      </a:lnTo>
                      <a:lnTo>
                        <a:pt x="557" y="1155"/>
                      </a:lnTo>
                      <a:lnTo>
                        <a:pt x="566" y="1202"/>
                      </a:lnTo>
                      <a:lnTo>
                        <a:pt x="576" y="1250"/>
                      </a:lnTo>
                      <a:lnTo>
                        <a:pt x="588" y="1295"/>
                      </a:lnTo>
                      <a:lnTo>
                        <a:pt x="602" y="1339"/>
                      </a:lnTo>
                      <a:lnTo>
                        <a:pt x="617" y="1383"/>
                      </a:lnTo>
                      <a:lnTo>
                        <a:pt x="635" y="1425"/>
                      </a:lnTo>
                      <a:lnTo>
                        <a:pt x="654" y="1465"/>
                      </a:lnTo>
                      <a:lnTo>
                        <a:pt x="675" y="1504"/>
                      </a:lnTo>
                      <a:lnTo>
                        <a:pt x="698" y="1543"/>
                      </a:lnTo>
                      <a:lnTo>
                        <a:pt x="722" y="1579"/>
                      </a:lnTo>
                      <a:lnTo>
                        <a:pt x="749" y="1614"/>
                      </a:lnTo>
                      <a:lnTo>
                        <a:pt x="776" y="1648"/>
                      </a:lnTo>
                      <a:lnTo>
                        <a:pt x="805" y="1679"/>
                      </a:lnTo>
                      <a:lnTo>
                        <a:pt x="837" y="1710"/>
                      </a:lnTo>
                      <a:lnTo>
                        <a:pt x="869" y="1738"/>
                      </a:lnTo>
                      <a:lnTo>
                        <a:pt x="904" y="1765"/>
                      </a:lnTo>
                      <a:lnTo>
                        <a:pt x="941" y="1789"/>
                      </a:lnTo>
                      <a:lnTo>
                        <a:pt x="979" y="1812"/>
                      </a:lnTo>
                      <a:lnTo>
                        <a:pt x="1018" y="1833"/>
                      </a:lnTo>
                      <a:lnTo>
                        <a:pt x="1059" y="1853"/>
                      </a:lnTo>
                      <a:lnTo>
                        <a:pt x="1102" y="1870"/>
                      </a:lnTo>
                      <a:lnTo>
                        <a:pt x="1146" y="1885"/>
                      </a:lnTo>
                      <a:lnTo>
                        <a:pt x="1192" y="1897"/>
                      </a:lnTo>
                      <a:lnTo>
                        <a:pt x="1239" y="1908"/>
                      </a:lnTo>
                      <a:lnTo>
                        <a:pt x="1288" y="1916"/>
                      </a:lnTo>
                      <a:lnTo>
                        <a:pt x="1338" y="1922"/>
                      </a:lnTo>
                      <a:lnTo>
                        <a:pt x="1391" y="1926"/>
                      </a:lnTo>
                      <a:lnTo>
                        <a:pt x="1444" y="1928"/>
                      </a:lnTo>
                      <a:lnTo>
                        <a:pt x="1491" y="1927"/>
                      </a:lnTo>
                      <a:lnTo>
                        <a:pt x="1537" y="1924"/>
                      </a:lnTo>
                      <a:lnTo>
                        <a:pt x="1584" y="1920"/>
                      </a:lnTo>
                      <a:lnTo>
                        <a:pt x="1631" y="1915"/>
                      </a:lnTo>
                      <a:lnTo>
                        <a:pt x="1653" y="1912"/>
                      </a:lnTo>
                      <a:lnTo>
                        <a:pt x="1676" y="1908"/>
                      </a:lnTo>
                      <a:lnTo>
                        <a:pt x="1699" y="1904"/>
                      </a:lnTo>
                      <a:lnTo>
                        <a:pt x="1722" y="1898"/>
                      </a:lnTo>
                      <a:lnTo>
                        <a:pt x="1745" y="1893"/>
                      </a:lnTo>
                      <a:lnTo>
                        <a:pt x="1767" y="1887"/>
                      </a:lnTo>
                      <a:lnTo>
                        <a:pt x="1790" y="1879"/>
                      </a:lnTo>
                      <a:lnTo>
                        <a:pt x="1812" y="1872"/>
                      </a:lnTo>
                      <a:lnTo>
                        <a:pt x="1812" y="2184"/>
                      </a:lnTo>
                      <a:lnTo>
                        <a:pt x="1773" y="2196"/>
                      </a:lnTo>
                      <a:lnTo>
                        <a:pt x="1735" y="2207"/>
                      </a:lnTo>
                      <a:lnTo>
                        <a:pt x="1695" y="2217"/>
                      </a:lnTo>
                      <a:lnTo>
                        <a:pt x="1656" y="2227"/>
                      </a:lnTo>
                      <a:lnTo>
                        <a:pt x="1616" y="2236"/>
                      </a:lnTo>
                      <a:lnTo>
                        <a:pt x="1576" y="2244"/>
                      </a:lnTo>
                      <a:lnTo>
                        <a:pt x="1536" y="2251"/>
                      </a:lnTo>
                      <a:lnTo>
                        <a:pt x="1496" y="2259"/>
                      </a:lnTo>
                      <a:lnTo>
                        <a:pt x="1456" y="2265"/>
                      </a:lnTo>
                      <a:lnTo>
                        <a:pt x="1416" y="2270"/>
                      </a:lnTo>
                      <a:lnTo>
                        <a:pt x="1375" y="2275"/>
                      </a:lnTo>
                      <a:lnTo>
                        <a:pt x="1335" y="2279"/>
                      </a:lnTo>
                      <a:lnTo>
                        <a:pt x="1294" y="2281"/>
                      </a:lnTo>
                      <a:lnTo>
                        <a:pt x="1254" y="2283"/>
                      </a:lnTo>
                      <a:lnTo>
                        <a:pt x="1213" y="2285"/>
                      </a:lnTo>
                      <a:lnTo>
                        <a:pt x="1173" y="2285"/>
                      </a:lnTo>
                      <a:lnTo>
                        <a:pt x="1101" y="2284"/>
                      </a:lnTo>
                      <a:lnTo>
                        <a:pt x="1031" y="2280"/>
                      </a:lnTo>
                      <a:lnTo>
                        <a:pt x="963" y="2272"/>
                      </a:lnTo>
                      <a:lnTo>
                        <a:pt x="898" y="2263"/>
                      </a:lnTo>
                      <a:lnTo>
                        <a:pt x="835" y="2250"/>
                      </a:lnTo>
                      <a:lnTo>
                        <a:pt x="774" y="2236"/>
                      </a:lnTo>
                      <a:lnTo>
                        <a:pt x="716" y="2219"/>
                      </a:lnTo>
                      <a:lnTo>
                        <a:pt x="659" y="2199"/>
                      </a:lnTo>
                      <a:lnTo>
                        <a:pt x="606" y="2176"/>
                      </a:lnTo>
                      <a:lnTo>
                        <a:pt x="554" y="2151"/>
                      </a:lnTo>
                      <a:lnTo>
                        <a:pt x="505" y="2124"/>
                      </a:lnTo>
                      <a:lnTo>
                        <a:pt x="458" y="2094"/>
                      </a:lnTo>
                      <a:lnTo>
                        <a:pt x="413" y="2062"/>
                      </a:lnTo>
                      <a:lnTo>
                        <a:pt x="371" y="2027"/>
                      </a:lnTo>
                      <a:lnTo>
                        <a:pt x="331" y="1990"/>
                      </a:lnTo>
                      <a:lnTo>
                        <a:pt x="293" y="1952"/>
                      </a:lnTo>
                      <a:lnTo>
                        <a:pt x="258" y="1910"/>
                      </a:lnTo>
                      <a:lnTo>
                        <a:pt x="224" y="1867"/>
                      </a:lnTo>
                      <a:lnTo>
                        <a:pt x="194" y="1821"/>
                      </a:lnTo>
                      <a:lnTo>
                        <a:pt x="165" y="1772"/>
                      </a:lnTo>
                      <a:lnTo>
                        <a:pt x="139" y="1723"/>
                      </a:lnTo>
                      <a:lnTo>
                        <a:pt x="115" y="1671"/>
                      </a:lnTo>
                      <a:lnTo>
                        <a:pt x="93" y="1617"/>
                      </a:lnTo>
                      <a:lnTo>
                        <a:pt x="73" y="1561"/>
                      </a:lnTo>
                      <a:lnTo>
                        <a:pt x="56" y="1503"/>
                      </a:lnTo>
                      <a:lnTo>
                        <a:pt x="41" y="1443"/>
                      </a:lnTo>
                      <a:lnTo>
                        <a:pt x="29" y="1382"/>
                      </a:lnTo>
                      <a:lnTo>
                        <a:pt x="18" y="1319"/>
                      </a:lnTo>
                      <a:lnTo>
                        <a:pt x="11" y="1253"/>
                      </a:lnTo>
                      <a:lnTo>
                        <a:pt x="4" y="1186"/>
                      </a:lnTo>
                      <a:lnTo>
                        <a:pt x="1" y="1117"/>
                      </a:lnTo>
                      <a:lnTo>
                        <a:pt x="0" y="1046"/>
                      </a:lnTo>
                      <a:lnTo>
                        <a:pt x="1" y="987"/>
                      </a:lnTo>
                      <a:lnTo>
                        <a:pt x="4" y="931"/>
                      </a:lnTo>
                      <a:lnTo>
                        <a:pt x="9" y="874"/>
                      </a:lnTo>
                      <a:lnTo>
                        <a:pt x="16" y="820"/>
                      </a:lnTo>
                      <a:lnTo>
                        <a:pt x="25" y="766"/>
                      </a:lnTo>
                      <a:lnTo>
                        <a:pt x="36" y="715"/>
                      </a:lnTo>
                      <a:lnTo>
                        <a:pt x="48" y="665"/>
                      </a:lnTo>
                      <a:lnTo>
                        <a:pt x="64" y="616"/>
                      </a:lnTo>
                      <a:lnTo>
                        <a:pt x="81" y="569"/>
                      </a:lnTo>
                      <a:lnTo>
                        <a:pt x="100" y="523"/>
                      </a:lnTo>
                      <a:lnTo>
                        <a:pt x="121" y="479"/>
                      </a:lnTo>
                      <a:lnTo>
                        <a:pt x="144" y="437"/>
                      </a:lnTo>
                      <a:lnTo>
                        <a:pt x="168" y="396"/>
                      </a:lnTo>
                      <a:lnTo>
                        <a:pt x="196" y="359"/>
                      </a:lnTo>
                      <a:lnTo>
                        <a:pt x="224" y="321"/>
                      </a:lnTo>
                      <a:lnTo>
                        <a:pt x="255" y="286"/>
                      </a:lnTo>
                      <a:lnTo>
                        <a:pt x="287" y="253"/>
                      </a:lnTo>
                      <a:lnTo>
                        <a:pt x="322" y="221"/>
                      </a:lnTo>
                      <a:lnTo>
                        <a:pt x="358" y="192"/>
                      </a:lnTo>
                      <a:lnTo>
                        <a:pt x="396" y="165"/>
                      </a:lnTo>
                      <a:lnTo>
                        <a:pt x="436" y="140"/>
                      </a:lnTo>
                      <a:lnTo>
                        <a:pt x="478" y="115"/>
                      </a:lnTo>
                      <a:lnTo>
                        <a:pt x="523" y="95"/>
                      </a:lnTo>
                      <a:lnTo>
                        <a:pt x="569" y="75"/>
                      </a:lnTo>
                      <a:lnTo>
                        <a:pt x="616" y="58"/>
                      </a:lnTo>
                      <a:lnTo>
                        <a:pt x="666" y="43"/>
                      </a:lnTo>
                      <a:lnTo>
                        <a:pt x="717" y="31"/>
                      </a:lnTo>
                      <a:lnTo>
                        <a:pt x="771" y="19"/>
                      </a:lnTo>
                      <a:lnTo>
                        <a:pt x="826" y="12"/>
                      </a:lnTo>
                      <a:lnTo>
                        <a:pt x="883" y="5"/>
                      </a:lnTo>
                      <a:lnTo>
                        <a:pt x="942" y="1"/>
                      </a:lnTo>
                      <a:lnTo>
                        <a:pt x="1003" y="0"/>
                      </a:lnTo>
                      <a:lnTo>
                        <a:pt x="1052" y="1"/>
                      </a:lnTo>
                      <a:lnTo>
                        <a:pt x="1100" y="3"/>
                      </a:lnTo>
                      <a:lnTo>
                        <a:pt x="1147" y="8"/>
                      </a:lnTo>
                      <a:lnTo>
                        <a:pt x="1192" y="13"/>
                      </a:lnTo>
                      <a:lnTo>
                        <a:pt x="1235" y="20"/>
                      </a:lnTo>
                      <a:lnTo>
                        <a:pt x="1277" y="28"/>
                      </a:lnTo>
                      <a:lnTo>
                        <a:pt x="1318" y="38"/>
                      </a:lnTo>
                      <a:lnTo>
                        <a:pt x="1358" y="49"/>
                      </a:lnTo>
                      <a:lnTo>
                        <a:pt x="1396" y="63"/>
                      </a:lnTo>
                      <a:lnTo>
                        <a:pt x="1432" y="78"/>
                      </a:lnTo>
                      <a:lnTo>
                        <a:pt x="1468" y="93"/>
                      </a:lnTo>
                      <a:lnTo>
                        <a:pt x="1501" y="111"/>
                      </a:lnTo>
                      <a:lnTo>
                        <a:pt x="1533" y="131"/>
                      </a:lnTo>
                      <a:lnTo>
                        <a:pt x="1563" y="152"/>
                      </a:lnTo>
                      <a:lnTo>
                        <a:pt x="1592" y="174"/>
                      </a:lnTo>
                      <a:lnTo>
                        <a:pt x="1619" y="198"/>
                      </a:lnTo>
                      <a:lnTo>
                        <a:pt x="1645" y="224"/>
                      </a:lnTo>
                      <a:lnTo>
                        <a:pt x="1669" y="252"/>
                      </a:lnTo>
                      <a:lnTo>
                        <a:pt x="1691" y="280"/>
                      </a:lnTo>
                      <a:lnTo>
                        <a:pt x="1713" y="310"/>
                      </a:lnTo>
                      <a:lnTo>
                        <a:pt x="1732" y="342"/>
                      </a:lnTo>
                      <a:lnTo>
                        <a:pt x="1749" y="375"/>
                      </a:lnTo>
                      <a:lnTo>
                        <a:pt x="1766" y="411"/>
                      </a:lnTo>
                      <a:lnTo>
                        <a:pt x="1781" y="448"/>
                      </a:lnTo>
                      <a:lnTo>
                        <a:pt x="1793" y="485"/>
                      </a:lnTo>
                      <a:lnTo>
                        <a:pt x="1804" y="526"/>
                      </a:lnTo>
                      <a:lnTo>
                        <a:pt x="1813" y="567"/>
                      </a:lnTo>
                      <a:lnTo>
                        <a:pt x="1822" y="610"/>
                      </a:lnTo>
                      <a:lnTo>
                        <a:pt x="1827" y="655"/>
                      </a:lnTo>
                      <a:lnTo>
                        <a:pt x="1832" y="701"/>
                      </a:lnTo>
                      <a:lnTo>
                        <a:pt x="1834" y="750"/>
                      </a:lnTo>
                      <a:lnTo>
                        <a:pt x="1836" y="799"/>
                      </a:lnTo>
                      <a:lnTo>
                        <a:pt x="1293"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2" name="Freeform 7"/>
                <p:cNvSpPr>
                  <a:spLocks/>
                </p:cNvSpPr>
                <p:nvPr userDrawn="1"/>
              </p:nvSpPr>
              <p:spPr bwMode="auto">
                <a:xfrm>
                  <a:off x="1493838" y="2555875"/>
                  <a:ext cx="265112" cy="330200"/>
                </a:xfrm>
                <a:custGeom>
                  <a:avLst/>
                  <a:gdLst/>
                  <a:ahLst/>
                  <a:cxnLst>
                    <a:cxn ang="0">
                      <a:pos x="1286"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1" y="497"/>
                    </a:cxn>
                    <a:cxn ang="0">
                      <a:pos x="619" y="581"/>
                    </a:cxn>
                    <a:cxn ang="0">
                      <a:pos x="582" y="676"/>
                    </a:cxn>
                    <a:cxn ang="0">
                      <a:pos x="558" y="777"/>
                    </a:cxn>
                    <a:cxn ang="0">
                      <a:pos x="545" y="880"/>
                    </a:cxn>
                    <a:cxn ang="0">
                      <a:pos x="543" y="1006"/>
                    </a:cxn>
                    <a:cxn ang="0">
                      <a:pos x="565" y="1202"/>
                    </a:cxn>
                    <a:cxn ang="0">
                      <a:pos x="617" y="1383"/>
                    </a:cxn>
                    <a:cxn ang="0">
                      <a:pos x="698" y="1543"/>
                    </a:cxn>
                    <a:cxn ang="0">
                      <a:pos x="805" y="1679"/>
                    </a:cxn>
                    <a:cxn ang="0">
                      <a:pos x="940" y="1789"/>
                    </a:cxn>
                    <a:cxn ang="0">
                      <a:pos x="1101" y="1870"/>
                    </a:cxn>
                    <a:cxn ang="0">
                      <a:pos x="1287" y="1916"/>
                    </a:cxn>
                    <a:cxn ang="0">
                      <a:pos x="1490" y="1927"/>
                    </a:cxn>
                    <a:cxn ang="0">
                      <a:pos x="1652" y="1912"/>
                    </a:cxn>
                    <a:cxn ang="0">
                      <a:pos x="1744" y="1893"/>
                    </a:cxn>
                    <a:cxn ang="0">
                      <a:pos x="1812" y="2184"/>
                    </a:cxn>
                    <a:cxn ang="0">
                      <a:pos x="1655" y="2227"/>
                    </a:cxn>
                    <a:cxn ang="0">
                      <a:pos x="1495" y="2259"/>
                    </a:cxn>
                    <a:cxn ang="0">
                      <a:pos x="1335" y="2279"/>
                    </a:cxn>
                    <a:cxn ang="0">
                      <a:pos x="1173" y="2285"/>
                    </a:cxn>
                    <a:cxn ang="0">
                      <a:pos x="897" y="2263"/>
                    </a:cxn>
                    <a:cxn ang="0">
                      <a:pos x="659" y="2199"/>
                    </a:cxn>
                    <a:cxn ang="0">
                      <a:pos x="458" y="2094"/>
                    </a:cxn>
                    <a:cxn ang="0">
                      <a:pos x="293" y="1952"/>
                    </a:cxn>
                    <a:cxn ang="0">
                      <a:pos x="165" y="1772"/>
                    </a:cxn>
                    <a:cxn ang="0">
                      <a:pos x="72" y="1561"/>
                    </a:cxn>
                    <a:cxn ang="0">
                      <a:pos x="18" y="1319"/>
                    </a:cxn>
                    <a:cxn ang="0">
                      <a:pos x="0" y="1046"/>
                    </a:cxn>
                    <a:cxn ang="0">
                      <a:pos x="15" y="820"/>
                    </a:cxn>
                    <a:cxn ang="0">
                      <a:pos x="64" y="616"/>
                    </a:cxn>
                    <a:cxn ang="0">
                      <a:pos x="143" y="437"/>
                    </a:cxn>
                    <a:cxn ang="0">
                      <a:pos x="254" y="286"/>
                    </a:cxn>
                    <a:cxn ang="0">
                      <a:pos x="396" y="165"/>
                    </a:cxn>
                    <a:cxn ang="0">
                      <a:pos x="568" y="75"/>
                    </a:cxn>
                    <a:cxn ang="0">
                      <a:pos x="770" y="19"/>
                    </a:cxn>
                    <a:cxn ang="0">
                      <a:pos x="1002" y="0"/>
                    </a:cxn>
                    <a:cxn ang="0">
                      <a:pos x="1191" y="13"/>
                    </a:cxn>
                    <a:cxn ang="0">
                      <a:pos x="1358" y="49"/>
                    </a:cxn>
                    <a:cxn ang="0">
                      <a:pos x="1500" y="111"/>
                    </a:cxn>
                    <a:cxn ang="0">
                      <a:pos x="1618" y="198"/>
                    </a:cxn>
                    <a:cxn ang="0">
                      <a:pos x="1712" y="310"/>
                    </a:cxn>
                    <a:cxn ang="0">
                      <a:pos x="1779" y="448"/>
                    </a:cxn>
                    <a:cxn ang="0">
                      <a:pos x="1821" y="610"/>
                    </a:cxn>
                    <a:cxn ang="0">
                      <a:pos x="1835" y="799"/>
                    </a:cxn>
                  </a:cxnLst>
                  <a:rect l="0" t="0" r="r" b="b"/>
                  <a:pathLst>
                    <a:path w="1835" h="2285">
                      <a:moveTo>
                        <a:pt x="1292" y="799"/>
                      </a:moveTo>
                      <a:lnTo>
                        <a:pt x="1292" y="757"/>
                      </a:lnTo>
                      <a:lnTo>
                        <a:pt x="1288" y="715"/>
                      </a:lnTo>
                      <a:lnTo>
                        <a:pt x="1286" y="695"/>
                      </a:lnTo>
                      <a:lnTo>
                        <a:pt x="1284" y="675"/>
                      </a:lnTo>
                      <a:lnTo>
                        <a:pt x="1281" y="655"/>
                      </a:lnTo>
                      <a:lnTo>
                        <a:pt x="1278" y="635"/>
                      </a:lnTo>
                      <a:lnTo>
                        <a:pt x="1274" y="616"/>
                      </a:lnTo>
                      <a:lnTo>
                        <a:pt x="1268" y="598"/>
                      </a:lnTo>
                      <a:lnTo>
                        <a:pt x="1263" y="579"/>
                      </a:lnTo>
                      <a:lnTo>
                        <a:pt x="1258" y="561"/>
                      </a:lnTo>
                      <a:lnTo>
                        <a:pt x="1251" y="543"/>
                      </a:lnTo>
                      <a:lnTo>
                        <a:pt x="1243" y="526"/>
                      </a:lnTo>
                      <a:lnTo>
                        <a:pt x="1235" y="511"/>
                      </a:lnTo>
                      <a:lnTo>
                        <a:pt x="1226" y="494"/>
                      </a:lnTo>
                      <a:lnTo>
                        <a:pt x="1217" y="479"/>
                      </a:lnTo>
                      <a:lnTo>
                        <a:pt x="1206" y="464"/>
                      </a:lnTo>
                      <a:lnTo>
                        <a:pt x="1195" y="452"/>
                      </a:lnTo>
                      <a:lnTo>
                        <a:pt x="1183" y="438"/>
                      </a:lnTo>
                      <a:lnTo>
                        <a:pt x="1170" y="427"/>
                      </a:lnTo>
                      <a:lnTo>
                        <a:pt x="1156" y="415"/>
                      </a:lnTo>
                      <a:lnTo>
                        <a:pt x="1141" y="405"/>
                      </a:lnTo>
                      <a:lnTo>
                        <a:pt x="1125" y="395"/>
                      </a:lnTo>
                      <a:lnTo>
                        <a:pt x="1109" y="387"/>
                      </a:lnTo>
                      <a:lnTo>
                        <a:pt x="1091" y="380"/>
                      </a:lnTo>
                      <a:lnTo>
                        <a:pt x="1072" y="373"/>
                      </a:lnTo>
                      <a:lnTo>
                        <a:pt x="1052" y="368"/>
                      </a:lnTo>
                      <a:lnTo>
                        <a:pt x="1031" y="364"/>
                      </a:lnTo>
                      <a:lnTo>
                        <a:pt x="1009" y="361"/>
                      </a:lnTo>
                      <a:lnTo>
                        <a:pt x="985" y="359"/>
                      </a:lnTo>
                      <a:lnTo>
                        <a:pt x="960" y="359"/>
                      </a:lnTo>
                      <a:lnTo>
                        <a:pt x="931" y="360"/>
                      </a:lnTo>
                      <a:lnTo>
                        <a:pt x="903" y="362"/>
                      </a:lnTo>
                      <a:lnTo>
                        <a:pt x="876" y="367"/>
                      </a:lnTo>
                      <a:lnTo>
                        <a:pt x="850" y="373"/>
                      </a:lnTo>
                      <a:lnTo>
                        <a:pt x="826" y="382"/>
                      </a:lnTo>
                      <a:lnTo>
                        <a:pt x="803" y="391"/>
                      </a:lnTo>
                      <a:lnTo>
                        <a:pt x="781" y="403"/>
                      </a:lnTo>
                      <a:lnTo>
                        <a:pt x="760" y="415"/>
                      </a:lnTo>
                      <a:lnTo>
                        <a:pt x="740" y="429"/>
                      </a:lnTo>
                      <a:lnTo>
                        <a:pt x="721" y="445"/>
                      </a:lnTo>
                      <a:lnTo>
                        <a:pt x="703" y="460"/>
                      </a:lnTo>
                      <a:lnTo>
                        <a:pt x="687" y="478"/>
                      </a:lnTo>
                      <a:lnTo>
                        <a:pt x="671" y="497"/>
                      </a:lnTo>
                      <a:lnTo>
                        <a:pt x="657" y="517"/>
                      </a:lnTo>
                      <a:lnTo>
                        <a:pt x="643" y="537"/>
                      </a:lnTo>
                      <a:lnTo>
                        <a:pt x="630" y="559"/>
                      </a:lnTo>
                      <a:lnTo>
                        <a:pt x="619" y="581"/>
                      </a:lnTo>
                      <a:lnTo>
                        <a:pt x="608" y="604"/>
                      </a:lnTo>
                      <a:lnTo>
                        <a:pt x="599" y="627"/>
                      </a:lnTo>
                      <a:lnTo>
                        <a:pt x="589" y="651"/>
                      </a:lnTo>
                      <a:lnTo>
                        <a:pt x="582" y="676"/>
                      </a:lnTo>
                      <a:lnTo>
                        <a:pt x="575" y="700"/>
                      </a:lnTo>
                      <a:lnTo>
                        <a:pt x="568" y="725"/>
                      </a:lnTo>
                      <a:lnTo>
                        <a:pt x="562" y="752"/>
                      </a:lnTo>
                      <a:lnTo>
                        <a:pt x="558" y="777"/>
                      </a:lnTo>
                      <a:lnTo>
                        <a:pt x="554" y="803"/>
                      </a:lnTo>
                      <a:lnTo>
                        <a:pt x="549" y="828"/>
                      </a:lnTo>
                      <a:lnTo>
                        <a:pt x="547" y="854"/>
                      </a:lnTo>
                      <a:lnTo>
                        <a:pt x="545" y="880"/>
                      </a:lnTo>
                      <a:lnTo>
                        <a:pt x="543" y="905"/>
                      </a:lnTo>
                      <a:lnTo>
                        <a:pt x="542" y="930"/>
                      </a:lnTo>
                      <a:lnTo>
                        <a:pt x="542" y="955"/>
                      </a:lnTo>
                      <a:lnTo>
                        <a:pt x="543" y="1006"/>
                      </a:lnTo>
                      <a:lnTo>
                        <a:pt x="546" y="1057"/>
                      </a:lnTo>
                      <a:lnTo>
                        <a:pt x="550" y="1106"/>
                      </a:lnTo>
                      <a:lnTo>
                        <a:pt x="557" y="1155"/>
                      </a:lnTo>
                      <a:lnTo>
                        <a:pt x="565" y="1202"/>
                      </a:lnTo>
                      <a:lnTo>
                        <a:pt x="576" y="1250"/>
                      </a:lnTo>
                      <a:lnTo>
                        <a:pt x="587" y="1295"/>
                      </a:lnTo>
                      <a:lnTo>
                        <a:pt x="602" y="1339"/>
                      </a:lnTo>
                      <a:lnTo>
                        <a:pt x="617" y="1383"/>
                      </a:lnTo>
                      <a:lnTo>
                        <a:pt x="635" y="1425"/>
                      </a:lnTo>
                      <a:lnTo>
                        <a:pt x="653" y="1465"/>
                      </a:lnTo>
                      <a:lnTo>
                        <a:pt x="675" y="1504"/>
                      </a:lnTo>
                      <a:lnTo>
                        <a:pt x="698" y="1543"/>
                      </a:lnTo>
                      <a:lnTo>
                        <a:pt x="722" y="1579"/>
                      </a:lnTo>
                      <a:lnTo>
                        <a:pt x="748" y="1614"/>
                      </a:lnTo>
                      <a:lnTo>
                        <a:pt x="775" y="1648"/>
                      </a:lnTo>
                      <a:lnTo>
                        <a:pt x="805" y="1679"/>
                      </a:lnTo>
                      <a:lnTo>
                        <a:pt x="836" y="1710"/>
                      </a:lnTo>
                      <a:lnTo>
                        <a:pt x="869" y="1738"/>
                      </a:lnTo>
                      <a:lnTo>
                        <a:pt x="904" y="1765"/>
                      </a:lnTo>
                      <a:lnTo>
                        <a:pt x="940" y="1789"/>
                      </a:lnTo>
                      <a:lnTo>
                        <a:pt x="978" y="1812"/>
                      </a:lnTo>
                      <a:lnTo>
                        <a:pt x="1017" y="1833"/>
                      </a:lnTo>
                      <a:lnTo>
                        <a:pt x="1058" y="1853"/>
                      </a:lnTo>
                      <a:lnTo>
                        <a:pt x="1101" y="1870"/>
                      </a:lnTo>
                      <a:lnTo>
                        <a:pt x="1145" y="1885"/>
                      </a:lnTo>
                      <a:lnTo>
                        <a:pt x="1192" y="1897"/>
                      </a:lnTo>
                      <a:lnTo>
                        <a:pt x="1239" y="1908"/>
                      </a:lnTo>
                      <a:lnTo>
                        <a:pt x="1287" y="1916"/>
                      </a:lnTo>
                      <a:lnTo>
                        <a:pt x="1338" y="1922"/>
                      </a:lnTo>
                      <a:lnTo>
                        <a:pt x="1390" y="1926"/>
                      </a:lnTo>
                      <a:lnTo>
                        <a:pt x="1444" y="1928"/>
                      </a:lnTo>
                      <a:lnTo>
                        <a:pt x="1490" y="1927"/>
                      </a:lnTo>
                      <a:lnTo>
                        <a:pt x="1536" y="1924"/>
                      </a:lnTo>
                      <a:lnTo>
                        <a:pt x="1584" y="1920"/>
                      </a:lnTo>
                      <a:lnTo>
                        <a:pt x="1630" y="1915"/>
                      </a:lnTo>
                      <a:lnTo>
                        <a:pt x="1652" y="1912"/>
                      </a:lnTo>
                      <a:lnTo>
                        <a:pt x="1675" y="1908"/>
                      </a:lnTo>
                      <a:lnTo>
                        <a:pt x="1698" y="1904"/>
                      </a:lnTo>
                      <a:lnTo>
                        <a:pt x="1721" y="1898"/>
                      </a:lnTo>
                      <a:lnTo>
                        <a:pt x="1744" y="1893"/>
                      </a:lnTo>
                      <a:lnTo>
                        <a:pt x="1767" y="1887"/>
                      </a:lnTo>
                      <a:lnTo>
                        <a:pt x="1789" y="1879"/>
                      </a:lnTo>
                      <a:lnTo>
                        <a:pt x="1812" y="1872"/>
                      </a:lnTo>
                      <a:lnTo>
                        <a:pt x="1812" y="2184"/>
                      </a:lnTo>
                      <a:lnTo>
                        <a:pt x="1773" y="2196"/>
                      </a:lnTo>
                      <a:lnTo>
                        <a:pt x="1734" y="2207"/>
                      </a:lnTo>
                      <a:lnTo>
                        <a:pt x="1694" y="2217"/>
                      </a:lnTo>
                      <a:lnTo>
                        <a:pt x="1655" y="2227"/>
                      </a:lnTo>
                      <a:lnTo>
                        <a:pt x="1615" y="2236"/>
                      </a:lnTo>
                      <a:lnTo>
                        <a:pt x="1575" y="2244"/>
                      </a:lnTo>
                      <a:lnTo>
                        <a:pt x="1535" y="2251"/>
                      </a:lnTo>
                      <a:lnTo>
                        <a:pt x="1495" y="2259"/>
                      </a:lnTo>
                      <a:lnTo>
                        <a:pt x="1456" y="2265"/>
                      </a:lnTo>
                      <a:lnTo>
                        <a:pt x="1415" y="2270"/>
                      </a:lnTo>
                      <a:lnTo>
                        <a:pt x="1375" y="2275"/>
                      </a:lnTo>
                      <a:lnTo>
                        <a:pt x="1335" y="2279"/>
                      </a:lnTo>
                      <a:lnTo>
                        <a:pt x="1294" y="2281"/>
                      </a:lnTo>
                      <a:lnTo>
                        <a:pt x="1254" y="2283"/>
                      </a:lnTo>
                      <a:lnTo>
                        <a:pt x="1213" y="2285"/>
                      </a:lnTo>
                      <a:lnTo>
                        <a:pt x="1173" y="2285"/>
                      </a:lnTo>
                      <a:lnTo>
                        <a:pt x="1100" y="2284"/>
                      </a:lnTo>
                      <a:lnTo>
                        <a:pt x="1030" y="2280"/>
                      </a:lnTo>
                      <a:lnTo>
                        <a:pt x="963" y="2272"/>
                      </a:lnTo>
                      <a:lnTo>
                        <a:pt x="897" y="2263"/>
                      </a:lnTo>
                      <a:lnTo>
                        <a:pt x="834" y="2250"/>
                      </a:lnTo>
                      <a:lnTo>
                        <a:pt x="773" y="2236"/>
                      </a:lnTo>
                      <a:lnTo>
                        <a:pt x="716" y="2219"/>
                      </a:lnTo>
                      <a:lnTo>
                        <a:pt x="659" y="2199"/>
                      </a:lnTo>
                      <a:lnTo>
                        <a:pt x="605" y="2176"/>
                      </a:lnTo>
                      <a:lnTo>
                        <a:pt x="554" y="2151"/>
                      </a:lnTo>
                      <a:lnTo>
                        <a:pt x="504" y="2124"/>
                      </a:lnTo>
                      <a:lnTo>
                        <a:pt x="458" y="2094"/>
                      </a:lnTo>
                      <a:lnTo>
                        <a:pt x="413" y="2062"/>
                      </a:lnTo>
                      <a:lnTo>
                        <a:pt x="371" y="2027"/>
                      </a:lnTo>
                      <a:lnTo>
                        <a:pt x="331" y="1990"/>
                      </a:lnTo>
                      <a:lnTo>
                        <a:pt x="293" y="1952"/>
                      </a:lnTo>
                      <a:lnTo>
                        <a:pt x="257" y="1910"/>
                      </a:lnTo>
                      <a:lnTo>
                        <a:pt x="224" y="1867"/>
                      </a:lnTo>
                      <a:lnTo>
                        <a:pt x="193" y="1821"/>
                      </a:lnTo>
                      <a:lnTo>
                        <a:pt x="165" y="1772"/>
                      </a:lnTo>
                      <a:lnTo>
                        <a:pt x="137" y="1723"/>
                      </a:lnTo>
                      <a:lnTo>
                        <a:pt x="114" y="1671"/>
                      </a:lnTo>
                      <a:lnTo>
                        <a:pt x="92" y="1617"/>
                      </a:lnTo>
                      <a:lnTo>
                        <a:pt x="72" y="1561"/>
                      </a:lnTo>
                      <a:lnTo>
                        <a:pt x="55" y="1503"/>
                      </a:lnTo>
                      <a:lnTo>
                        <a:pt x="41" y="1443"/>
                      </a:lnTo>
                      <a:lnTo>
                        <a:pt x="28" y="1382"/>
                      </a:lnTo>
                      <a:lnTo>
                        <a:pt x="18" y="1319"/>
                      </a:lnTo>
                      <a:lnTo>
                        <a:pt x="9" y="1253"/>
                      </a:lnTo>
                      <a:lnTo>
                        <a:pt x="4" y="1186"/>
                      </a:lnTo>
                      <a:lnTo>
                        <a:pt x="1" y="1117"/>
                      </a:lnTo>
                      <a:lnTo>
                        <a:pt x="0" y="1046"/>
                      </a:lnTo>
                      <a:lnTo>
                        <a:pt x="1" y="987"/>
                      </a:lnTo>
                      <a:lnTo>
                        <a:pt x="3" y="931"/>
                      </a:lnTo>
                      <a:lnTo>
                        <a:pt x="8" y="874"/>
                      </a:lnTo>
                      <a:lnTo>
                        <a:pt x="15" y="820"/>
                      </a:lnTo>
                      <a:lnTo>
                        <a:pt x="25" y="766"/>
                      </a:lnTo>
                      <a:lnTo>
                        <a:pt x="35" y="715"/>
                      </a:lnTo>
                      <a:lnTo>
                        <a:pt x="48" y="665"/>
                      </a:lnTo>
                      <a:lnTo>
                        <a:pt x="64" y="616"/>
                      </a:lnTo>
                      <a:lnTo>
                        <a:pt x="81" y="569"/>
                      </a:lnTo>
                      <a:lnTo>
                        <a:pt x="100" y="523"/>
                      </a:lnTo>
                      <a:lnTo>
                        <a:pt x="121" y="479"/>
                      </a:lnTo>
                      <a:lnTo>
                        <a:pt x="143" y="437"/>
                      </a:lnTo>
                      <a:lnTo>
                        <a:pt x="168" y="396"/>
                      </a:lnTo>
                      <a:lnTo>
                        <a:pt x="194" y="359"/>
                      </a:lnTo>
                      <a:lnTo>
                        <a:pt x="224" y="321"/>
                      </a:lnTo>
                      <a:lnTo>
                        <a:pt x="254" y="286"/>
                      </a:lnTo>
                      <a:lnTo>
                        <a:pt x="287" y="253"/>
                      </a:lnTo>
                      <a:lnTo>
                        <a:pt x="321" y="221"/>
                      </a:lnTo>
                      <a:lnTo>
                        <a:pt x="357" y="192"/>
                      </a:lnTo>
                      <a:lnTo>
                        <a:pt x="396" y="165"/>
                      </a:lnTo>
                      <a:lnTo>
                        <a:pt x="436" y="140"/>
                      </a:lnTo>
                      <a:lnTo>
                        <a:pt x="478" y="115"/>
                      </a:lnTo>
                      <a:lnTo>
                        <a:pt x="522" y="95"/>
                      </a:lnTo>
                      <a:lnTo>
                        <a:pt x="568" y="75"/>
                      </a:lnTo>
                      <a:lnTo>
                        <a:pt x="616" y="58"/>
                      </a:lnTo>
                      <a:lnTo>
                        <a:pt x="665" y="43"/>
                      </a:lnTo>
                      <a:lnTo>
                        <a:pt x="717" y="31"/>
                      </a:lnTo>
                      <a:lnTo>
                        <a:pt x="770" y="19"/>
                      </a:lnTo>
                      <a:lnTo>
                        <a:pt x="825" y="12"/>
                      </a:lnTo>
                      <a:lnTo>
                        <a:pt x="883" y="5"/>
                      </a:lnTo>
                      <a:lnTo>
                        <a:pt x="942" y="1"/>
                      </a:lnTo>
                      <a:lnTo>
                        <a:pt x="1002" y="0"/>
                      </a:lnTo>
                      <a:lnTo>
                        <a:pt x="1052" y="1"/>
                      </a:lnTo>
                      <a:lnTo>
                        <a:pt x="1099" y="3"/>
                      </a:lnTo>
                      <a:lnTo>
                        <a:pt x="1145" y="8"/>
                      </a:lnTo>
                      <a:lnTo>
                        <a:pt x="1191" y="13"/>
                      </a:lnTo>
                      <a:lnTo>
                        <a:pt x="1235" y="20"/>
                      </a:lnTo>
                      <a:lnTo>
                        <a:pt x="1277" y="28"/>
                      </a:lnTo>
                      <a:lnTo>
                        <a:pt x="1318" y="38"/>
                      </a:lnTo>
                      <a:lnTo>
                        <a:pt x="1358" y="49"/>
                      </a:lnTo>
                      <a:lnTo>
                        <a:pt x="1396" y="63"/>
                      </a:lnTo>
                      <a:lnTo>
                        <a:pt x="1431" y="78"/>
                      </a:lnTo>
                      <a:lnTo>
                        <a:pt x="1466" y="93"/>
                      </a:lnTo>
                      <a:lnTo>
                        <a:pt x="1500" y="111"/>
                      </a:lnTo>
                      <a:lnTo>
                        <a:pt x="1532" y="131"/>
                      </a:lnTo>
                      <a:lnTo>
                        <a:pt x="1563" y="152"/>
                      </a:lnTo>
                      <a:lnTo>
                        <a:pt x="1591" y="174"/>
                      </a:lnTo>
                      <a:lnTo>
                        <a:pt x="1618" y="198"/>
                      </a:lnTo>
                      <a:lnTo>
                        <a:pt x="1644" y="224"/>
                      </a:lnTo>
                      <a:lnTo>
                        <a:pt x="1668" y="252"/>
                      </a:lnTo>
                      <a:lnTo>
                        <a:pt x="1691" y="280"/>
                      </a:lnTo>
                      <a:lnTo>
                        <a:pt x="1712" y="310"/>
                      </a:lnTo>
                      <a:lnTo>
                        <a:pt x="1731" y="342"/>
                      </a:lnTo>
                      <a:lnTo>
                        <a:pt x="1749" y="375"/>
                      </a:lnTo>
                      <a:lnTo>
                        <a:pt x="1766" y="411"/>
                      </a:lnTo>
                      <a:lnTo>
                        <a:pt x="1779" y="448"/>
                      </a:lnTo>
                      <a:lnTo>
                        <a:pt x="1793" y="485"/>
                      </a:lnTo>
                      <a:lnTo>
                        <a:pt x="1803" y="526"/>
                      </a:lnTo>
                      <a:lnTo>
                        <a:pt x="1813" y="567"/>
                      </a:lnTo>
                      <a:lnTo>
                        <a:pt x="1821" y="610"/>
                      </a:lnTo>
                      <a:lnTo>
                        <a:pt x="1827" y="655"/>
                      </a:lnTo>
                      <a:lnTo>
                        <a:pt x="1831" y="701"/>
                      </a:lnTo>
                      <a:lnTo>
                        <a:pt x="1834" y="750"/>
                      </a:lnTo>
                      <a:lnTo>
                        <a:pt x="1835" y="799"/>
                      </a:lnTo>
                      <a:lnTo>
                        <a:pt x="1292"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3" name="Freeform 8"/>
                <p:cNvSpPr>
                  <a:spLocks noEditPoints="1"/>
                </p:cNvSpPr>
                <p:nvPr userDrawn="1"/>
              </p:nvSpPr>
              <p:spPr bwMode="auto">
                <a:xfrm>
                  <a:off x="1782763" y="2555875"/>
                  <a:ext cx="255587" cy="330200"/>
                </a:xfrm>
                <a:custGeom>
                  <a:avLst/>
                  <a:gdLst/>
                  <a:ahLst/>
                  <a:cxnLst>
                    <a:cxn ang="0">
                      <a:pos x="1767" y="788"/>
                    </a:cxn>
                    <a:cxn ang="0">
                      <a:pos x="1742" y="607"/>
                    </a:cxn>
                    <a:cxn ang="0">
                      <a:pos x="1690" y="445"/>
                    </a:cxn>
                    <a:cxn ang="0">
                      <a:pos x="1612" y="305"/>
                    </a:cxn>
                    <a:cxn ang="0">
                      <a:pos x="1508" y="189"/>
                    </a:cxn>
                    <a:cxn ang="0">
                      <a:pos x="1378" y="99"/>
                    </a:cxn>
                    <a:cxn ang="0">
                      <a:pos x="1222" y="37"/>
                    </a:cxn>
                    <a:cxn ang="0">
                      <a:pos x="1040" y="4"/>
                    </a:cxn>
                    <a:cxn ang="0">
                      <a:pos x="820" y="5"/>
                    </a:cxn>
                    <a:cxn ang="0">
                      <a:pos x="609" y="42"/>
                    </a:cxn>
                    <a:cxn ang="0">
                      <a:pos x="431" y="114"/>
                    </a:cxn>
                    <a:cxn ang="0">
                      <a:pos x="285" y="218"/>
                    </a:cxn>
                    <a:cxn ang="0">
                      <a:pos x="171" y="353"/>
                    </a:cxn>
                    <a:cxn ang="0">
                      <a:pos x="87" y="516"/>
                    </a:cxn>
                    <a:cxn ang="0">
                      <a:pos x="31" y="703"/>
                    </a:cxn>
                    <a:cxn ang="0">
                      <a:pos x="3" y="914"/>
                    </a:cxn>
                    <a:cxn ang="0">
                      <a:pos x="3" y="1161"/>
                    </a:cxn>
                    <a:cxn ang="0">
                      <a:pos x="35" y="1412"/>
                    </a:cxn>
                    <a:cxn ang="0">
                      <a:pos x="99" y="1639"/>
                    </a:cxn>
                    <a:cxn ang="0">
                      <a:pos x="198" y="1839"/>
                    </a:cxn>
                    <a:cxn ang="0">
                      <a:pos x="332" y="2006"/>
                    </a:cxn>
                    <a:cxn ang="0">
                      <a:pos x="504" y="2138"/>
                    </a:cxn>
                    <a:cxn ang="0">
                      <a:pos x="713" y="2231"/>
                    </a:cxn>
                    <a:cxn ang="0">
                      <a:pos x="963" y="2279"/>
                    </a:cxn>
                    <a:cxn ang="0">
                      <a:pos x="1182" y="2284"/>
                    </a:cxn>
                    <a:cxn ang="0">
                      <a:pos x="1336" y="2275"/>
                    </a:cxn>
                    <a:cxn ang="0">
                      <a:pos x="1490" y="2254"/>
                    </a:cxn>
                    <a:cxn ang="0">
                      <a:pos x="1641" y="2220"/>
                    </a:cxn>
                    <a:cxn ang="0">
                      <a:pos x="1666" y="1862"/>
                    </a:cxn>
                    <a:cxn ang="0">
                      <a:pos x="1484" y="1909"/>
                    </a:cxn>
                    <a:cxn ang="0">
                      <a:pos x="1376" y="1923"/>
                    </a:cxn>
                    <a:cxn ang="0">
                      <a:pos x="1251" y="1926"/>
                    </a:cxn>
                    <a:cxn ang="0">
                      <a:pos x="1078" y="1896"/>
                    </a:cxn>
                    <a:cxn ang="0">
                      <a:pos x="922" y="1829"/>
                    </a:cxn>
                    <a:cxn ang="0">
                      <a:pos x="787" y="1733"/>
                    </a:cxn>
                    <a:cxn ang="0">
                      <a:pos x="673" y="1609"/>
                    </a:cxn>
                    <a:cxn ang="0">
                      <a:pos x="584" y="1466"/>
                    </a:cxn>
                    <a:cxn ang="0">
                      <a:pos x="520" y="1308"/>
                    </a:cxn>
                    <a:cxn ang="0">
                      <a:pos x="483" y="1139"/>
                    </a:cxn>
                    <a:cxn ang="0">
                      <a:pos x="1771" y="1009"/>
                    </a:cxn>
                    <a:cxn ang="0">
                      <a:pos x="493" y="662"/>
                    </a:cxn>
                    <a:cxn ang="0">
                      <a:pos x="515" y="586"/>
                    </a:cxn>
                    <a:cxn ang="0">
                      <a:pos x="549" y="518"/>
                    </a:cxn>
                    <a:cxn ang="0">
                      <a:pos x="594" y="458"/>
                    </a:cxn>
                    <a:cxn ang="0">
                      <a:pos x="649" y="408"/>
                    </a:cxn>
                    <a:cxn ang="0">
                      <a:pos x="712" y="369"/>
                    </a:cxn>
                    <a:cxn ang="0">
                      <a:pos x="783" y="342"/>
                    </a:cxn>
                    <a:cxn ang="0">
                      <a:pos x="861" y="328"/>
                    </a:cxn>
                    <a:cxn ang="0">
                      <a:pos x="944" y="328"/>
                    </a:cxn>
                    <a:cxn ang="0">
                      <a:pos x="1024" y="341"/>
                    </a:cxn>
                    <a:cxn ang="0">
                      <a:pos x="1096" y="366"/>
                    </a:cxn>
                    <a:cxn ang="0">
                      <a:pos x="1157" y="404"/>
                    </a:cxn>
                    <a:cxn ang="0">
                      <a:pos x="1207" y="452"/>
                    </a:cxn>
                    <a:cxn ang="0">
                      <a:pos x="1246" y="512"/>
                    </a:cxn>
                    <a:cxn ang="0">
                      <a:pos x="1272" y="581"/>
                    </a:cxn>
                    <a:cxn ang="0">
                      <a:pos x="1286" y="659"/>
                    </a:cxn>
                  </a:cxnLst>
                  <a:rect l="0" t="0" r="r" b="b"/>
                  <a:pathLst>
                    <a:path w="1771" h="2285">
                      <a:moveTo>
                        <a:pt x="1771" y="1009"/>
                      </a:moveTo>
                      <a:lnTo>
                        <a:pt x="1771" y="886"/>
                      </a:lnTo>
                      <a:lnTo>
                        <a:pt x="1771" y="837"/>
                      </a:lnTo>
                      <a:lnTo>
                        <a:pt x="1767" y="788"/>
                      </a:lnTo>
                      <a:lnTo>
                        <a:pt x="1764" y="741"/>
                      </a:lnTo>
                      <a:lnTo>
                        <a:pt x="1758" y="695"/>
                      </a:lnTo>
                      <a:lnTo>
                        <a:pt x="1751" y="650"/>
                      </a:lnTo>
                      <a:lnTo>
                        <a:pt x="1742" y="607"/>
                      </a:lnTo>
                      <a:lnTo>
                        <a:pt x="1732" y="564"/>
                      </a:lnTo>
                      <a:lnTo>
                        <a:pt x="1719" y="523"/>
                      </a:lnTo>
                      <a:lnTo>
                        <a:pt x="1705" y="483"/>
                      </a:lnTo>
                      <a:lnTo>
                        <a:pt x="1690" y="445"/>
                      </a:lnTo>
                      <a:lnTo>
                        <a:pt x="1673" y="408"/>
                      </a:lnTo>
                      <a:lnTo>
                        <a:pt x="1654" y="372"/>
                      </a:lnTo>
                      <a:lnTo>
                        <a:pt x="1634" y="338"/>
                      </a:lnTo>
                      <a:lnTo>
                        <a:pt x="1612" y="305"/>
                      </a:lnTo>
                      <a:lnTo>
                        <a:pt x="1589" y="274"/>
                      </a:lnTo>
                      <a:lnTo>
                        <a:pt x="1563" y="243"/>
                      </a:lnTo>
                      <a:lnTo>
                        <a:pt x="1537" y="215"/>
                      </a:lnTo>
                      <a:lnTo>
                        <a:pt x="1508" y="189"/>
                      </a:lnTo>
                      <a:lnTo>
                        <a:pt x="1478" y="164"/>
                      </a:lnTo>
                      <a:lnTo>
                        <a:pt x="1447" y="141"/>
                      </a:lnTo>
                      <a:lnTo>
                        <a:pt x="1413" y="119"/>
                      </a:lnTo>
                      <a:lnTo>
                        <a:pt x="1378" y="99"/>
                      </a:lnTo>
                      <a:lnTo>
                        <a:pt x="1342" y="81"/>
                      </a:lnTo>
                      <a:lnTo>
                        <a:pt x="1304" y="64"/>
                      </a:lnTo>
                      <a:lnTo>
                        <a:pt x="1264" y="49"/>
                      </a:lnTo>
                      <a:lnTo>
                        <a:pt x="1222" y="37"/>
                      </a:lnTo>
                      <a:lnTo>
                        <a:pt x="1179" y="25"/>
                      </a:lnTo>
                      <a:lnTo>
                        <a:pt x="1133" y="17"/>
                      </a:lnTo>
                      <a:lnTo>
                        <a:pt x="1087" y="10"/>
                      </a:lnTo>
                      <a:lnTo>
                        <a:pt x="1040" y="4"/>
                      </a:lnTo>
                      <a:lnTo>
                        <a:pt x="989" y="1"/>
                      </a:lnTo>
                      <a:lnTo>
                        <a:pt x="938" y="0"/>
                      </a:lnTo>
                      <a:lnTo>
                        <a:pt x="878" y="1"/>
                      </a:lnTo>
                      <a:lnTo>
                        <a:pt x="820" y="5"/>
                      </a:lnTo>
                      <a:lnTo>
                        <a:pt x="765" y="11"/>
                      </a:lnTo>
                      <a:lnTo>
                        <a:pt x="711" y="19"/>
                      </a:lnTo>
                      <a:lnTo>
                        <a:pt x="658" y="30"/>
                      </a:lnTo>
                      <a:lnTo>
                        <a:pt x="609" y="42"/>
                      </a:lnTo>
                      <a:lnTo>
                        <a:pt x="562" y="57"/>
                      </a:lnTo>
                      <a:lnTo>
                        <a:pt x="516" y="74"/>
                      </a:lnTo>
                      <a:lnTo>
                        <a:pt x="472" y="93"/>
                      </a:lnTo>
                      <a:lnTo>
                        <a:pt x="431" y="114"/>
                      </a:lnTo>
                      <a:lnTo>
                        <a:pt x="391" y="137"/>
                      </a:lnTo>
                      <a:lnTo>
                        <a:pt x="355" y="163"/>
                      </a:lnTo>
                      <a:lnTo>
                        <a:pt x="319" y="190"/>
                      </a:lnTo>
                      <a:lnTo>
                        <a:pt x="285" y="218"/>
                      </a:lnTo>
                      <a:lnTo>
                        <a:pt x="254" y="250"/>
                      </a:lnTo>
                      <a:lnTo>
                        <a:pt x="224" y="282"/>
                      </a:lnTo>
                      <a:lnTo>
                        <a:pt x="197" y="317"/>
                      </a:lnTo>
                      <a:lnTo>
                        <a:pt x="171" y="353"/>
                      </a:lnTo>
                      <a:lnTo>
                        <a:pt x="146" y="391"/>
                      </a:lnTo>
                      <a:lnTo>
                        <a:pt x="124" y="431"/>
                      </a:lnTo>
                      <a:lnTo>
                        <a:pt x="104" y="473"/>
                      </a:lnTo>
                      <a:lnTo>
                        <a:pt x="87" y="516"/>
                      </a:lnTo>
                      <a:lnTo>
                        <a:pt x="70" y="560"/>
                      </a:lnTo>
                      <a:lnTo>
                        <a:pt x="55" y="606"/>
                      </a:lnTo>
                      <a:lnTo>
                        <a:pt x="41" y="654"/>
                      </a:lnTo>
                      <a:lnTo>
                        <a:pt x="31" y="703"/>
                      </a:lnTo>
                      <a:lnTo>
                        <a:pt x="21" y="754"/>
                      </a:lnTo>
                      <a:lnTo>
                        <a:pt x="14" y="806"/>
                      </a:lnTo>
                      <a:lnTo>
                        <a:pt x="8" y="860"/>
                      </a:lnTo>
                      <a:lnTo>
                        <a:pt x="3" y="914"/>
                      </a:lnTo>
                      <a:lnTo>
                        <a:pt x="0" y="971"/>
                      </a:lnTo>
                      <a:lnTo>
                        <a:pt x="0" y="1028"/>
                      </a:lnTo>
                      <a:lnTo>
                        <a:pt x="1" y="1095"/>
                      </a:lnTo>
                      <a:lnTo>
                        <a:pt x="3" y="1161"/>
                      </a:lnTo>
                      <a:lnTo>
                        <a:pt x="9" y="1225"/>
                      </a:lnTo>
                      <a:lnTo>
                        <a:pt x="15" y="1289"/>
                      </a:lnTo>
                      <a:lnTo>
                        <a:pt x="24" y="1351"/>
                      </a:lnTo>
                      <a:lnTo>
                        <a:pt x="35" y="1412"/>
                      </a:lnTo>
                      <a:lnTo>
                        <a:pt x="48" y="1471"/>
                      </a:lnTo>
                      <a:lnTo>
                        <a:pt x="63" y="1528"/>
                      </a:lnTo>
                      <a:lnTo>
                        <a:pt x="80" y="1585"/>
                      </a:lnTo>
                      <a:lnTo>
                        <a:pt x="99" y="1639"/>
                      </a:lnTo>
                      <a:lnTo>
                        <a:pt x="121" y="1692"/>
                      </a:lnTo>
                      <a:lnTo>
                        <a:pt x="144" y="1742"/>
                      </a:lnTo>
                      <a:lnTo>
                        <a:pt x="170" y="1791"/>
                      </a:lnTo>
                      <a:lnTo>
                        <a:pt x="198" y="1839"/>
                      </a:lnTo>
                      <a:lnTo>
                        <a:pt x="228" y="1884"/>
                      </a:lnTo>
                      <a:lnTo>
                        <a:pt x="261" y="1927"/>
                      </a:lnTo>
                      <a:lnTo>
                        <a:pt x="295" y="1967"/>
                      </a:lnTo>
                      <a:lnTo>
                        <a:pt x="332" y="2006"/>
                      </a:lnTo>
                      <a:lnTo>
                        <a:pt x="371" y="2043"/>
                      </a:lnTo>
                      <a:lnTo>
                        <a:pt x="413" y="2077"/>
                      </a:lnTo>
                      <a:lnTo>
                        <a:pt x="458" y="2109"/>
                      </a:lnTo>
                      <a:lnTo>
                        <a:pt x="504" y="2138"/>
                      </a:lnTo>
                      <a:lnTo>
                        <a:pt x="552" y="2166"/>
                      </a:lnTo>
                      <a:lnTo>
                        <a:pt x="604" y="2190"/>
                      </a:lnTo>
                      <a:lnTo>
                        <a:pt x="657" y="2212"/>
                      </a:lnTo>
                      <a:lnTo>
                        <a:pt x="713" y="2231"/>
                      </a:lnTo>
                      <a:lnTo>
                        <a:pt x="772" y="2247"/>
                      </a:lnTo>
                      <a:lnTo>
                        <a:pt x="834" y="2261"/>
                      </a:lnTo>
                      <a:lnTo>
                        <a:pt x="897" y="2271"/>
                      </a:lnTo>
                      <a:lnTo>
                        <a:pt x="963" y="2279"/>
                      </a:lnTo>
                      <a:lnTo>
                        <a:pt x="1033" y="2284"/>
                      </a:lnTo>
                      <a:lnTo>
                        <a:pt x="1104" y="2285"/>
                      </a:lnTo>
                      <a:lnTo>
                        <a:pt x="1143" y="2285"/>
                      </a:lnTo>
                      <a:lnTo>
                        <a:pt x="1182" y="2284"/>
                      </a:lnTo>
                      <a:lnTo>
                        <a:pt x="1221" y="2283"/>
                      </a:lnTo>
                      <a:lnTo>
                        <a:pt x="1260" y="2281"/>
                      </a:lnTo>
                      <a:lnTo>
                        <a:pt x="1297" y="2278"/>
                      </a:lnTo>
                      <a:lnTo>
                        <a:pt x="1336" y="2275"/>
                      </a:lnTo>
                      <a:lnTo>
                        <a:pt x="1375" y="2270"/>
                      </a:lnTo>
                      <a:lnTo>
                        <a:pt x="1413" y="2265"/>
                      </a:lnTo>
                      <a:lnTo>
                        <a:pt x="1452" y="2260"/>
                      </a:lnTo>
                      <a:lnTo>
                        <a:pt x="1490" y="2254"/>
                      </a:lnTo>
                      <a:lnTo>
                        <a:pt x="1528" y="2246"/>
                      </a:lnTo>
                      <a:lnTo>
                        <a:pt x="1566" y="2239"/>
                      </a:lnTo>
                      <a:lnTo>
                        <a:pt x="1603" y="2229"/>
                      </a:lnTo>
                      <a:lnTo>
                        <a:pt x="1641" y="2220"/>
                      </a:lnTo>
                      <a:lnTo>
                        <a:pt x="1679" y="2210"/>
                      </a:lnTo>
                      <a:lnTo>
                        <a:pt x="1716" y="2198"/>
                      </a:lnTo>
                      <a:lnTo>
                        <a:pt x="1716" y="1845"/>
                      </a:lnTo>
                      <a:lnTo>
                        <a:pt x="1666" y="1862"/>
                      </a:lnTo>
                      <a:lnTo>
                        <a:pt x="1616" y="1877"/>
                      </a:lnTo>
                      <a:lnTo>
                        <a:pt x="1563" y="1891"/>
                      </a:lnTo>
                      <a:lnTo>
                        <a:pt x="1510" y="1904"/>
                      </a:lnTo>
                      <a:lnTo>
                        <a:pt x="1484" y="1909"/>
                      </a:lnTo>
                      <a:lnTo>
                        <a:pt x="1456" y="1913"/>
                      </a:lnTo>
                      <a:lnTo>
                        <a:pt x="1430" y="1917"/>
                      </a:lnTo>
                      <a:lnTo>
                        <a:pt x="1403" y="1920"/>
                      </a:lnTo>
                      <a:lnTo>
                        <a:pt x="1376" y="1923"/>
                      </a:lnTo>
                      <a:lnTo>
                        <a:pt x="1350" y="1926"/>
                      </a:lnTo>
                      <a:lnTo>
                        <a:pt x="1324" y="1927"/>
                      </a:lnTo>
                      <a:lnTo>
                        <a:pt x="1297" y="1928"/>
                      </a:lnTo>
                      <a:lnTo>
                        <a:pt x="1251" y="1926"/>
                      </a:lnTo>
                      <a:lnTo>
                        <a:pt x="1206" y="1922"/>
                      </a:lnTo>
                      <a:lnTo>
                        <a:pt x="1162" y="1916"/>
                      </a:lnTo>
                      <a:lnTo>
                        <a:pt x="1120" y="1907"/>
                      </a:lnTo>
                      <a:lnTo>
                        <a:pt x="1078" y="1896"/>
                      </a:lnTo>
                      <a:lnTo>
                        <a:pt x="1037" y="1883"/>
                      </a:lnTo>
                      <a:lnTo>
                        <a:pt x="997" y="1867"/>
                      </a:lnTo>
                      <a:lnTo>
                        <a:pt x="959" y="1849"/>
                      </a:lnTo>
                      <a:lnTo>
                        <a:pt x="922" y="1829"/>
                      </a:lnTo>
                      <a:lnTo>
                        <a:pt x="886" y="1808"/>
                      </a:lnTo>
                      <a:lnTo>
                        <a:pt x="852" y="1784"/>
                      </a:lnTo>
                      <a:lnTo>
                        <a:pt x="818" y="1759"/>
                      </a:lnTo>
                      <a:lnTo>
                        <a:pt x="787" y="1733"/>
                      </a:lnTo>
                      <a:lnTo>
                        <a:pt x="756" y="1703"/>
                      </a:lnTo>
                      <a:lnTo>
                        <a:pt x="727" y="1674"/>
                      </a:lnTo>
                      <a:lnTo>
                        <a:pt x="699" y="1643"/>
                      </a:lnTo>
                      <a:lnTo>
                        <a:pt x="673" y="1609"/>
                      </a:lnTo>
                      <a:lnTo>
                        <a:pt x="648" y="1575"/>
                      </a:lnTo>
                      <a:lnTo>
                        <a:pt x="625" y="1540"/>
                      </a:lnTo>
                      <a:lnTo>
                        <a:pt x="604" y="1504"/>
                      </a:lnTo>
                      <a:lnTo>
                        <a:pt x="584" y="1466"/>
                      </a:lnTo>
                      <a:lnTo>
                        <a:pt x="565" y="1428"/>
                      </a:lnTo>
                      <a:lnTo>
                        <a:pt x="548" y="1389"/>
                      </a:lnTo>
                      <a:lnTo>
                        <a:pt x="533" y="1349"/>
                      </a:lnTo>
                      <a:lnTo>
                        <a:pt x="520" y="1308"/>
                      </a:lnTo>
                      <a:lnTo>
                        <a:pt x="507" y="1266"/>
                      </a:lnTo>
                      <a:lnTo>
                        <a:pt x="498" y="1224"/>
                      </a:lnTo>
                      <a:lnTo>
                        <a:pt x="489" y="1182"/>
                      </a:lnTo>
                      <a:lnTo>
                        <a:pt x="483" y="1139"/>
                      </a:lnTo>
                      <a:lnTo>
                        <a:pt x="478" y="1096"/>
                      </a:lnTo>
                      <a:lnTo>
                        <a:pt x="475" y="1054"/>
                      </a:lnTo>
                      <a:lnTo>
                        <a:pt x="474" y="1009"/>
                      </a:lnTo>
                      <a:lnTo>
                        <a:pt x="1771" y="1009"/>
                      </a:lnTo>
                      <a:close/>
                      <a:moveTo>
                        <a:pt x="1288" y="702"/>
                      </a:moveTo>
                      <a:lnTo>
                        <a:pt x="488" y="702"/>
                      </a:lnTo>
                      <a:lnTo>
                        <a:pt x="490" y="681"/>
                      </a:lnTo>
                      <a:lnTo>
                        <a:pt x="493" y="662"/>
                      </a:lnTo>
                      <a:lnTo>
                        <a:pt x="498" y="643"/>
                      </a:lnTo>
                      <a:lnTo>
                        <a:pt x="503" y="623"/>
                      </a:lnTo>
                      <a:lnTo>
                        <a:pt x="509" y="604"/>
                      </a:lnTo>
                      <a:lnTo>
                        <a:pt x="515" y="586"/>
                      </a:lnTo>
                      <a:lnTo>
                        <a:pt x="523" y="568"/>
                      </a:lnTo>
                      <a:lnTo>
                        <a:pt x="531" y="550"/>
                      </a:lnTo>
                      <a:lnTo>
                        <a:pt x="540" y="534"/>
                      </a:lnTo>
                      <a:lnTo>
                        <a:pt x="549" y="518"/>
                      </a:lnTo>
                      <a:lnTo>
                        <a:pt x="560" y="502"/>
                      </a:lnTo>
                      <a:lnTo>
                        <a:pt x="570" y="487"/>
                      </a:lnTo>
                      <a:lnTo>
                        <a:pt x="582" y="472"/>
                      </a:lnTo>
                      <a:lnTo>
                        <a:pt x="594" y="458"/>
                      </a:lnTo>
                      <a:lnTo>
                        <a:pt x="607" y="445"/>
                      </a:lnTo>
                      <a:lnTo>
                        <a:pt x="621" y="432"/>
                      </a:lnTo>
                      <a:lnTo>
                        <a:pt x="634" y="419"/>
                      </a:lnTo>
                      <a:lnTo>
                        <a:pt x="649" y="408"/>
                      </a:lnTo>
                      <a:lnTo>
                        <a:pt x="664" y="397"/>
                      </a:lnTo>
                      <a:lnTo>
                        <a:pt x="679" y="387"/>
                      </a:lnTo>
                      <a:lnTo>
                        <a:pt x="696" y="378"/>
                      </a:lnTo>
                      <a:lnTo>
                        <a:pt x="712" y="369"/>
                      </a:lnTo>
                      <a:lnTo>
                        <a:pt x="730" y="362"/>
                      </a:lnTo>
                      <a:lnTo>
                        <a:pt x="747" y="354"/>
                      </a:lnTo>
                      <a:lnTo>
                        <a:pt x="765" y="348"/>
                      </a:lnTo>
                      <a:lnTo>
                        <a:pt x="783" y="342"/>
                      </a:lnTo>
                      <a:lnTo>
                        <a:pt x="802" y="338"/>
                      </a:lnTo>
                      <a:lnTo>
                        <a:pt x="821" y="333"/>
                      </a:lnTo>
                      <a:lnTo>
                        <a:pt x="841" y="330"/>
                      </a:lnTo>
                      <a:lnTo>
                        <a:pt x="861" y="328"/>
                      </a:lnTo>
                      <a:lnTo>
                        <a:pt x="881" y="327"/>
                      </a:lnTo>
                      <a:lnTo>
                        <a:pt x="901" y="326"/>
                      </a:lnTo>
                      <a:lnTo>
                        <a:pt x="923" y="326"/>
                      </a:lnTo>
                      <a:lnTo>
                        <a:pt x="944" y="328"/>
                      </a:lnTo>
                      <a:lnTo>
                        <a:pt x="965" y="330"/>
                      </a:lnTo>
                      <a:lnTo>
                        <a:pt x="985" y="332"/>
                      </a:lnTo>
                      <a:lnTo>
                        <a:pt x="1005" y="337"/>
                      </a:lnTo>
                      <a:lnTo>
                        <a:pt x="1024" y="341"/>
                      </a:lnTo>
                      <a:lnTo>
                        <a:pt x="1043" y="346"/>
                      </a:lnTo>
                      <a:lnTo>
                        <a:pt x="1061" y="352"/>
                      </a:lnTo>
                      <a:lnTo>
                        <a:pt x="1079" y="359"/>
                      </a:lnTo>
                      <a:lnTo>
                        <a:pt x="1096" y="366"/>
                      </a:lnTo>
                      <a:lnTo>
                        <a:pt x="1111" y="374"/>
                      </a:lnTo>
                      <a:lnTo>
                        <a:pt x="1127" y="384"/>
                      </a:lnTo>
                      <a:lnTo>
                        <a:pt x="1142" y="393"/>
                      </a:lnTo>
                      <a:lnTo>
                        <a:pt x="1157" y="404"/>
                      </a:lnTo>
                      <a:lnTo>
                        <a:pt x="1170" y="415"/>
                      </a:lnTo>
                      <a:lnTo>
                        <a:pt x="1183" y="427"/>
                      </a:lnTo>
                      <a:lnTo>
                        <a:pt x="1196" y="439"/>
                      </a:lnTo>
                      <a:lnTo>
                        <a:pt x="1207" y="452"/>
                      </a:lnTo>
                      <a:lnTo>
                        <a:pt x="1218" y="467"/>
                      </a:lnTo>
                      <a:lnTo>
                        <a:pt x="1228" y="480"/>
                      </a:lnTo>
                      <a:lnTo>
                        <a:pt x="1238" y="496"/>
                      </a:lnTo>
                      <a:lnTo>
                        <a:pt x="1246" y="512"/>
                      </a:lnTo>
                      <a:lnTo>
                        <a:pt x="1253" y="528"/>
                      </a:lnTo>
                      <a:lnTo>
                        <a:pt x="1261" y="545"/>
                      </a:lnTo>
                      <a:lnTo>
                        <a:pt x="1267" y="563"/>
                      </a:lnTo>
                      <a:lnTo>
                        <a:pt x="1272" y="581"/>
                      </a:lnTo>
                      <a:lnTo>
                        <a:pt x="1278" y="600"/>
                      </a:lnTo>
                      <a:lnTo>
                        <a:pt x="1281" y="619"/>
                      </a:lnTo>
                      <a:lnTo>
                        <a:pt x="1284" y="640"/>
                      </a:lnTo>
                      <a:lnTo>
                        <a:pt x="1286" y="659"/>
                      </a:lnTo>
                      <a:lnTo>
                        <a:pt x="1288" y="680"/>
                      </a:lnTo>
                      <a:lnTo>
                        <a:pt x="1288"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4" name="Freeform 9"/>
                <p:cNvSpPr>
                  <a:spLocks/>
                </p:cNvSpPr>
                <p:nvPr userDrawn="1"/>
              </p:nvSpPr>
              <p:spPr bwMode="auto">
                <a:xfrm>
                  <a:off x="2076450" y="2555875"/>
                  <a:ext cx="254000" cy="322263"/>
                </a:xfrm>
                <a:custGeom>
                  <a:avLst/>
                  <a:gdLst/>
                  <a:ahLst/>
                  <a:cxnLst>
                    <a:cxn ang="0">
                      <a:pos x="1252" y="940"/>
                    </a:cxn>
                    <a:cxn ang="0">
                      <a:pos x="1250" y="815"/>
                    </a:cxn>
                    <a:cxn ang="0">
                      <a:pos x="1242" y="710"/>
                    </a:cxn>
                    <a:cxn ang="0">
                      <a:pos x="1223" y="612"/>
                    </a:cxn>
                    <a:cxn ang="0">
                      <a:pos x="1208" y="570"/>
                    </a:cxn>
                    <a:cxn ang="0">
                      <a:pos x="1188" y="537"/>
                    </a:cxn>
                    <a:cxn ang="0">
                      <a:pos x="1166" y="513"/>
                    </a:cxn>
                    <a:cxn ang="0">
                      <a:pos x="1142" y="497"/>
                    </a:cxn>
                    <a:cxn ang="0">
                      <a:pos x="1115" y="487"/>
                    </a:cxn>
                    <a:cxn ang="0">
                      <a:pos x="1065" y="479"/>
                    </a:cxn>
                    <a:cxn ang="0">
                      <a:pos x="993" y="479"/>
                    </a:cxn>
                    <a:cxn ang="0">
                      <a:pos x="898" y="500"/>
                    </a:cxn>
                    <a:cxn ang="0">
                      <a:pos x="816" y="544"/>
                    </a:cxn>
                    <a:cxn ang="0">
                      <a:pos x="744" y="607"/>
                    </a:cxn>
                    <a:cxn ang="0">
                      <a:pos x="683" y="685"/>
                    </a:cxn>
                    <a:cxn ang="0">
                      <a:pos x="631" y="774"/>
                    </a:cxn>
                    <a:cxn ang="0">
                      <a:pos x="589" y="870"/>
                    </a:cxn>
                    <a:cxn ang="0">
                      <a:pos x="556" y="972"/>
                    </a:cxn>
                    <a:cxn ang="0">
                      <a:pos x="533" y="1072"/>
                    </a:cxn>
                    <a:cxn ang="0">
                      <a:pos x="519" y="1171"/>
                    </a:cxn>
                    <a:cxn ang="0">
                      <a:pos x="511" y="1262"/>
                    </a:cxn>
                    <a:cxn ang="0">
                      <a:pos x="0" y="2235"/>
                    </a:cxn>
                    <a:cxn ang="0">
                      <a:pos x="511" y="459"/>
                    </a:cxn>
                    <a:cxn ang="0">
                      <a:pos x="543" y="408"/>
                    </a:cxn>
                    <a:cxn ang="0">
                      <a:pos x="582" y="336"/>
                    </a:cxn>
                    <a:cxn ang="0">
                      <a:pos x="626" y="270"/>
                    </a:cxn>
                    <a:cxn ang="0">
                      <a:pos x="676" y="210"/>
                    </a:cxn>
                    <a:cxn ang="0">
                      <a:pos x="731" y="156"/>
                    </a:cxn>
                    <a:cxn ang="0">
                      <a:pos x="791" y="110"/>
                    </a:cxn>
                    <a:cxn ang="0">
                      <a:pos x="856" y="71"/>
                    </a:cxn>
                    <a:cxn ang="0">
                      <a:pos x="927" y="41"/>
                    </a:cxn>
                    <a:cxn ang="0">
                      <a:pos x="1003" y="19"/>
                    </a:cxn>
                    <a:cxn ang="0">
                      <a:pos x="1083" y="5"/>
                    </a:cxn>
                    <a:cxn ang="0">
                      <a:pos x="1169" y="0"/>
                    </a:cxn>
                    <a:cxn ang="0">
                      <a:pos x="1281" y="10"/>
                    </a:cxn>
                    <a:cxn ang="0">
                      <a:pos x="1379" y="35"/>
                    </a:cxn>
                    <a:cxn ang="0">
                      <a:pos x="1466" y="76"/>
                    </a:cxn>
                    <a:cxn ang="0">
                      <a:pos x="1540" y="129"/>
                    </a:cxn>
                    <a:cxn ang="0">
                      <a:pos x="1603" y="195"/>
                    </a:cxn>
                    <a:cxn ang="0">
                      <a:pos x="1656" y="272"/>
                    </a:cxn>
                    <a:cxn ang="0">
                      <a:pos x="1697" y="357"/>
                    </a:cxn>
                    <a:cxn ang="0">
                      <a:pos x="1728" y="450"/>
                    </a:cxn>
                    <a:cxn ang="0">
                      <a:pos x="1748" y="548"/>
                    </a:cxn>
                    <a:cxn ang="0">
                      <a:pos x="1760" y="651"/>
                    </a:cxn>
                    <a:cxn ang="0">
                      <a:pos x="1762" y="2235"/>
                    </a:cxn>
                  </a:cxnLst>
                  <a:rect l="0" t="0" r="r" b="b"/>
                  <a:pathLst>
                    <a:path w="1762" h="2235">
                      <a:moveTo>
                        <a:pt x="1252" y="2235"/>
                      </a:moveTo>
                      <a:lnTo>
                        <a:pt x="1252" y="986"/>
                      </a:lnTo>
                      <a:lnTo>
                        <a:pt x="1252" y="940"/>
                      </a:lnTo>
                      <a:lnTo>
                        <a:pt x="1252" y="881"/>
                      </a:lnTo>
                      <a:lnTo>
                        <a:pt x="1251" y="848"/>
                      </a:lnTo>
                      <a:lnTo>
                        <a:pt x="1250" y="815"/>
                      </a:lnTo>
                      <a:lnTo>
                        <a:pt x="1248" y="779"/>
                      </a:lnTo>
                      <a:lnTo>
                        <a:pt x="1245" y="744"/>
                      </a:lnTo>
                      <a:lnTo>
                        <a:pt x="1242" y="710"/>
                      </a:lnTo>
                      <a:lnTo>
                        <a:pt x="1237" y="675"/>
                      </a:lnTo>
                      <a:lnTo>
                        <a:pt x="1230" y="643"/>
                      </a:lnTo>
                      <a:lnTo>
                        <a:pt x="1223" y="612"/>
                      </a:lnTo>
                      <a:lnTo>
                        <a:pt x="1218" y="598"/>
                      </a:lnTo>
                      <a:lnTo>
                        <a:pt x="1213" y="584"/>
                      </a:lnTo>
                      <a:lnTo>
                        <a:pt x="1208" y="570"/>
                      </a:lnTo>
                      <a:lnTo>
                        <a:pt x="1202" y="559"/>
                      </a:lnTo>
                      <a:lnTo>
                        <a:pt x="1196" y="547"/>
                      </a:lnTo>
                      <a:lnTo>
                        <a:pt x="1188" y="537"/>
                      </a:lnTo>
                      <a:lnTo>
                        <a:pt x="1181" y="527"/>
                      </a:lnTo>
                      <a:lnTo>
                        <a:pt x="1173" y="519"/>
                      </a:lnTo>
                      <a:lnTo>
                        <a:pt x="1166" y="513"/>
                      </a:lnTo>
                      <a:lnTo>
                        <a:pt x="1159" y="506"/>
                      </a:lnTo>
                      <a:lnTo>
                        <a:pt x="1150" y="501"/>
                      </a:lnTo>
                      <a:lnTo>
                        <a:pt x="1142" y="497"/>
                      </a:lnTo>
                      <a:lnTo>
                        <a:pt x="1133" y="493"/>
                      </a:lnTo>
                      <a:lnTo>
                        <a:pt x="1124" y="490"/>
                      </a:lnTo>
                      <a:lnTo>
                        <a:pt x="1115" y="487"/>
                      </a:lnTo>
                      <a:lnTo>
                        <a:pt x="1105" y="484"/>
                      </a:lnTo>
                      <a:lnTo>
                        <a:pt x="1085" y="481"/>
                      </a:lnTo>
                      <a:lnTo>
                        <a:pt x="1065" y="479"/>
                      </a:lnTo>
                      <a:lnTo>
                        <a:pt x="1045" y="478"/>
                      </a:lnTo>
                      <a:lnTo>
                        <a:pt x="1026" y="478"/>
                      </a:lnTo>
                      <a:lnTo>
                        <a:pt x="993" y="479"/>
                      </a:lnTo>
                      <a:lnTo>
                        <a:pt x="960" y="483"/>
                      </a:lnTo>
                      <a:lnTo>
                        <a:pt x="929" y="491"/>
                      </a:lnTo>
                      <a:lnTo>
                        <a:pt x="898" y="500"/>
                      </a:lnTo>
                      <a:lnTo>
                        <a:pt x="870" y="513"/>
                      </a:lnTo>
                      <a:lnTo>
                        <a:pt x="842" y="527"/>
                      </a:lnTo>
                      <a:lnTo>
                        <a:pt x="816" y="544"/>
                      </a:lnTo>
                      <a:lnTo>
                        <a:pt x="791" y="563"/>
                      </a:lnTo>
                      <a:lnTo>
                        <a:pt x="767" y="584"/>
                      </a:lnTo>
                      <a:lnTo>
                        <a:pt x="744" y="607"/>
                      </a:lnTo>
                      <a:lnTo>
                        <a:pt x="721" y="631"/>
                      </a:lnTo>
                      <a:lnTo>
                        <a:pt x="701" y="657"/>
                      </a:lnTo>
                      <a:lnTo>
                        <a:pt x="683" y="685"/>
                      </a:lnTo>
                      <a:lnTo>
                        <a:pt x="664" y="713"/>
                      </a:lnTo>
                      <a:lnTo>
                        <a:pt x="647" y="743"/>
                      </a:lnTo>
                      <a:lnTo>
                        <a:pt x="631" y="774"/>
                      </a:lnTo>
                      <a:lnTo>
                        <a:pt x="615" y="805"/>
                      </a:lnTo>
                      <a:lnTo>
                        <a:pt x="602" y="838"/>
                      </a:lnTo>
                      <a:lnTo>
                        <a:pt x="589" y="870"/>
                      </a:lnTo>
                      <a:lnTo>
                        <a:pt x="577" y="904"/>
                      </a:lnTo>
                      <a:lnTo>
                        <a:pt x="566" y="937"/>
                      </a:lnTo>
                      <a:lnTo>
                        <a:pt x="556" y="972"/>
                      </a:lnTo>
                      <a:lnTo>
                        <a:pt x="548" y="1005"/>
                      </a:lnTo>
                      <a:lnTo>
                        <a:pt x="540" y="1039"/>
                      </a:lnTo>
                      <a:lnTo>
                        <a:pt x="533" y="1072"/>
                      </a:lnTo>
                      <a:lnTo>
                        <a:pt x="527" y="1106"/>
                      </a:lnTo>
                      <a:lnTo>
                        <a:pt x="522" y="1138"/>
                      </a:lnTo>
                      <a:lnTo>
                        <a:pt x="519" y="1171"/>
                      </a:lnTo>
                      <a:lnTo>
                        <a:pt x="515" y="1202"/>
                      </a:lnTo>
                      <a:lnTo>
                        <a:pt x="513" y="1233"/>
                      </a:lnTo>
                      <a:lnTo>
                        <a:pt x="511" y="1262"/>
                      </a:lnTo>
                      <a:lnTo>
                        <a:pt x="511" y="1290"/>
                      </a:lnTo>
                      <a:lnTo>
                        <a:pt x="511" y="2235"/>
                      </a:lnTo>
                      <a:lnTo>
                        <a:pt x="0" y="2235"/>
                      </a:lnTo>
                      <a:lnTo>
                        <a:pt x="0" y="52"/>
                      </a:lnTo>
                      <a:lnTo>
                        <a:pt x="511" y="52"/>
                      </a:lnTo>
                      <a:lnTo>
                        <a:pt x="511" y="459"/>
                      </a:lnTo>
                      <a:lnTo>
                        <a:pt x="521" y="459"/>
                      </a:lnTo>
                      <a:lnTo>
                        <a:pt x="531" y="433"/>
                      </a:lnTo>
                      <a:lnTo>
                        <a:pt x="543" y="408"/>
                      </a:lnTo>
                      <a:lnTo>
                        <a:pt x="555" y="384"/>
                      </a:lnTo>
                      <a:lnTo>
                        <a:pt x="568" y="360"/>
                      </a:lnTo>
                      <a:lnTo>
                        <a:pt x="582" y="336"/>
                      </a:lnTo>
                      <a:lnTo>
                        <a:pt x="596" y="314"/>
                      </a:lnTo>
                      <a:lnTo>
                        <a:pt x="611" y="292"/>
                      </a:lnTo>
                      <a:lnTo>
                        <a:pt x="626" y="270"/>
                      </a:lnTo>
                      <a:lnTo>
                        <a:pt x="642" y="249"/>
                      </a:lnTo>
                      <a:lnTo>
                        <a:pt x="658" y="229"/>
                      </a:lnTo>
                      <a:lnTo>
                        <a:pt x="676" y="210"/>
                      </a:lnTo>
                      <a:lnTo>
                        <a:pt x="693" y="191"/>
                      </a:lnTo>
                      <a:lnTo>
                        <a:pt x="712" y="173"/>
                      </a:lnTo>
                      <a:lnTo>
                        <a:pt x="731" y="156"/>
                      </a:lnTo>
                      <a:lnTo>
                        <a:pt x="750" y="141"/>
                      </a:lnTo>
                      <a:lnTo>
                        <a:pt x="771" y="125"/>
                      </a:lnTo>
                      <a:lnTo>
                        <a:pt x="791" y="110"/>
                      </a:lnTo>
                      <a:lnTo>
                        <a:pt x="812" y="97"/>
                      </a:lnTo>
                      <a:lnTo>
                        <a:pt x="834" y="84"/>
                      </a:lnTo>
                      <a:lnTo>
                        <a:pt x="856" y="71"/>
                      </a:lnTo>
                      <a:lnTo>
                        <a:pt x="879" y="61"/>
                      </a:lnTo>
                      <a:lnTo>
                        <a:pt x="903" y="51"/>
                      </a:lnTo>
                      <a:lnTo>
                        <a:pt x="927" y="41"/>
                      </a:lnTo>
                      <a:lnTo>
                        <a:pt x="952" y="33"/>
                      </a:lnTo>
                      <a:lnTo>
                        <a:pt x="977" y="25"/>
                      </a:lnTo>
                      <a:lnTo>
                        <a:pt x="1003" y="19"/>
                      </a:lnTo>
                      <a:lnTo>
                        <a:pt x="1029" y="14"/>
                      </a:lnTo>
                      <a:lnTo>
                        <a:pt x="1056" y="9"/>
                      </a:lnTo>
                      <a:lnTo>
                        <a:pt x="1083" y="5"/>
                      </a:lnTo>
                      <a:lnTo>
                        <a:pt x="1111" y="2"/>
                      </a:lnTo>
                      <a:lnTo>
                        <a:pt x="1140" y="1"/>
                      </a:lnTo>
                      <a:lnTo>
                        <a:pt x="1169" y="0"/>
                      </a:lnTo>
                      <a:lnTo>
                        <a:pt x="1207" y="1"/>
                      </a:lnTo>
                      <a:lnTo>
                        <a:pt x="1245" y="4"/>
                      </a:lnTo>
                      <a:lnTo>
                        <a:pt x="1281" y="10"/>
                      </a:lnTo>
                      <a:lnTo>
                        <a:pt x="1314" y="16"/>
                      </a:lnTo>
                      <a:lnTo>
                        <a:pt x="1348" y="24"/>
                      </a:lnTo>
                      <a:lnTo>
                        <a:pt x="1379" y="35"/>
                      </a:lnTo>
                      <a:lnTo>
                        <a:pt x="1409" y="46"/>
                      </a:lnTo>
                      <a:lnTo>
                        <a:pt x="1438" y="60"/>
                      </a:lnTo>
                      <a:lnTo>
                        <a:pt x="1466" y="76"/>
                      </a:lnTo>
                      <a:lnTo>
                        <a:pt x="1492" y="91"/>
                      </a:lnTo>
                      <a:lnTo>
                        <a:pt x="1517" y="110"/>
                      </a:lnTo>
                      <a:lnTo>
                        <a:pt x="1540" y="129"/>
                      </a:lnTo>
                      <a:lnTo>
                        <a:pt x="1562" y="150"/>
                      </a:lnTo>
                      <a:lnTo>
                        <a:pt x="1583" y="172"/>
                      </a:lnTo>
                      <a:lnTo>
                        <a:pt x="1603" y="195"/>
                      </a:lnTo>
                      <a:lnTo>
                        <a:pt x="1622" y="219"/>
                      </a:lnTo>
                      <a:lnTo>
                        <a:pt x="1640" y="245"/>
                      </a:lnTo>
                      <a:lnTo>
                        <a:pt x="1656" y="272"/>
                      </a:lnTo>
                      <a:lnTo>
                        <a:pt x="1671" y="299"/>
                      </a:lnTo>
                      <a:lnTo>
                        <a:pt x="1684" y="327"/>
                      </a:lnTo>
                      <a:lnTo>
                        <a:pt x="1697" y="357"/>
                      </a:lnTo>
                      <a:lnTo>
                        <a:pt x="1708" y="387"/>
                      </a:lnTo>
                      <a:lnTo>
                        <a:pt x="1719" y="418"/>
                      </a:lnTo>
                      <a:lnTo>
                        <a:pt x="1728" y="450"/>
                      </a:lnTo>
                      <a:lnTo>
                        <a:pt x="1736" y="482"/>
                      </a:lnTo>
                      <a:lnTo>
                        <a:pt x="1743" y="515"/>
                      </a:lnTo>
                      <a:lnTo>
                        <a:pt x="1748" y="548"/>
                      </a:lnTo>
                      <a:lnTo>
                        <a:pt x="1754" y="582"/>
                      </a:lnTo>
                      <a:lnTo>
                        <a:pt x="1757" y="616"/>
                      </a:lnTo>
                      <a:lnTo>
                        <a:pt x="1760" y="651"/>
                      </a:lnTo>
                      <a:lnTo>
                        <a:pt x="1761" y="686"/>
                      </a:lnTo>
                      <a:lnTo>
                        <a:pt x="1762" y="721"/>
                      </a:lnTo>
                      <a:lnTo>
                        <a:pt x="1762" y="2235"/>
                      </a:lnTo>
                      <a:lnTo>
                        <a:pt x="1252" y="2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5" name="Freeform 10"/>
                <p:cNvSpPr>
                  <a:spLocks/>
                </p:cNvSpPr>
                <p:nvPr userDrawn="1"/>
              </p:nvSpPr>
              <p:spPr bwMode="auto">
                <a:xfrm>
                  <a:off x="2349500" y="2459038"/>
                  <a:ext cx="228600" cy="427038"/>
                </a:xfrm>
                <a:custGeom>
                  <a:avLst/>
                  <a:gdLst/>
                  <a:ahLst/>
                  <a:cxnLst>
                    <a:cxn ang="0">
                      <a:pos x="939" y="2110"/>
                    </a:cxn>
                    <a:cxn ang="0">
                      <a:pos x="941" y="2205"/>
                    </a:cxn>
                    <a:cxn ang="0">
                      <a:pos x="948" y="2296"/>
                    </a:cxn>
                    <a:cxn ang="0">
                      <a:pos x="956" y="2339"/>
                    </a:cxn>
                    <a:cxn ang="0">
                      <a:pos x="964" y="2378"/>
                    </a:cxn>
                    <a:cxn ang="0">
                      <a:pos x="977" y="2417"/>
                    </a:cxn>
                    <a:cxn ang="0">
                      <a:pos x="992" y="2452"/>
                    </a:cxn>
                    <a:cxn ang="0">
                      <a:pos x="1012" y="2484"/>
                    </a:cxn>
                    <a:cxn ang="0">
                      <a:pos x="1036" y="2514"/>
                    </a:cxn>
                    <a:cxn ang="0">
                      <a:pos x="1063" y="2539"/>
                    </a:cxn>
                    <a:cxn ang="0">
                      <a:pos x="1097" y="2561"/>
                    </a:cxn>
                    <a:cxn ang="0">
                      <a:pos x="1134" y="2578"/>
                    </a:cxn>
                    <a:cxn ang="0">
                      <a:pos x="1179" y="2591"/>
                    </a:cxn>
                    <a:cxn ang="0">
                      <a:pos x="1228" y="2598"/>
                    </a:cxn>
                    <a:cxn ang="0">
                      <a:pos x="1285" y="2602"/>
                    </a:cxn>
                    <a:cxn ang="0">
                      <a:pos x="1343" y="2598"/>
                    </a:cxn>
                    <a:cxn ang="0">
                      <a:pos x="1401" y="2590"/>
                    </a:cxn>
                    <a:cxn ang="0">
                      <a:pos x="1460" y="2578"/>
                    </a:cxn>
                    <a:cxn ang="0">
                      <a:pos x="1519" y="2565"/>
                    </a:cxn>
                    <a:cxn ang="0">
                      <a:pos x="1467" y="2931"/>
                    </a:cxn>
                    <a:cxn ang="0">
                      <a:pos x="1361" y="2944"/>
                    </a:cxn>
                    <a:cxn ang="0">
                      <a:pos x="1256" y="2954"/>
                    </a:cxn>
                    <a:cxn ang="0">
                      <a:pos x="1152" y="2958"/>
                    </a:cxn>
                    <a:cxn ang="0">
                      <a:pos x="1059" y="2959"/>
                    </a:cxn>
                    <a:cxn ang="0">
                      <a:pos x="981" y="2955"/>
                    </a:cxn>
                    <a:cxn ang="0">
                      <a:pos x="907" y="2947"/>
                    </a:cxn>
                    <a:cxn ang="0">
                      <a:pos x="839" y="2936"/>
                    </a:cxn>
                    <a:cxn ang="0">
                      <a:pos x="776" y="2920"/>
                    </a:cxn>
                    <a:cxn ang="0">
                      <a:pos x="718" y="2900"/>
                    </a:cxn>
                    <a:cxn ang="0">
                      <a:pos x="666" y="2875"/>
                    </a:cxn>
                    <a:cxn ang="0">
                      <a:pos x="618" y="2846"/>
                    </a:cxn>
                    <a:cxn ang="0">
                      <a:pos x="576" y="2810"/>
                    </a:cxn>
                    <a:cxn ang="0">
                      <a:pos x="539" y="2770"/>
                    </a:cxn>
                    <a:cxn ang="0">
                      <a:pos x="508" y="2724"/>
                    </a:cxn>
                    <a:cxn ang="0">
                      <a:pos x="482" y="2672"/>
                    </a:cxn>
                    <a:cxn ang="0">
                      <a:pos x="461" y="2614"/>
                    </a:cxn>
                    <a:cxn ang="0">
                      <a:pos x="445" y="2549"/>
                    </a:cxn>
                    <a:cxn ang="0">
                      <a:pos x="434" y="2478"/>
                    </a:cxn>
                    <a:cxn ang="0">
                      <a:pos x="429" y="2400"/>
                    </a:cxn>
                    <a:cxn ang="0">
                      <a:pos x="428" y="1079"/>
                    </a:cxn>
                    <a:cxn ang="0">
                      <a:pos x="0" y="726"/>
                    </a:cxn>
                    <a:cxn ang="0">
                      <a:pos x="428" y="207"/>
                    </a:cxn>
                    <a:cxn ang="0">
                      <a:pos x="939" y="726"/>
                    </a:cxn>
                    <a:cxn ang="0">
                      <a:pos x="1587" y="1079"/>
                    </a:cxn>
                  </a:cxnLst>
                  <a:rect l="0" t="0" r="r" b="b"/>
                  <a:pathLst>
                    <a:path w="1587" h="2959">
                      <a:moveTo>
                        <a:pt x="939" y="1079"/>
                      </a:moveTo>
                      <a:lnTo>
                        <a:pt x="939" y="2110"/>
                      </a:lnTo>
                      <a:lnTo>
                        <a:pt x="940" y="2158"/>
                      </a:lnTo>
                      <a:lnTo>
                        <a:pt x="941" y="2205"/>
                      </a:lnTo>
                      <a:lnTo>
                        <a:pt x="944" y="2252"/>
                      </a:lnTo>
                      <a:lnTo>
                        <a:pt x="948" y="2296"/>
                      </a:lnTo>
                      <a:lnTo>
                        <a:pt x="951" y="2317"/>
                      </a:lnTo>
                      <a:lnTo>
                        <a:pt x="956" y="2339"/>
                      </a:lnTo>
                      <a:lnTo>
                        <a:pt x="960" y="2358"/>
                      </a:lnTo>
                      <a:lnTo>
                        <a:pt x="964" y="2378"/>
                      </a:lnTo>
                      <a:lnTo>
                        <a:pt x="970" y="2398"/>
                      </a:lnTo>
                      <a:lnTo>
                        <a:pt x="977" y="2417"/>
                      </a:lnTo>
                      <a:lnTo>
                        <a:pt x="984" y="2435"/>
                      </a:lnTo>
                      <a:lnTo>
                        <a:pt x="992" y="2452"/>
                      </a:lnTo>
                      <a:lnTo>
                        <a:pt x="1002" y="2469"/>
                      </a:lnTo>
                      <a:lnTo>
                        <a:pt x="1012" y="2484"/>
                      </a:lnTo>
                      <a:lnTo>
                        <a:pt x="1023" y="2500"/>
                      </a:lnTo>
                      <a:lnTo>
                        <a:pt x="1036" y="2514"/>
                      </a:lnTo>
                      <a:lnTo>
                        <a:pt x="1049" y="2527"/>
                      </a:lnTo>
                      <a:lnTo>
                        <a:pt x="1063" y="2539"/>
                      </a:lnTo>
                      <a:lnTo>
                        <a:pt x="1079" y="2550"/>
                      </a:lnTo>
                      <a:lnTo>
                        <a:pt x="1097" y="2561"/>
                      </a:lnTo>
                      <a:lnTo>
                        <a:pt x="1114" y="2570"/>
                      </a:lnTo>
                      <a:lnTo>
                        <a:pt x="1134" y="2578"/>
                      </a:lnTo>
                      <a:lnTo>
                        <a:pt x="1155" y="2585"/>
                      </a:lnTo>
                      <a:lnTo>
                        <a:pt x="1179" y="2591"/>
                      </a:lnTo>
                      <a:lnTo>
                        <a:pt x="1203" y="2595"/>
                      </a:lnTo>
                      <a:lnTo>
                        <a:pt x="1228" y="2598"/>
                      </a:lnTo>
                      <a:lnTo>
                        <a:pt x="1255" y="2601"/>
                      </a:lnTo>
                      <a:lnTo>
                        <a:pt x="1285" y="2602"/>
                      </a:lnTo>
                      <a:lnTo>
                        <a:pt x="1313" y="2601"/>
                      </a:lnTo>
                      <a:lnTo>
                        <a:pt x="1343" y="2598"/>
                      </a:lnTo>
                      <a:lnTo>
                        <a:pt x="1372" y="2594"/>
                      </a:lnTo>
                      <a:lnTo>
                        <a:pt x="1401" y="2590"/>
                      </a:lnTo>
                      <a:lnTo>
                        <a:pt x="1431" y="2584"/>
                      </a:lnTo>
                      <a:lnTo>
                        <a:pt x="1460" y="2578"/>
                      </a:lnTo>
                      <a:lnTo>
                        <a:pt x="1490" y="2571"/>
                      </a:lnTo>
                      <a:lnTo>
                        <a:pt x="1519" y="2565"/>
                      </a:lnTo>
                      <a:lnTo>
                        <a:pt x="1519" y="2922"/>
                      </a:lnTo>
                      <a:lnTo>
                        <a:pt x="1467" y="2931"/>
                      </a:lnTo>
                      <a:lnTo>
                        <a:pt x="1414" y="2938"/>
                      </a:lnTo>
                      <a:lnTo>
                        <a:pt x="1361" y="2944"/>
                      </a:lnTo>
                      <a:lnTo>
                        <a:pt x="1309" y="2950"/>
                      </a:lnTo>
                      <a:lnTo>
                        <a:pt x="1256" y="2954"/>
                      </a:lnTo>
                      <a:lnTo>
                        <a:pt x="1205" y="2957"/>
                      </a:lnTo>
                      <a:lnTo>
                        <a:pt x="1152" y="2958"/>
                      </a:lnTo>
                      <a:lnTo>
                        <a:pt x="1101" y="2959"/>
                      </a:lnTo>
                      <a:lnTo>
                        <a:pt x="1059" y="2959"/>
                      </a:lnTo>
                      <a:lnTo>
                        <a:pt x="1019" y="2957"/>
                      </a:lnTo>
                      <a:lnTo>
                        <a:pt x="981" y="2955"/>
                      </a:lnTo>
                      <a:lnTo>
                        <a:pt x="943" y="2952"/>
                      </a:lnTo>
                      <a:lnTo>
                        <a:pt x="907" y="2947"/>
                      </a:lnTo>
                      <a:lnTo>
                        <a:pt x="873" y="2942"/>
                      </a:lnTo>
                      <a:lnTo>
                        <a:pt x="839" y="2936"/>
                      </a:lnTo>
                      <a:lnTo>
                        <a:pt x="806" y="2929"/>
                      </a:lnTo>
                      <a:lnTo>
                        <a:pt x="776" y="2920"/>
                      </a:lnTo>
                      <a:lnTo>
                        <a:pt x="746" y="2911"/>
                      </a:lnTo>
                      <a:lnTo>
                        <a:pt x="718" y="2900"/>
                      </a:lnTo>
                      <a:lnTo>
                        <a:pt x="692" y="2889"/>
                      </a:lnTo>
                      <a:lnTo>
                        <a:pt x="666" y="2875"/>
                      </a:lnTo>
                      <a:lnTo>
                        <a:pt x="641" y="2862"/>
                      </a:lnTo>
                      <a:lnTo>
                        <a:pt x="618" y="2846"/>
                      </a:lnTo>
                      <a:lnTo>
                        <a:pt x="597" y="2829"/>
                      </a:lnTo>
                      <a:lnTo>
                        <a:pt x="576" y="2810"/>
                      </a:lnTo>
                      <a:lnTo>
                        <a:pt x="557" y="2791"/>
                      </a:lnTo>
                      <a:lnTo>
                        <a:pt x="539" y="2770"/>
                      </a:lnTo>
                      <a:lnTo>
                        <a:pt x="524" y="2748"/>
                      </a:lnTo>
                      <a:lnTo>
                        <a:pt x="508" y="2724"/>
                      </a:lnTo>
                      <a:lnTo>
                        <a:pt x="494" y="2699"/>
                      </a:lnTo>
                      <a:lnTo>
                        <a:pt x="482" y="2672"/>
                      </a:lnTo>
                      <a:lnTo>
                        <a:pt x="470" y="2644"/>
                      </a:lnTo>
                      <a:lnTo>
                        <a:pt x="461" y="2614"/>
                      </a:lnTo>
                      <a:lnTo>
                        <a:pt x="452" y="2583"/>
                      </a:lnTo>
                      <a:lnTo>
                        <a:pt x="445" y="2549"/>
                      </a:lnTo>
                      <a:lnTo>
                        <a:pt x="438" y="2515"/>
                      </a:lnTo>
                      <a:lnTo>
                        <a:pt x="434" y="2478"/>
                      </a:lnTo>
                      <a:lnTo>
                        <a:pt x="431" y="2440"/>
                      </a:lnTo>
                      <a:lnTo>
                        <a:pt x="429" y="2400"/>
                      </a:lnTo>
                      <a:lnTo>
                        <a:pt x="428" y="2358"/>
                      </a:lnTo>
                      <a:lnTo>
                        <a:pt x="428" y="1079"/>
                      </a:lnTo>
                      <a:lnTo>
                        <a:pt x="0" y="1079"/>
                      </a:lnTo>
                      <a:lnTo>
                        <a:pt x="0" y="726"/>
                      </a:lnTo>
                      <a:lnTo>
                        <a:pt x="428" y="726"/>
                      </a:lnTo>
                      <a:lnTo>
                        <a:pt x="428" y="207"/>
                      </a:lnTo>
                      <a:lnTo>
                        <a:pt x="939" y="0"/>
                      </a:lnTo>
                      <a:lnTo>
                        <a:pt x="939" y="726"/>
                      </a:lnTo>
                      <a:lnTo>
                        <a:pt x="1587" y="726"/>
                      </a:lnTo>
                      <a:lnTo>
                        <a:pt x="1587" y="1079"/>
                      </a:lnTo>
                      <a:lnTo>
                        <a:pt x="939" y="10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6" name="Freeform 11"/>
                <p:cNvSpPr>
                  <a:spLocks/>
                </p:cNvSpPr>
                <p:nvPr userDrawn="1"/>
              </p:nvSpPr>
              <p:spPr bwMode="auto">
                <a:xfrm>
                  <a:off x="2609850" y="2563813"/>
                  <a:ext cx="255587" cy="322263"/>
                </a:xfrm>
                <a:custGeom>
                  <a:avLst/>
                  <a:gdLst/>
                  <a:ahLst/>
                  <a:cxnLst>
                    <a:cxn ang="0">
                      <a:pos x="1243" y="1774"/>
                    </a:cxn>
                    <a:cxn ang="0">
                      <a:pos x="1208" y="1849"/>
                    </a:cxn>
                    <a:cxn ang="0">
                      <a:pos x="1167" y="1919"/>
                    </a:cxn>
                    <a:cxn ang="0">
                      <a:pos x="1120" y="1983"/>
                    </a:cxn>
                    <a:cxn ang="0">
                      <a:pos x="1068" y="2040"/>
                    </a:cxn>
                    <a:cxn ang="0">
                      <a:pos x="1012" y="2092"/>
                    </a:cxn>
                    <a:cxn ang="0">
                      <a:pos x="949" y="2136"/>
                    </a:cxn>
                    <a:cxn ang="0">
                      <a:pos x="881" y="2172"/>
                    </a:cxn>
                    <a:cxn ang="0">
                      <a:pos x="810" y="2201"/>
                    </a:cxn>
                    <a:cxn ang="0">
                      <a:pos x="733" y="2220"/>
                    </a:cxn>
                    <a:cxn ang="0">
                      <a:pos x="651" y="2231"/>
                    </a:cxn>
                    <a:cxn ang="0">
                      <a:pos x="555" y="2232"/>
                    </a:cxn>
                    <a:cxn ang="0">
                      <a:pos x="448" y="2217"/>
                    </a:cxn>
                    <a:cxn ang="0">
                      <a:pos x="354" y="2187"/>
                    </a:cxn>
                    <a:cxn ang="0">
                      <a:pos x="271" y="2142"/>
                    </a:cxn>
                    <a:cxn ang="0">
                      <a:pos x="200" y="2084"/>
                    </a:cxn>
                    <a:cxn ang="0">
                      <a:pos x="140" y="2014"/>
                    </a:cxn>
                    <a:cxn ang="0">
                      <a:pos x="92" y="1934"/>
                    </a:cxn>
                    <a:cxn ang="0">
                      <a:pos x="54" y="1846"/>
                    </a:cxn>
                    <a:cxn ang="0">
                      <a:pos x="27" y="1752"/>
                    </a:cxn>
                    <a:cxn ang="0">
                      <a:pos x="9" y="1651"/>
                    </a:cxn>
                    <a:cxn ang="0">
                      <a:pos x="1" y="1548"/>
                    </a:cxn>
                    <a:cxn ang="0">
                      <a:pos x="511" y="0"/>
                    </a:cxn>
                    <a:cxn ang="0">
                      <a:pos x="511" y="1353"/>
                    </a:cxn>
                    <a:cxn ang="0">
                      <a:pos x="516" y="1454"/>
                    </a:cxn>
                    <a:cxn ang="0">
                      <a:pos x="526" y="1558"/>
                    </a:cxn>
                    <a:cxn ang="0">
                      <a:pos x="545" y="1637"/>
                    </a:cxn>
                    <a:cxn ang="0">
                      <a:pos x="561" y="1675"/>
                    </a:cxn>
                    <a:cxn ang="0">
                      <a:pos x="582" y="1707"/>
                    </a:cxn>
                    <a:cxn ang="0">
                      <a:pos x="605" y="1727"/>
                    </a:cxn>
                    <a:cxn ang="0">
                      <a:pos x="630" y="1740"/>
                    </a:cxn>
                    <a:cxn ang="0">
                      <a:pos x="658" y="1749"/>
                    </a:cxn>
                    <a:cxn ang="0">
                      <a:pos x="717" y="1755"/>
                    </a:cxn>
                    <a:cxn ang="0">
                      <a:pos x="804" y="1750"/>
                    </a:cxn>
                    <a:cxn ang="0">
                      <a:pos x="894" y="1720"/>
                    </a:cxn>
                    <a:cxn ang="0">
                      <a:pos x="973" y="1670"/>
                    </a:cxn>
                    <a:cxn ang="0">
                      <a:pos x="1041" y="1602"/>
                    </a:cxn>
                    <a:cxn ang="0">
                      <a:pos x="1099" y="1520"/>
                    </a:cxn>
                    <a:cxn ang="0">
                      <a:pos x="1147" y="1428"/>
                    </a:cxn>
                    <a:cxn ang="0">
                      <a:pos x="1186" y="1330"/>
                    </a:cxn>
                    <a:cxn ang="0">
                      <a:pos x="1216" y="1229"/>
                    </a:cxn>
                    <a:cxn ang="0">
                      <a:pos x="1236" y="1128"/>
                    </a:cxn>
                    <a:cxn ang="0">
                      <a:pos x="1248" y="1032"/>
                    </a:cxn>
                    <a:cxn ang="0">
                      <a:pos x="1252" y="944"/>
                    </a:cxn>
                    <a:cxn ang="0">
                      <a:pos x="1762" y="2183"/>
                    </a:cxn>
                  </a:cxnLst>
                  <a:rect l="0" t="0" r="r" b="b"/>
                  <a:pathLst>
                    <a:path w="1762" h="2233">
                      <a:moveTo>
                        <a:pt x="1252" y="2183"/>
                      </a:moveTo>
                      <a:lnTo>
                        <a:pt x="1252" y="1774"/>
                      </a:lnTo>
                      <a:lnTo>
                        <a:pt x="1243" y="1774"/>
                      </a:lnTo>
                      <a:lnTo>
                        <a:pt x="1232" y="1800"/>
                      </a:lnTo>
                      <a:lnTo>
                        <a:pt x="1220" y="1825"/>
                      </a:lnTo>
                      <a:lnTo>
                        <a:pt x="1208" y="1849"/>
                      </a:lnTo>
                      <a:lnTo>
                        <a:pt x="1195" y="1874"/>
                      </a:lnTo>
                      <a:lnTo>
                        <a:pt x="1181" y="1897"/>
                      </a:lnTo>
                      <a:lnTo>
                        <a:pt x="1167" y="1919"/>
                      </a:lnTo>
                      <a:lnTo>
                        <a:pt x="1151" y="1941"/>
                      </a:lnTo>
                      <a:lnTo>
                        <a:pt x="1137" y="1963"/>
                      </a:lnTo>
                      <a:lnTo>
                        <a:pt x="1120" y="1983"/>
                      </a:lnTo>
                      <a:lnTo>
                        <a:pt x="1103" y="2002"/>
                      </a:lnTo>
                      <a:lnTo>
                        <a:pt x="1086" y="2022"/>
                      </a:lnTo>
                      <a:lnTo>
                        <a:pt x="1068" y="2040"/>
                      </a:lnTo>
                      <a:lnTo>
                        <a:pt x="1050" y="2058"/>
                      </a:lnTo>
                      <a:lnTo>
                        <a:pt x="1031" y="2075"/>
                      </a:lnTo>
                      <a:lnTo>
                        <a:pt x="1012" y="2092"/>
                      </a:lnTo>
                      <a:lnTo>
                        <a:pt x="991" y="2107"/>
                      </a:lnTo>
                      <a:lnTo>
                        <a:pt x="971" y="2122"/>
                      </a:lnTo>
                      <a:lnTo>
                        <a:pt x="949" y="2136"/>
                      </a:lnTo>
                      <a:lnTo>
                        <a:pt x="928" y="2148"/>
                      </a:lnTo>
                      <a:lnTo>
                        <a:pt x="904" y="2161"/>
                      </a:lnTo>
                      <a:lnTo>
                        <a:pt x="881" y="2172"/>
                      </a:lnTo>
                      <a:lnTo>
                        <a:pt x="858" y="2182"/>
                      </a:lnTo>
                      <a:lnTo>
                        <a:pt x="834" y="2191"/>
                      </a:lnTo>
                      <a:lnTo>
                        <a:pt x="810" y="2201"/>
                      </a:lnTo>
                      <a:lnTo>
                        <a:pt x="785" y="2208"/>
                      </a:lnTo>
                      <a:lnTo>
                        <a:pt x="758" y="2214"/>
                      </a:lnTo>
                      <a:lnTo>
                        <a:pt x="733" y="2220"/>
                      </a:lnTo>
                      <a:lnTo>
                        <a:pt x="706" y="2225"/>
                      </a:lnTo>
                      <a:lnTo>
                        <a:pt x="678" y="2229"/>
                      </a:lnTo>
                      <a:lnTo>
                        <a:pt x="651" y="2231"/>
                      </a:lnTo>
                      <a:lnTo>
                        <a:pt x="623" y="2233"/>
                      </a:lnTo>
                      <a:lnTo>
                        <a:pt x="594" y="2233"/>
                      </a:lnTo>
                      <a:lnTo>
                        <a:pt x="555" y="2232"/>
                      </a:lnTo>
                      <a:lnTo>
                        <a:pt x="519" y="2229"/>
                      </a:lnTo>
                      <a:lnTo>
                        <a:pt x="483" y="2225"/>
                      </a:lnTo>
                      <a:lnTo>
                        <a:pt x="448" y="2217"/>
                      </a:lnTo>
                      <a:lnTo>
                        <a:pt x="416" y="2209"/>
                      </a:lnTo>
                      <a:lnTo>
                        <a:pt x="384" y="2198"/>
                      </a:lnTo>
                      <a:lnTo>
                        <a:pt x="354" y="2187"/>
                      </a:lnTo>
                      <a:lnTo>
                        <a:pt x="325" y="2173"/>
                      </a:lnTo>
                      <a:lnTo>
                        <a:pt x="297" y="2159"/>
                      </a:lnTo>
                      <a:lnTo>
                        <a:pt x="271" y="2142"/>
                      </a:lnTo>
                      <a:lnTo>
                        <a:pt x="246" y="2124"/>
                      </a:lnTo>
                      <a:lnTo>
                        <a:pt x="222" y="2104"/>
                      </a:lnTo>
                      <a:lnTo>
                        <a:pt x="200" y="2084"/>
                      </a:lnTo>
                      <a:lnTo>
                        <a:pt x="179" y="2062"/>
                      </a:lnTo>
                      <a:lnTo>
                        <a:pt x="159" y="2038"/>
                      </a:lnTo>
                      <a:lnTo>
                        <a:pt x="140" y="2014"/>
                      </a:lnTo>
                      <a:lnTo>
                        <a:pt x="123" y="1989"/>
                      </a:lnTo>
                      <a:lnTo>
                        <a:pt x="107" y="1962"/>
                      </a:lnTo>
                      <a:lnTo>
                        <a:pt x="92" y="1934"/>
                      </a:lnTo>
                      <a:lnTo>
                        <a:pt x="78" y="1906"/>
                      </a:lnTo>
                      <a:lnTo>
                        <a:pt x="66" y="1877"/>
                      </a:lnTo>
                      <a:lnTo>
                        <a:pt x="54" y="1846"/>
                      </a:lnTo>
                      <a:lnTo>
                        <a:pt x="44" y="1816"/>
                      </a:lnTo>
                      <a:lnTo>
                        <a:pt x="35" y="1784"/>
                      </a:lnTo>
                      <a:lnTo>
                        <a:pt x="27" y="1752"/>
                      </a:lnTo>
                      <a:lnTo>
                        <a:pt x="19" y="1719"/>
                      </a:lnTo>
                      <a:lnTo>
                        <a:pt x="14" y="1686"/>
                      </a:lnTo>
                      <a:lnTo>
                        <a:pt x="9" y="1651"/>
                      </a:lnTo>
                      <a:lnTo>
                        <a:pt x="6" y="1618"/>
                      </a:lnTo>
                      <a:lnTo>
                        <a:pt x="3" y="1583"/>
                      </a:lnTo>
                      <a:lnTo>
                        <a:pt x="1" y="1548"/>
                      </a:lnTo>
                      <a:lnTo>
                        <a:pt x="0" y="1513"/>
                      </a:lnTo>
                      <a:lnTo>
                        <a:pt x="0" y="0"/>
                      </a:lnTo>
                      <a:lnTo>
                        <a:pt x="511" y="0"/>
                      </a:lnTo>
                      <a:lnTo>
                        <a:pt x="511" y="1247"/>
                      </a:lnTo>
                      <a:lnTo>
                        <a:pt x="511" y="1294"/>
                      </a:lnTo>
                      <a:lnTo>
                        <a:pt x="511" y="1353"/>
                      </a:lnTo>
                      <a:lnTo>
                        <a:pt x="512" y="1385"/>
                      </a:lnTo>
                      <a:lnTo>
                        <a:pt x="513" y="1420"/>
                      </a:lnTo>
                      <a:lnTo>
                        <a:pt x="516" y="1454"/>
                      </a:lnTo>
                      <a:lnTo>
                        <a:pt x="518" y="1489"/>
                      </a:lnTo>
                      <a:lnTo>
                        <a:pt x="522" y="1525"/>
                      </a:lnTo>
                      <a:lnTo>
                        <a:pt x="526" y="1558"/>
                      </a:lnTo>
                      <a:lnTo>
                        <a:pt x="532" y="1591"/>
                      </a:lnTo>
                      <a:lnTo>
                        <a:pt x="541" y="1622"/>
                      </a:lnTo>
                      <a:lnTo>
                        <a:pt x="545" y="1637"/>
                      </a:lnTo>
                      <a:lnTo>
                        <a:pt x="550" y="1650"/>
                      </a:lnTo>
                      <a:lnTo>
                        <a:pt x="555" y="1663"/>
                      </a:lnTo>
                      <a:lnTo>
                        <a:pt x="561" y="1675"/>
                      </a:lnTo>
                      <a:lnTo>
                        <a:pt x="567" y="1687"/>
                      </a:lnTo>
                      <a:lnTo>
                        <a:pt x="574" y="1697"/>
                      </a:lnTo>
                      <a:lnTo>
                        <a:pt x="582" y="1707"/>
                      </a:lnTo>
                      <a:lnTo>
                        <a:pt x="589" y="1714"/>
                      </a:lnTo>
                      <a:lnTo>
                        <a:pt x="596" y="1722"/>
                      </a:lnTo>
                      <a:lnTo>
                        <a:pt x="605" y="1727"/>
                      </a:lnTo>
                      <a:lnTo>
                        <a:pt x="612" y="1732"/>
                      </a:lnTo>
                      <a:lnTo>
                        <a:pt x="621" y="1736"/>
                      </a:lnTo>
                      <a:lnTo>
                        <a:pt x="630" y="1740"/>
                      </a:lnTo>
                      <a:lnTo>
                        <a:pt x="640" y="1744"/>
                      </a:lnTo>
                      <a:lnTo>
                        <a:pt x="649" y="1747"/>
                      </a:lnTo>
                      <a:lnTo>
                        <a:pt x="658" y="1749"/>
                      </a:lnTo>
                      <a:lnTo>
                        <a:pt x="677" y="1752"/>
                      </a:lnTo>
                      <a:lnTo>
                        <a:pt x="697" y="1754"/>
                      </a:lnTo>
                      <a:lnTo>
                        <a:pt x="717" y="1755"/>
                      </a:lnTo>
                      <a:lnTo>
                        <a:pt x="737" y="1756"/>
                      </a:lnTo>
                      <a:lnTo>
                        <a:pt x="771" y="1754"/>
                      </a:lnTo>
                      <a:lnTo>
                        <a:pt x="804" y="1750"/>
                      </a:lnTo>
                      <a:lnTo>
                        <a:pt x="835" y="1743"/>
                      </a:lnTo>
                      <a:lnTo>
                        <a:pt x="865" y="1733"/>
                      </a:lnTo>
                      <a:lnTo>
                        <a:pt x="894" y="1720"/>
                      </a:lnTo>
                      <a:lnTo>
                        <a:pt x="921" y="1706"/>
                      </a:lnTo>
                      <a:lnTo>
                        <a:pt x="948" y="1689"/>
                      </a:lnTo>
                      <a:lnTo>
                        <a:pt x="973" y="1670"/>
                      </a:lnTo>
                      <a:lnTo>
                        <a:pt x="997" y="1649"/>
                      </a:lnTo>
                      <a:lnTo>
                        <a:pt x="1019" y="1627"/>
                      </a:lnTo>
                      <a:lnTo>
                        <a:pt x="1041" y="1602"/>
                      </a:lnTo>
                      <a:lnTo>
                        <a:pt x="1061" y="1577"/>
                      </a:lnTo>
                      <a:lnTo>
                        <a:pt x="1081" y="1550"/>
                      </a:lnTo>
                      <a:lnTo>
                        <a:pt x="1099" y="1520"/>
                      </a:lnTo>
                      <a:lnTo>
                        <a:pt x="1117" y="1491"/>
                      </a:lnTo>
                      <a:lnTo>
                        <a:pt x="1133" y="1461"/>
                      </a:lnTo>
                      <a:lnTo>
                        <a:pt x="1147" y="1428"/>
                      </a:lnTo>
                      <a:lnTo>
                        <a:pt x="1161" y="1397"/>
                      </a:lnTo>
                      <a:lnTo>
                        <a:pt x="1175" y="1363"/>
                      </a:lnTo>
                      <a:lnTo>
                        <a:pt x="1186" y="1330"/>
                      </a:lnTo>
                      <a:lnTo>
                        <a:pt x="1197" y="1296"/>
                      </a:lnTo>
                      <a:lnTo>
                        <a:pt x="1207" y="1262"/>
                      </a:lnTo>
                      <a:lnTo>
                        <a:pt x="1216" y="1229"/>
                      </a:lnTo>
                      <a:lnTo>
                        <a:pt x="1223" y="1195"/>
                      </a:lnTo>
                      <a:lnTo>
                        <a:pt x="1230" y="1162"/>
                      </a:lnTo>
                      <a:lnTo>
                        <a:pt x="1236" y="1128"/>
                      </a:lnTo>
                      <a:lnTo>
                        <a:pt x="1241" y="1096"/>
                      </a:lnTo>
                      <a:lnTo>
                        <a:pt x="1245" y="1063"/>
                      </a:lnTo>
                      <a:lnTo>
                        <a:pt x="1248" y="1032"/>
                      </a:lnTo>
                      <a:lnTo>
                        <a:pt x="1250" y="1002"/>
                      </a:lnTo>
                      <a:lnTo>
                        <a:pt x="1251" y="972"/>
                      </a:lnTo>
                      <a:lnTo>
                        <a:pt x="1252" y="944"/>
                      </a:lnTo>
                      <a:lnTo>
                        <a:pt x="1252" y="0"/>
                      </a:lnTo>
                      <a:lnTo>
                        <a:pt x="1762" y="0"/>
                      </a:lnTo>
                      <a:lnTo>
                        <a:pt x="1762" y="2183"/>
                      </a:lnTo>
                      <a:lnTo>
                        <a:pt x="1252" y="2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7" name="Freeform 12"/>
                <p:cNvSpPr>
                  <a:spLocks/>
                </p:cNvSpPr>
                <p:nvPr userDrawn="1"/>
              </p:nvSpPr>
              <p:spPr bwMode="auto">
                <a:xfrm>
                  <a:off x="2911475" y="2555875"/>
                  <a:ext cx="177800" cy="322263"/>
                </a:xfrm>
                <a:custGeom>
                  <a:avLst/>
                  <a:gdLst/>
                  <a:ahLst/>
                  <a:cxnLst>
                    <a:cxn ang="0">
                      <a:pos x="511" y="2235"/>
                    </a:cxn>
                    <a:cxn ang="0">
                      <a:pos x="0" y="52"/>
                    </a:cxn>
                    <a:cxn ang="0">
                      <a:pos x="511" y="455"/>
                    </a:cxn>
                    <a:cxn ang="0">
                      <a:pos x="536" y="427"/>
                    </a:cxn>
                    <a:cxn ang="0">
                      <a:pos x="568" y="373"/>
                    </a:cxn>
                    <a:cxn ang="0">
                      <a:pos x="600" y="324"/>
                    </a:cxn>
                    <a:cxn ang="0">
                      <a:pos x="634" y="278"/>
                    </a:cxn>
                    <a:cxn ang="0">
                      <a:pos x="667" y="235"/>
                    </a:cxn>
                    <a:cxn ang="0">
                      <a:pos x="703" y="196"/>
                    </a:cxn>
                    <a:cxn ang="0">
                      <a:pos x="740" y="161"/>
                    </a:cxn>
                    <a:cxn ang="0">
                      <a:pos x="779" y="129"/>
                    </a:cxn>
                    <a:cxn ang="0">
                      <a:pos x="821" y="101"/>
                    </a:cxn>
                    <a:cxn ang="0">
                      <a:pos x="864" y="76"/>
                    </a:cxn>
                    <a:cxn ang="0">
                      <a:pos x="910" y="55"/>
                    </a:cxn>
                    <a:cxn ang="0">
                      <a:pos x="960" y="37"/>
                    </a:cxn>
                    <a:cxn ang="0">
                      <a:pos x="1013" y="22"/>
                    </a:cxn>
                    <a:cxn ang="0">
                      <a:pos x="1069" y="12"/>
                    </a:cxn>
                    <a:cxn ang="0">
                      <a:pos x="1130" y="4"/>
                    </a:cxn>
                    <a:cxn ang="0">
                      <a:pos x="1194" y="1"/>
                    </a:cxn>
                    <a:cxn ang="0">
                      <a:pos x="1228" y="533"/>
                    </a:cxn>
                    <a:cxn ang="0">
                      <a:pos x="1134" y="536"/>
                    </a:cxn>
                    <a:cxn ang="0">
                      <a:pos x="1047" y="543"/>
                    </a:cxn>
                    <a:cxn ang="0">
                      <a:pos x="967" y="558"/>
                    </a:cxn>
                    <a:cxn ang="0">
                      <a:pos x="895" y="577"/>
                    </a:cxn>
                    <a:cxn ang="0">
                      <a:pos x="829" y="602"/>
                    </a:cxn>
                    <a:cxn ang="0">
                      <a:pos x="770" y="632"/>
                    </a:cxn>
                    <a:cxn ang="0">
                      <a:pos x="719" y="669"/>
                    </a:cxn>
                    <a:cxn ang="0">
                      <a:pos x="673" y="712"/>
                    </a:cxn>
                    <a:cxn ang="0">
                      <a:pos x="633" y="760"/>
                    </a:cxn>
                    <a:cxn ang="0">
                      <a:pos x="599" y="815"/>
                    </a:cxn>
                    <a:cxn ang="0">
                      <a:pos x="572" y="875"/>
                    </a:cxn>
                    <a:cxn ang="0">
                      <a:pos x="549" y="943"/>
                    </a:cxn>
                    <a:cxn ang="0">
                      <a:pos x="532" y="1017"/>
                    </a:cxn>
                    <a:cxn ang="0">
                      <a:pos x="520" y="1096"/>
                    </a:cxn>
                    <a:cxn ang="0">
                      <a:pos x="513" y="1182"/>
                    </a:cxn>
                    <a:cxn ang="0">
                      <a:pos x="511" y="1276"/>
                    </a:cxn>
                  </a:cxnLst>
                  <a:rect l="0" t="0" r="r" b="b"/>
                  <a:pathLst>
                    <a:path w="1228" h="2235">
                      <a:moveTo>
                        <a:pt x="511" y="1276"/>
                      </a:moveTo>
                      <a:lnTo>
                        <a:pt x="511" y="2235"/>
                      </a:lnTo>
                      <a:lnTo>
                        <a:pt x="0" y="2235"/>
                      </a:lnTo>
                      <a:lnTo>
                        <a:pt x="0" y="52"/>
                      </a:lnTo>
                      <a:lnTo>
                        <a:pt x="511" y="52"/>
                      </a:lnTo>
                      <a:lnTo>
                        <a:pt x="511" y="455"/>
                      </a:lnTo>
                      <a:lnTo>
                        <a:pt x="519" y="455"/>
                      </a:lnTo>
                      <a:lnTo>
                        <a:pt x="536" y="427"/>
                      </a:lnTo>
                      <a:lnTo>
                        <a:pt x="552" y="400"/>
                      </a:lnTo>
                      <a:lnTo>
                        <a:pt x="568" y="373"/>
                      </a:lnTo>
                      <a:lnTo>
                        <a:pt x="583" y="348"/>
                      </a:lnTo>
                      <a:lnTo>
                        <a:pt x="600" y="324"/>
                      </a:lnTo>
                      <a:lnTo>
                        <a:pt x="617" y="301"/>
                      </a:lnTo>
                      <a:lnTo>
                        <a:pt x="634" y="278"/>
                      </a:lnTo>
                      <a:lnTo>
                        <a:pt x="651" y="256"/>
                      </a:lnTo>
                      <a:lnTo>
                        <a:pt x="667" y="235"/>
                      </a:lnTo>
                      <a:lnTo>
                        <a:pt x="685" y="215"/>
                      </a:lnTo>
                      <a:lnTo>
                        <a:pt x="703" y="196"/>
                      </a:lnTo>
                      <a:lnTo>
                        <a:pt x="721" y="178"/>
                      </a:lnTo>
                      <a:lnTo>
                        <a:pt x="740" y="161"/>
                      </a:lnTo>
                      <a:lnTo>
                        <a:pt x="760" y="145"/>
                      </a:lnTo>
                      <a:lnTo>
                        <a:pt x="779" y="129"/>
                      </a:lnTo>
                      <a:lnTo>
                        <a:pt x="800" y="114"/>
                      </a:lnTo>
                      <a:lnTo>
                        <a:pt x="821" y="101"/>
                      </a:lnTo>
                      <a:lnTo>
                        <a:pt x="842" y="87"/>
                      </a:lnTo>
                      <a:lnTo>
                        <a:pt x="864" y="76"/>
                      </a:lnTo>
                      <a:lnTo>
                        <a:pt x="887" y="64"/>
                      </a:lnTo>
                      <a:lnTo>
                        <a:pt x="910" y="55"/>
                      </a:lnTo>
                      <a:lnTo>
                        <a:pt x="936" y="45"/>
                      </a:lnTo>
                      <a:lnTo>
                        <a:pt x="960" y="37"/>
                      </a:lnTo>
                      <a:lnTo>
                        <a:pt x="986" y="28"/>
                      </a:lnTo>
                      <a:lnTo>
                        <a:pt x="1013" y="22"/>
                      </a:lnTo>
                      <a:lnTo>
                        <a:pt x="1041" y="17"/>
                      </a:lnTo>
                      <a:lnTo>
                        <a:pt x="1069" y="12"/>
                      </a:lnTo>
                      <a:lnTo>
                        <a:pt x="1099" y="8"/>
                      </a:lnTo>
                      <a:lnTo>
                        <a:pt x="1130" y="4"/>
                      </a:lnTo>
                      <a:lnTo>
                        <a:pt x="1162" y="2"/>
                      </a:lnTo>
                      <a:lnTo>
                        <a:pt x="1194" y="1"/>
                      </a:lnTo>
                      <a:lnTo>
                        <a:pt x="1228" y="0"/>
                      </a:lnTo>
                      <a:lnTo>
                        <a:pt x="1228" y="533"/>
                      </a:lnTo>
                      <a:lnTo>
                        <a:pt x="1180" y="534"/>
                      </a:lnTo>
                      <a:lnTo>
                        <a:pt x="1134" y="536"/>
                      </a:lnTo>
                      <a:lnTo>
                        <a:pt x="1089" y="539"/>
                      </a:lnTo>
                      <a:lnTo>
                        <a:pt x="1047" y="543"/>
                      </a:lnTo>
                      <a:lnTo>
                        <a:pt x="1006" y="549"/>
                      </a:lnTo>
                      <a:lnTo>
                        <a:pt x="967" y="558"/>
                      </a:lnTo>
                      <a:lnTo>
                        <a:pt x="930" y="566"/>
                      </a:lnTo>
                      <a:lnTo>
                        <a:pt x="895" y="577"/>
                      </a:lnTo>
                      <a:lnTo>
                        <a:pt x="861" y="588"/>
                      </a:lnTo>
                      <a:lnTo>
                        <a:pt x="829" y="602"/>
                      </a:lnTo>
                      <a:lnTo>
                        <a:pt x="799" y="616"/>
                      </a:lnTo>
                      <a:lnTo>
                        <a:pt x="770" y="632"/>
                      </a:lnTo>
                      <a:lnTo>
                        <a:pt x="744" y="650"/>
                      </a:lnTo>
                      <a:lnTo>
                        <a:pt x="719" y="669"/>
                      </a:lnTo>
                      <a:lnTo>
                        <a:pt x="695" y="690"/>
                      </a:lnTo>
                      <a:lnTo>
                        <a:pt x="673" y="712"/>
                      </a:lnTo>
                      <a:lnTo>
                        <a:pt x="652" y="735"/>
                      </a:lnTo>
                      <a:lnTo>
                        <a:pt x="633" y="760"/>
                      </a:lnTo>
                      <a:lnTo>
                        <a:pt x="616" y="787"/>
                      </a:lnTo>
                      <a:lnTo>
                        <a:pt x="599" y="815"/>
                      </a:lnTo>
                      <a:lnTo>
                        <a:pt x="584" y="845"/>
                      </a:lnTo>
                      <a:lnTo>
                        <a:pt x="572" y="875"/>
                      </a:lnTo>
                      <a:lnTo>
                        <a:pt x="559" y="909"/>
                      </a:lnTo>
                      <a:lnTo>
                        <a:pt x="549" y="943"/>
                      </a:lnTo>
                      <a:lnTo>
                        <a:pt x="539" y="979"/>
                      </a:lnTo>
                      <a:lnTo>
                        <a:pt x="532" y="1017"/>
                      </a:lnTo>
                      <a:lnTo>
                        <a:pt x="526" y="1056"/>
                      </a:lnTo>
                      <a:lnTo>
                        <a:pt x="520" y="1096"/>
                      </a:lnTo>
                      <a:lnTo>
                        <a:pt x="516" y="1138"/>
                      </a:lnTo>
                      <a:lnTo>
                        <a:pt x="513" y="1182"/>
                      </a:lnTo>
                      <a:lnTo>
                        <a:pt x="511" y="1229"/>
                      </a:lnTo>
                      <a:lnTo>
                        <a:pt x="511" y="1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8" name="Freeform 13"/>
                <p:cNvSpPr>
                  <a:spLocks noEditPoints="1"/>
                </p:cNvSpPr>
                <p:nvPr userDrawn="1"/>
              </p:nvSpPr>
              <p:spPr bwMode="auto">
                <a:xfrm>
                  <a:off x="3103563" y="2555875"/>
                  <a:ext cx="255587" cy="330200"/>
                </a:xfrm>
                <a:custGeom>
                  <a:avLst/>
                  <a:gdLst/>
                  <a:ahLst/>
                  <a:cxnLst>
                    <a:cxn ang="0">
                      <a:pos x="1768" y="788"/>
                    </a:cxn>
                    <a:cxn ang="0">
                      <a:pos x="1742" y="607"/>
                    </a:cxn>
                    <a:cxn ang="0">
                      <a:pos x="1690" y="445"/>
                    </a:cxn>
                    <a:cxn ang="0">
                      <a:pos x="1612" y="305"/>
                    </a:cxn>
                    <a:cxn ang="0">
                      <a:pos x="1508" y="189"/>
                    </a:cxn>
                    <a:cxn ang="0">
                      <a:pos x="1378" y="99"/>
                    </a:cxn>
                    <a:cxn ang="0">
                      <a:pos x="1222" y="37"/>
                    </a:cxn>
                    <a:cxn ang="0">
                      <a:pos x="1039" y="4"/>
                    </a:cxn>
                    <a:cxn ang="0">
                      <a:pos x="821" y="5"/>
                    </a:cxn>
                    <a:cxn ang="0">
                      <a:pos x="609" y="42"/>
                    </a:cxn>
                    <a:cxn ang="0">
                      <a:pos x="432" y="114"/>
                    </a:cxn>
                    <a:cxn ang="0">
                      <a:pos x="286" y="218"/>
                    </a:cxn>
                    <a:cxn ang="0">
                      <a:pos x="171" y="353"/>
                    </a:cxn>
                    <a:cxn ang="0">
                      <a:pos x="86" y="516"/>
                    </a:cxn>
                    <a:cxn ang="0">
                      <a:pos x="30" y="703"/>
                    </a:cxn>
                    <a:cxn ang="0">
                      <a:pos x="3" y="914"/>
                    </a:cxn>
                    <a:cxn ang="0">
                      <a:pos x="4" y="1161"/>
                    </a:cxn>
                    <a:cxn ang="0">
                      <a:pos x="35" y="1412"/>
                    </a:cxn>
                    <a:cxn ang="0">
                      <a:pos x="100" y="1639"/>
                    </a:cxn>
                    <a:cxn ang="0">
                      <a:pos x="197" y="1839"/>
                    </a:cxn>
                    <a:cxn ang="0">
                      <a:pos x="332" y="2006"/>
                    </a:cxn>
                    <a:cxn ang="0">
                      <a:pos x="503" y="2138"/>
                    </a:cxn>
                    <a:cxn ang="0">
                      <a:pos x="714" y="2231"/>
                    </a:cxn>
                    <a:cxn ang="0">
                      <a:pos x="964" y="2279"/>
                    </a:cxn>
                    <a:cxn ang="0">
                      <a:pos x="1181" y="2284"/>
                    </a:cxn>
                    <a:cxn ang="0">
                      <a:pos x="1337" y="2275"/>
                    </a:cxn>
                    <a:cxn ang="0">
                      <a:pos x="1490" y="2254"/>
                    </a:cxn>
                    <a:cxn ang="0">
                      <a:pos x="1642" y="2220"/>
                    </a:cxn>
                    <a:cxn ang="0">
                      <a:pos x="1667" y="1862"/>
                    </a:cxn>
                    <a:cxn ang="0">
                      <a:pos x="1483" y="1909"/>
                    </a:cxn>
                    <a:cxn ang="0">
                      <a:pos x="1376" y="1923"/>
                    </a:cxn>
                    <a:cxn ang="0">
                      <a:pos x="1252" y="1926"/>
                    </a:cxn>
                    <a:cxn ang="0">
                      <a:pos x="1077" y="1896"/>
                    </a:cxn>
                    <a:cxn ang="0">
                      <a:pos x="922" y="1829"/>
                    </a:cxn>
                    <a:cxn ang="0">
                      <a:pos x="787" y="1733"/>
                    </a:cxn>
                    <a:cxn ang="0">
                      <a:pos x="674" y="1609"/>
                    </a:cxn>
                    <a:cxn ang="0">
                      <a:pos x="583" y="1466"/>
                    </a:cxn>
                    <a:cxn ang="0">
                      <a:pos x="519" y="1308"/>
                    </a:cxn>
                    <a:cxn ang="0">
                      <a:pos x="482" y="1139"/>
                    </a:cxn>
                    <a:cxn ang="0">
                      <a:pos x="1771" y="1009"/>
                    </a:cxn>
                    <a:cxn ang="0">
                      <a:pos x="494" y="662"/>
                    </a:cxn>
                    <a:cxn ang="0">
                      <a:pos x="515" y="586"/>
                    </a:cxn>
                    <a:cxn ang="0">
                      <a:pos x="550" y="518"/>
                    </a:cxn>
                    <a:cxn ang="0">
                      <a:pos x="594" y="458"/>
                    </a:cxn>
                    <a:cxn ang="0">
                      <a:pos x="648" y="408"/>
                    </a:cxn>
                    <a:cxn ang="0">
                      <a:pos x="712" y="369"/>
                    </a:cxn>
                    <a:cxn ang="0">
                      <a:pos x="783" y="342"/>
                    </a:cxn>
                    <a:cxn ang="0">
                      <a:pos x="861" y="328"/>
                    </a:cxn>
                    <a:cxn ang="0">
                      <a:pos x="945" y="328"/>
                    </a:cxn>
                    <a:cxn ang="0">
                      <a:pos x="1025" y="341"/>
                    </a:cxn>
                    <a:cxn ang="0">
                      <a:pos x="1095" y="366"/>
                    </a:cxn>
                    <a:cxn ang="0">
                      <a:pos x="1156" y="404"/>
                    </a:cxn>
                    <a:cxn ang="0">
                      <a:pos x="1207" y="452"/>
                    </a:cxn>
                    <a:cxn ang="0">
                      <a:pos x="1245" y="512"/>
                    </a:cxn>
                    <a:cxn ang="0">
                      <a:pos x="1273" y="581"/>
                    </a:cxn>
                    <a:cxn ang="0">
                      <a:pos x="1286" y="659"/>
                    </a:cxn>
                  </a:cxnLst>
                  <a:rect l="0" t="0" r="r" b="b"/>
                  <a:pathLst>
                    <a:path w="1771" h="2285">
                      <a:moveTo>
                        <a:pt x="1771" y="1009"/>
                      </a:moveTo>
                      <a:lnTo>
                        <a:pt x="1771" y="886"/>
                      </a:lnTo>
                      <a:lnTo>
                        <a:pt x="1770" y="837"/>
                      </a:lnTo>
                      <a:lnTo>
                        <a:pt x="1768" y="788"/>
                      </a:lnTo>
                      <a:lnTo>
                        <a:pt x="1764" y="741"/>
                      </a:lnTo>
                      <a:lnTo>
                        <a:pt x="1758" y="695"/>
                      </a:lnTo>
                      <a:lnTo>
                        <a:pt x="1751" y="650"/>
                      </a:lnTo>
                      <a:lnTo>
                        <a:pt x="1742" y="607"/>
                      </a:lnTo>
                      <a:lnTo>
                        <a:pt x="1731" y="564"/>
                      </a:lnTo>
                      <a:lnTo>
                        <a:pt x="1719" y="523"/>
                      </a:lnTo>
                      <a:lnTo>
                        <a:pt x="1706" y="483"/>
                      </a:lnTo>
                      <a:lnTo>
                        <a:pt x="1690" y="445"/>
                      </a:lnTo>
                      <a:lnTo>
                        <a:pt x="1673" y="408"/>
                      </a:lnTo>
                      <a:lnTo>
                        <a:pt x="1654" y="372"/>
                      </a:lnTo>
                      <a:lnTo>
                        <a:pt x="1634" y="338"/>
                      </a:lnTo>
                      <a:lnTo>
                        <a:pt x="1612" y="305"/>
                      </a:lnTo>
                      <a:lnTo>
                        <a:pt x="1588" y="274"/>
                      </a:lnTo>
                      <a:lnTo>
                        <a:pt x="1564" y="243"/>
                      </a:lnTo>
                      <a:lnTo>
                        <a:pt x="1537" y="215"/>
                      </a:lnTo>
                      <a:lnTo>
                        <a:pt x="1508" y="189"/>
                      </a:lnTo>
                      <a:lnTo>
                        <a:pt x="1478" y="164"/>
                      </a:lnTo>
                      <a:lnTo>
                        <a:pt x="1446" y="141"/>
                      </a:lnTo>
                      <a:lnTo>
                        <a:pt x="1413" y="119"/>
                      </a:lnTo>
                      <a:lnTo>
                        <a:pt x="1378" y="99"/>
                      </a:lnTo>
                      <a:lnTo>
                        <a:pt x="1341" y="81"/>
                      </a:lnTo>
                      <a:lnTo>
                        <a:pt x="1303" y="64"/>
                      </a:lnTo>
                      <a:lnTo>
                        <a:pt x="1263" y="49"/>
                      </a:lnTo>
                      <a:lnTo>
                        <a:pt x="1222" y="37"/>
                      </a:lnTo>
                      <a:lnTo>
                        <a:pt x="1179" y="25"/>
                      </a:lnTo>
                      <a:lnTo>
                        <a:pt x="1134" y="17"/>
                      </a:lnTo>
                      <a:lnTo>
                        <a:pt x="1088" y="10"/>
                      </a:lnTo>
                      <a:lnTo>
                        <a:pt x="1039" y="4"/>
                      </a:lnTo>
                      <a:lnTo>
                        <a:pt x="990" y="1"/>
                      </a:lnTo>
                      <a:lnTo>
                        <a:pt x="938" y="0"/>
                      </a:lnTo>
                      <a:lnTo>
                        <a:pt x="879" y="1"/>
                      </a:lnTo>
                      <a:lnTo>
                        <a:pt x="821" y="5"/>
                      </a:lnTo>
                      <a:lnTo>
                        <a:pt x="764" y="11"/>
                      </a:lnTo>
                      <a:lnTo>
                        <a:pt x="710" y="19"/>
                      </a:lnTo>
                      <a:lnTo>
                        <a:pt x="659" y="30"/>
                      </a:lnTo>
                      <a:lnTo>
                        <a:pt x="609" y="42"/>
                      </a:lnTo>
                      <a:lnTo>
                        <a:pt x="562" y="57"/>
                      </a:lnTo>
                      <a:lnTo>
                        <a:pt x="516" y="74"/>
                      </a:lnTo>
                      <a:lnTo>
                        <a:pt x="473" y="93"/>
                      </a:lnTo>
                      <a:lnTo>
                        <a:pt x="432" y="114"/>
                      </a:lnTo>
                      <a:lnTo>
                        <a:pt x="392" y="137"/>
                      </a:lnTo>
                      <a:lnTo>
                        <a:pt x="354" y="163"/>
                      </a:lnTo>
                      <a:lnTo>
                        <a:pt x="319" y="190"/>
                      </a:lnTo>
                      <a:lnTo>
                        <a:pt x="286" y="218"/>
                      </a:lnTo>
                      <a:lnTo>
                        <a:pt x="254" y="250"/>
                      </a:lnTo>
                      <a:lnTo>
                        <a:pt x="225" y="282"/>
                      </a:lnTo>
                      <a:lnTo>
                        <a:pt x="196" y="317"/>
                      </a:lnTo>
                      <a:lnTo>
                        <a:pt x="171" y="353"/>
                      </a:lnTo>
                      <a:lnTo>
                        <a:pt x="147" y="391"/>
                      </a:lnTo>
                      <a:lnTo>
                        <a:pt x="125" y="431"/>
                      </a:lnTo>
                      <a:lnTo>
                        <a:pt x="104" y="473"/>
                      </a:lnTo>
                      <a:lnTo>
                        <a:pt x="86" y="516"/>
                      </a:lnTo>
                      <a:lnTo>
                        <a:pt x="69" y="560"/>
                      </a:lnTo>
                      <a:lnTo>
                        <a:pt x="54" y="606"/>
                      </a:lnTo>
                      <a:lnTo>
                        <a:pt x="42" y="654"/>
                      </a:lnTo>
                      <a:lnTo>
                        <a:pt x="30" y="703"/>
                      </a:lnTo>
                      <a:lnTo>
                        <a:pt x="21" y="754"/>
                      </a:lnTo>
                      <a:lnTo>
                        <a:pt x="13" y="806"/>
                      </a:lnTo>
                      <a:lnTo>
                        <a:pt x="7" y="860"/>
                      </a:lnTo>
                      <a:lnTo>
                        <a:pt x="3" y="914"/>
                      </a:lnTo>
                      <a:lnTo>
                        <a:pt x="1" y="971"/>
                      </a:lnTo>
                      <a:lnTo>
                        <a:pt x="0" y="1028"/>
                      </a:lnTo>
                      <a:lnTo>
                        <a:pt x="1" y="1095"/>
                      </a:lnTo>
                      <a:lnTo>
                        <a:pt x="4" y="1161"/>
                      </a:lnTo>
                      <a:lnTo>
                        <a:pt x="8" y="1225"/>
                      </a:lnTo>
                      <a:lnTo>
                        <a:pt x="16" y="1289"/>
                      </a:lnTo>
                      <a:lnTo>
                        <a:pt x="24" y="1351"/>
                      </a:lnTo>
                      <a:lnTo>
                        <a:pt x="35" y="1412"/>
                      </a:lnTo>
                      <a:lnTo>
                        <a:pt x="48" y="1471"/>
                      </a:lnTo>
                      <a:lnTo>
                        <a:pt x="63" y="1528"/>
                      </a:lnTo>
                      <a:lnTo>
                        <a:pt x="80" y="1585"/>
                      </a:lnTo>
                      <a:lnTo>
                        <a:pt x="100" y="1639"/>
                      </a:lnTo>
                      <a:lnTo>
                        <a:pt x="121" y="1692"/>
                      </a:lnTo>
                      <a:lnTo>
                        <a:pt x="144" y="1742"/>
                      </a:lnTo>
                      <a:lnTo>
                        <a:pt x="170" y="1791"/>
                      </a:lnTo>
                      <a:lnTo>
                        <a:pt x="197" y="1839"/>
                      </a:lnTo>
                      <a:lnTo>
                        <a:pt x="228" y="1884"/>
                      </a:lnTo>
                      <a:lnTo>
                        <a:pt x="260" y="1927"/>
                      </a:lnTo>
                      <a:lnTo>
                        <a:pt x="295" y="1967"/>
                      </a:lnTo>
                      <a:lnTo>
                        <a:pt x="332" y="2006"/>
                      </a:lnTo>
                      <a:lnTo>
                        <a:pt x="372" y="2043"/>
                      </a:lnTo>
                      <a:lnTo>
                        <a:pt x="413" y="2077"/>
                      </a:lnTo>
                      <a:lnTo>
                        <a:pt x="457" y="2109"/>
                      </a:lnTo>
                      <a:lnTo>
                        <a:pt x="503" y="2138"/>
                      </a:lnTo>
                      <a:lnTo>
                        <a:pt x="553" y="2166"/>
                      </a:lnTo>
                      <a:lnTo>
                        <a:pt x="603" y="2190"/>
                      </a:lnTo>
                      <a:lnTo>
                        <a:pt x="657" y="2212"/>
                      </a:lnTo>
                      <a:lnTo>
                        <a:pt x="714" y="2231"/>
                      </a:lnTo>
                      <a:lnTo>
                        <a:pt x="772" y="2247"/>
                      </a:lnTo>
                      <a:lnTo>
                        <a:pt x="833" y="2261"/>
                      </a:lnTo>
                      <a:lnTo>
                        <a:pt x="897" y="2271"/>
                      </a:lnTo>
                      <a:lnTo>
                        <a:pt x="964" y="2279"/>
                      </a:lnTo>
                      <a:lnTo>
                        <a:pt x="1032" y="2284"/>
                      </a:lnTo>
                      <a:lnTo>
                        <a:pt x="1105" y="2285"/>
                      </a:lnTo>
                      <a:lnTo>
                        <a:pt x="1142" y="2285"/>
                      </a:lnTo>
                      <a:lnTo>
                        <a:pt x="1181" y="2284"/>
                      </a:lnTo>
                      <a:lnTo>
                        <a:pt x="1220" y="2283"/>
                      </a:lnTo>
                      <a:lnTo>
                        <a:pt x="1259" y="2281"/>
                      </a:lnTo>
                      <a:lnTo>
                        <a:pt x="1298" y="2278"/>
                      </a:lnTo>
                      <a:lnTo>
                        <a:pt x="1337" y="2275"/>
                      </a:lnTo>
                      <a:lnTo>
                        <a:pt x="1375" y="2270"/>
                      </a:lnTo>
                      <a:lnTo>
                        <a:pt x="1414" y="2265"/>
                      </a:lnTo>
                      <a:lnTo>
                        <a:pt x="1451" y="2260"/>
                      </a:lnTo>
                      <a:lnTo>
                        <a:pt x="1490" y="2254"/>
                      </a:lnTo>
                      <a:lnTo>
                        <a:pt x="1528" y="2246"/>
                      </a:lnTo>
                      <a:lnTo>
                        <a:pt x="1566" y="2239"/>
                      </a:lnTo>
                      <a:lnTo>
                        <a:pt x="1604" y="2229"/>
                      </a:lnTo>
                      <a:lnTo>
                        <a:pt x="1642" y="2220"/>
                      </a:lnTo>
                      <a:lnTo>
                        <a:pt x="1678" y="2210"/>
                      </a:lnTo>
                      <a:lnTo>
                        <a:pt x="1715" y="2198"/>
                      </a:lnTo>
                      <a:lnTo>
                        <a:pt x="1715" y="1845"/>
                      </a:lnTo>
                      <a:lnTo>
                        <a:pt x="1667" y="1862"/>
                      </a:lnTo>
                      <a:lnTo>
                        <a:pt x="1615" y="1877"/>
                      </a:lnTo>
                      <a:lnTo>
                        <a:pt x="1563" y="1891"/>
                      </a:lnTo>
                      <a:lnTo>
                        <a:pt x="1510" y="1904"/>
                      </a:lnTo>
                      <a:lnTo>
                        <a:pt x="1483" y="1909"/>
                      </a:lnTo>
                      <a:lnTo>
                        <a:pt x="1457" y="1913"/>
                      </a:lnTo>
                      <a:lnTo>
                        <a:pt x="1429" y="1917"/>
                      </a:lnTo>
                      <a:lnTo>
                        <a:pt x="1403" y="1920"/>
                      </a:lnTo>
                      <a:lnTo>
                        <a:pt x="1376" y="1923"/>
                      </a:lnTo>
                      <a:lnTo>
                        <a:pt x="1349" y="1926"/>
                      </a:lnTo>
                      <a:lnTo>
                        <a:pt x="1323" y="1927"/>
                      </a:lnTo>
                      <a:lnTo>
                        <a:pt x="1298" y="1928"/>
                      </a:lnTo>
                      <a:lnTo>
                        <a:pt x="1252" y="1926"/>
                      </a:lnTo>
                      <a:lnTo>
                        <a:pt x="1207" y="1922"/>
                      </a:lnTo>
                      <a:lnTo>
                        <a:pt x="1162" y="1916"/>
                      </a:lnTo>
                      <a:lnTo>
                        <a:pt x="1119" y="1907"/>
                      </a:lnTo>
                      <a:lnTo>
                        <a:pt x="1077" y="1896"/>
                      </a:lnTo>
                      <a:lnTo>
                        <a:pt x="1037" y="1883"/>
                      </a:lnTo>
                      <a:lnTo>
                        <a:pt x="997" y="1867"/>
                      </a:lnTo>
                      <a:lnTo>
                        <a:pt x="959" y="1849"/>
                      </a:lnTo>
                      <a:lnTo>
                        <a:pt x="922" y="1829"/>
                      </a:lnTo>
                      <a:lnTo>
                        <a:pt x="886" y="1808"/>
                      </a:lnTo>
                      <a:lnTo>
                        <a:pt x="851" y="1784"/>
                      </a:lnTo>
                      <a:lnTo>
                        <a:pt x="819" y="1759"/>
                      </a:lnTo>
                      <a:lnTo>
                        <a:pt x="787" y="1733"/>
                      </a:lnTo>
                      <a:lnTo>
                        <a:pt x="757" y="1703"/>
                      </a:lnTo>
                      <a:lnTo>
                        <a:pt x="727" y="1674"/>
                      </a:lnTo>
                      <a:lnTo>
                        <a:pt x="700" y="1643"/>
                      </a:lnTo>
                      <a:lnTo>
                        <a:pt x="674" y="1609"/>
                      </a:lnTo>
                      <a:lnTo>
                        <a:pt x="648" y="1575"/>
                      </a:lnTo>
                      <a:lnTo>
                        <a:pt x="625" y="1540"/>
                      </a:lnTo>
                      <a:lnTo>
                        <a:pt x="603" y="1504"/>
                      </a:lnTo>
                      <a:lnTo>
                        <a:pt x="583" y="1466"/>
                      </a:lnTo>
                      <a:lnTo>
                        <a:pt x="565" y="1428"/>
                      </a:lnTo>
                      <a:lnTo>
                        <a:pt x="548" y="1389"/>
                      </a:lnTo>
                      <a:lnTo>
                        <a:pt x="533" y="1349"/>
                      </a:lnTo>
                      <a:lnTo>
                        <a:pt x="519" y="1308"/>
                      </a:lnTo>
                      <a:lnTo>
                        <a:pt x="507" y="1266"/>
                      </a:lnTo>
                      <a:lnTo>
                        <a:pt x="497" y="1224"/>
                      </a:lnTo>
                      <a:lnTo>
                        <a:pt x="489" y="1182"/>
                      </a:lnTo>
                      <a:lnTo>
                        <a:pt x="482" y="1139"/>
                      </a:lnTo>
                      <a:lnTo>
                        <a:pt x="478" y="1096"/>
                      </a:lnTo>
                      <a:lnTo>
                        <a:pt x="475" y="1054"/>
                      </a:lnTo>
                      <a:lnTo>
                        <a:pt x="474" y="1009"/>
                      </a:lnTo>
                      <a:lnTo>
                        <a:pt x="1771" y="1009"/>
                      </a:lnTo>
                      <a:close/>
                      <a:moveTo>
                        <a:pt x="1289" y="702"/>
                      </a:moveTo>
                      <a:lnTo>
                        <a:pt x="488" y="702"/>
                      </a:lnTo>
                      <a:lnTo>
                        <a:pt x="490" y="681"/>
                      </a:lnTo>
                      <a:lnTo>
                        <a:pt x="494" y="662"/>
                      </a:lnTo>
                      <a:lnTo>
                        <a:pt x="498" y="643"/>
                      </a:lnTo>
                      <a:lnTo>
                        <a:pt x="503" y="623"/>
                      </a:lnTo>
                      <a:lnTo>
                        <a:pt x="509" y="604"/>
                      </a:lnTo>
                      <a:lnTo>
                        <a:pt x="515" y="586"/>
                      </a:lnTo>
                      <a:lnTo>
                        <a:pt x="522" y="568"/>
                      </a:lnTo>
                      <a:lnTo>
                        <a:pt x="531" y="550"/>
                      </a:lnTo>
                      <a:lnTo>
                        <a:pt x="540" y="534"/>
                      </a:lnTo>
                      <a:lnTo>
                        <a:pt x="550" y="518"/>
                      </a:lnTo>
                      <a:lnTo>
                        <a:pt x="559" y="502"/>
                      </a:lnTo>
                      <a:lnTo>
                        <a:pt x="571" y="487"/>
                      </a:lnTo>
                      <a:lnTo>
                        <a:pt x="582" y="472"/>
                      </a:lnTo>
                      <a:lnTo>
                        <a:pt x="594" y="458"/>
                      </a:lnTo>
                      <a:lnTo>
                        <a:pt x="607" y="445"/>
                      </a:lnTo>
                      <a:lnTo>
                        <a:pt x="620" y="432"/>
                      </a:lnTo>
                      <a:lnTo>
                        <a:pt x="635" y="419"/>
                      </a:lnTo>
                      <a:lnTo>
                        <a:pt x="648" y="408"/>
                      </a:lnTo>
                      <a:lnTo>
                        <a:pt x="664" y="397"/>
                      </a:lnTo>
                      <a:lnTo>
                        <a:pt x="680" y="387"/>
                      </a:lnTo>
                      <a:lnTo>
                        <a:pt x="696" y="378"/>
                      </a:lnTo>
                      <a:lnTo>
                        <a:pt x="712" y="369"/>
                      </a:lnTo>
                      <a:lnTo>
                        <a:pt x="729" y="362"/>
                      </a:lnTo>
                      <a:lnTo>
                        <a:pt x="747" y="354"/>
                      </a:lnTo>
                      <a:lnTo>
                        <a:pt x="765" y="348"/>
                      </a:lnTo>
                      <a:lnTo>
                        <a:pt x="783" y="342"/>
                      </a:lnTo>
                      <a:lnTo>
                        <a:pt x="802" y="338"/>
                      </a:lnTo>
                      <a:lnTo>
                        <a:pt x="821" y="333"/>
                      </a:lnTo>
                      <a:lnTo>
                        <a:pt x="841" y="330"/>
                      </a:lnTo>
                      <a:lnTo>
                        <a:pt x="861" y="328"/>
                      </a:lnTo>
                      <a:lnTo>
                        <a:pt x="881" y="327"/>
                      </a:lnTo>
                      <a:lnTo>
                        <a:pt x="902" y="326"/>
                      </a:lnTo>
                      <a:lnTo>
                        <a:pt x="923" y="326"/>
                      </a:lnTo>
                      <a:lnTo>
                        <a:pt x="945" y="328"/>
                      </a:lnTo>
                      <a:lnTo>
                        <a:pt x="965" y="330"/>
                      </a:lnTo>
                      <a:lnTo>
                        <a:pt x="986" y="332"/>
                      </a:lnTo>
                      <a:lnTo>
                        <a:pt x="1005" y="337"/>
                      </a:lnTo>
                      <a:lnTo>
                        <a:pt x="1025" y="341"/>
                      </a:lnTo>
                      <a:lnTo>
                        <a:pt x="1043" y="346"/>
                      </a:lnTo>
                      <a:lnTo>
                        <a:pt x="1061" y="352"/>
                      </a:lnTo>
                      <a:lnTo>
                        <a:pt x="1078" y="359"/>
                      </a:lnTo>
                      <a:lnTo>
                        <a:pt x="1095" y="366"/>
                      </a:lnTo>
                      <a:lnTo>
                        <a:pt x="1111" y="374"/>
                      </a:lnTo>
                      <a:lnTo>
                        <a:pt x="1127" y="384"/>
                      </a:lnTo>
                      <a:lnTo>
                        <a:pt x="1142" y="393"/>
                      </a:lnTo>
                      <a:lnTo>
                        <a:pt x="1156" y="404"/>
                      </a:lnTo>
                      <a:lnTo>
                        <a:pt x="1170" y="415"/>
                      </a:lnTo>
                      <a:lnTo>
                        <a:pt x="1182" y="427"/>
                      </a:lnTo>
                      <a:lnTo>
                        <a:pt x="1195" y="439"/>
                      </a:lnTo>
                      <a:lnTo>
                        <a:pt x="1207" y="452"/>
                      </a:lnTo>
                      <a:lnTo>
                        <a:pt x="1217" y="467"/>
                      </a:lnTo>
                      <a:lnTo>
                        <a:pt x="1228" y="480"/>
                      </a:lnTo>
                      <a:lnTo>
                        <a:pt x="1237" y="496"/>
                      </a:lnTo>
                      <a:lnTo>
                        <a:pt x="1245" y="512"/>
                      </a:lnTo>
                      <a:lnTo>
                        <a:pt x="1254" y="528"/>
                      </a:lnTo>
                      <a:lnTo>
                        <a:pt x="1261" y="545"/>
                      </a:lnTo>
                      <a:lnTo>
                        <a:pt x="1267" y="563"/>
                      </a:lnTo>
                      <a:lnTo>
                        <a:pt x="1273" y="581"/>
                      </a:lnTo>
                      <a:lnTo>
                        <a:pt x="1277" y="600"/>
                      </a:lnTo>
                      <a:lnTo>
                        <a:pt x="1281" y="619"/>
                      </a:lnTo>
                      <a:lnTo>
                        <a:pt x="1284" y="640"/>
                      </a:lnTo>
                      <a:lnTo>
                        <a:pt x="1286" y="659"/>
                      </a:lnTo>
                      <a:lnTo>
                        <a:pt x="1287" y="680"/>
                      </a:lnTo>
                      <a:lnTo>
                        <a:pt x="1289"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grpSp>
      </p:grpSp>
      <p:sp>
        <p:nvSpPr>
          <p:cNvPr id="69" name="Freeform 5"/>
          <p:cNvSpPr>
            <a:spLocks noChangeAspect="1" noEditPoints="1"/>
          </p:cNvSpPr>
          <p:nvPr userDrawn="1"/>
        </p:nvSpPr>
        <p:spPr bwMode="auto">
          <a:xfrm>
            <a:off x="5095815" y="845968"/>
            <a:ext cx="3618831" cy="188723"/>
          </a:xfrm>
          <a:custGeom>
            <a:avLst/>
            <a:gdLst>
              <a:gd name="T0" fmla="*/ 140 w 13706"/>
              <a:gd name="T1" fmla="*/ 64 h 628"/>
              <a:gd name="T2" fmla="*/ 13662 w 13706"/>
              <a:gd name="T3" fmla="*/ 399 h 628"/>
              <a:gd name="T4" fmla="*/ 13634 w 13706"/>
              <a:gd name="T5" fmla="*/ 304 h 628"/>
              <a:gd name="T6" fmla="*/ 13214 w 13706"/>
              <a:gd name="T7" fmla="*/ 479 h 628"/>
              <a:gd name="T8" fmla="*/ 13011 w 13706"/>
              <a:gd name="T9" fmla="*/ 199 h 628"/>
              <a:gd name="T10" fmla="*/ 12760 w 13706"/>
              <a:gd name="T11" fmla="*/ 169 h 628"/>
              <a:gd name="T12" fmla="*/ 12653 w 13706"/>
              <a:gd name="T13" fmla="*/ 486 h 628"/>
              <a:gd name="T14" fmla="*/ 12694 w 13706"/>
              <a:gd name="T15" fmla="*/ 206 h 628"/>
              <a:gd name="T16" fmla="*/ 12403 w 13706"/>
              <a:gd name="T17" fmla="*/ 338 h 628"/>
              <a:gd name="T18" fmla="*/ 12281 w 13706"/>
              <a:gd name="T19" fmla="*/ 248 h 628"/>
              <a:gd name="T20" fmla="*/ 12096 w 13706"/>
              <a:gd name="T21" fmla="*/ 229 h 628"/>
              <a:gd name="T22" fmla="*/ 11969 w 13706"/>
              <a:gd name="T23" fmla="*/ 477 h 628"/>
              <a:gd name="T24" fmla="*/ 11969 w 13706"/>
              <a:gd name="T25" fmla="*/ 477 h 628"/>
              <a:gd name="T26" fmla="*/ 11505 w 13706"/>
              <a:gd name="T27" fmla="*/ 221 h 628"/>
              <a:gd name="T28" fmla="*/ 11116 w 13706"/>
              <a:gd name="T29" fmla="*/ 253 h 628"/>
              <a:gd name="T30" fmla="*/ 10813 w 13706"/>
              <a:gd name="T31" fmla="*/ 0 h 628"/>
              <a:gd name="T32" fmla="*/ 10560 w 13706"/>
              <a:gd name="T33" fmla="*/ 169 h 628"/>
              <a:gd name="T34" fmla="*/ 10112 w 13706"/>
              <a:gd name="T35" fmla="*/ 479 h 628"/>
              <a:gd name="T36" fmla="*/ 10024 w 13706"/>
              <a:gd name="T37" fmla="*/ 559 h 628"/>
              <a:gd name="T38" fmla="*/ 9827 w 13706"/>
              <a:gd name="T39" fmla="*/ 161 h 628"/>
              <a:gd name="T40" fmla="*/ 9369 w 13706"/>
              <a:gd name="T41" fmla="*/ 199 h 628"/>
              <a:gd name="T42" fmla="*/ 9123 w 13706"/>
              <a:gd name="T43" fmla="*/ 307 h 628"/>
              <a:gd name="T44" fmla="*/ 9167 w 13706"/>
              <a:gd name="T45" fmla="*/ 257 h 628"/>
              <a:gd name="T46" fmla="*/ 8669 w 13706"/>
              <a:gd name="T47" fmla="*/ 29 h 628"/>
              <a:gd name="T48" fmla="*/ 8458 w 13706"/>
              <a:gd name="T49" fmla="*/ 161 h 628"/>
              <a:gd name="T50" fmla="*/ 8103 w 13706"/>
              <a:gd name="T51" fmla="*/ 257 h 628"/>
              <a:gd name="T52" fmla="*/ 8210 w 13706"/>
              <a:gd name="T53" fmla="*/ 449 h 628"/>
              <a:gd name="T54" fmla="*/ 7930 w 13706"/>
              <a:gd name="T55" fmla="*/ 479 h 628"/>
              <a:gd name="T56" fmla="*/ 7250 w 13706"/>
              <a:gd name="T57" fmla="*/ 479 h 628"/>
              <a:gd name="T58" fmla="*/ 7061 w 13706"/>
              <a:gd name="T59" fmla="*/ 438 h 628"/>
              <a:gd name="T60" fmla="*/ 7105 w 13706"/>
              <a:gd name="T61" fmla="*/ 479 h 628"/>
              <a:gd name="T62" fmla="*/ 6762 w 13706"/>
              <a:gd name="T63" fmla="*/ 68 h 628"/>
              <a:gd name="T64" fmla="*/ 6549 w 13706"/>
              <a:gd name="T65" fmla="*/ 169 h 628"/>
              <a:gd name="T66" fmla="*/ 6330 w 13706"/>
              <a:gd name="T67" fmla="*/ 199 h 628"/>
              <a:gd name="T68" fmla="*/ 6403 w 13706"/>
              <a:gd name="T69" fmla="*/ 219 h 628"/>
              <a:gd name="T70" fmla="*/ 6091 w 13706"/>
              <a:gd name="T71" fmla="*/ 479 h 628"/>
              <a:gd name="T72" fmla="*/ 5808 w 13706"/>
              <a:gd name="T73" fmla="*/ 437 h 628"/>
              <a:gd name="T74" fmla="*/ 5823 w 13706"/>
              <a:gd name="T75" fmla="*/ 29 h 628"/>
              <a:gd name="T76" fmla="*/ 5107 w 13706"/>
              <a:gd name="T77" fmla="*/ 318 h 628"/>
              <a:gd name="T78" fmla="*/ 5105 w 13706"/>
              <a:gd name="T79" fmla="*/ 219 h 628"/>
              <a:gd name="T80" fmla="*/ 5107 w 13706"/>
              <a:gd name="T81" fmla="*/ 420 h 628"/>
              <a:gd name="T82" fmla="*/ 4667 w 13706"/>
              <a:gd name="T83" fmla="*/ 240 h 628"/>
              <a:gd name="T84" fmla="*/ 4467 w 13706"/>
              <a:gd name="T85" fmla="*/ 88 h 628"/>
              <a:gd name="T86" fmla="*/ 4230 w 13706"/>
              <a:gd name="T87" fmla="*/ 169 h 628"/>
              <a:gd name="T88" fmla="*/ 4406 w 13706"/>
              <a:gd name="T89" fmla="*/ 443 h 628"/>
              <a:gd name="T90" fmla="*/ 3866 w 13706"/>
              <a:gd name="T91" fmla="*/ 486 h 628"/>
              <a:gd name="T92" fmla="*/ 3964 w 13706"/>
              <a:gd name="T93" fmla="*/ 479 h 628"/>
              <a:gd name="T94" fmla="*/ 3634 w 13706"/>
              <a:gd name="T95" fmla="*/ 199 h 628"/>
              <a:gd name="T96" fmla="*/ 3367 w 13706"/>
              <a:gd name="T97" fmla="*/ 206 h 628"/>
              <a:gd name="T98" fmla="*/ 3457 w 13706"/>
              <a:gd name="T99" fmla="*/ 479 h 628"/>
              <a:gd name="T100" fmla="*/ 3031 w 13706"/>
              <a:gd name="T101" fmla="*/ 486 h 628"/>
              <a:gd name="T102" fmla="*/ 2749 w 13706"/>
              <a:gd name="T103" fmla="*/ 444 h 628"/>
              <a:gd name="T104" fmla="*/ 1793 w 13706"/>
              <a:gd name="T105" fmla="*/ 169 h 628"/>
              <a:gd name="T106" fmla="*/ 1562 w 13706"/>
              <a:gd name="T107" fmla="*/ 326 h 628"/>
              <a:gd name="T108" fmla="*/ 1699 w 13706"/>
              <a:gd name="T109" fmla="*/ 169 h 628"/>
              <a:gd name="T110" fmla="*/ 1349 w 13706"/>
              <a:gd name="T111" fmla="*/ 199 h 628"/>
              <a:gd name="T112" fmla="*/ 1281 w 13706"/>
              <a:gd name="T113" fmla="*/ 313 h 628"/>
              <a:gd name="T114" fmla="*/ 1061 w 13706"/>
              <a:gd name="T115" fmla="*/ 169 h 628"/>
              <a:gd name="T116" fmla="*/ 1187 w 13706"/>
              <a:gd name="T117" fmla="*/ 483 h 628"/>
              <a:gd name="T118" fmla="*/ 803 w 13706"/>
              <a:gd name="T119" fmla="*/ 486 h 628"/>
              <a:gd name="T120" fmla="*/ 899 w 13706"/>
              <a:gd name="T121" fmla="*/ 479 h 628"/>
              <a:gd name="T122" fmla="*/ 545 w 13706"/>
              <a:gd name="T123" fmla="*/ 479 h 628"/>
              <a:gd name="T124" fmla="*/ 400 w 13706"/>
              <a:gd name="T125" fmla="*/ 1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6" h="628">
                <a:moveTo>
                  <a:pt x="5" y="420"/>
                </a:moveTo>
                <a:cubicBezTo>
                  <a:pt x="40" y="435"/>
                  <a:pt x="76" y="444"/>
                  <a:pt x="115" y="444"/>
                </a:cubicBezTo>
                <a:cubicBezTo>
                  <a:pt x="163" y="444"/>
                  <a:pt x="212" y="422"/>
                  <a:pt x="212" y="367"/>
                </a:cubicBezTo>
                <a:cubicBezTo>
                  <a:pt x="212" y="317"/>
                  <a:pt x="176" y="299"/>
                  <a:pt x="137" y="276"/>
                </a:cubicBezTo>
                <a:lnTo>
                  <a:pt x="97" y="254"/>
                </a:lnTo>
                <a:cubicBezTo>
                  <a:pt x="48" y="227"/>
                  <a:pt x="0" y="203"/>
                  <a:pt x="0" y="137"/>
                </a:cubicBezTo>
                <a:cubicBezTo>
                  <a:pt x="0" y="53"/>
                  <a:pt x="72" y="22"/>
                  <a:pt x="145" y="22"/>
                </a:cubicBezTo>
                <a:cubicBezTo>
                  <a:pt x="177" y="22"/>
                  <a:pt x="208" y="28"/>
                  <a:pt x="239" y="34"/>
                </a:cubicBezTo>
                <a:lnTo>
                  <a:pt x="239" y="84"/>
                </a:lnTo>
                <a:cubicBezTo>
                  <a:pt x="208" y="71"/>
                  <a:pt x="174" y="64"/>
                  <a:pt x="140" y="64"/>
                </a:cubicBezTo>
                <a:cubicBezTo>
                  <a:pt x="97" y="64"/>
                  <a:pt x="56" y="84"/>
                  <a:pt x="56" y="133"/>
                </a:cubicBezTo>
                <a:cubicBezTo>
                  <a:pt x="56" y="174"/>
                  <a:pt x="99" y="195"/>
                  <a:pt x="131" y="213"/>
                </a:cubicBezTo>
                <a:lnTo>
                  <a:pt x="172" y="236"/>
                </a:lnTo>
                <a:cubicBezTo>
                  <a:pt x="225" y="266"/>
                  <a:pt x="268" y="292"/>
                  <a:pt x="268" y="360"/>
                </a:cubicBezTo>
                <a:cubicBezTo>
                  <a:pt x="268" y="454"/>
                  <a:pt x="191" y="486"/>
                  <a:pt x="109" y="486"/>
                </a:cubicBezTo>
                <a:cubicBezTo>
                  <a:pt x="73" y="486"/>
                  <a:pt x="39" y="481"/>
                  <a:pt x="5" y="473"/>
                </a:cubicBezTo>
                <a:lnTo>
                  <a:pt x="5" y="420"/>
                </a:lnTo>
                <a:close/>
                <a:moveTo>
                  <a:pt x="13506" y="433"/>
                </a:moveTo>
                <a:cubicBezTo>
                  <a:pt x="13532" y="441"/>
                  <a:pt x="13558" y="449"/>
                  <a:pt x="13586" y="449"/>
                </a:cubicBezTo>
                <a:cubicBezTo>
                  <a:pt x="13619" y="449"/>
                  <a:pt x="13662" y="440"/>
                  <a:pt x="13662" y="399"/>
                </a:cubicBezTo>
                <a:cubicBezTo>
                  <a:pt x="13662" y="368"/>
                  <a:pt x="13628" y="355"/>
                  <a:pt x="13606" y="343"/>
                </a:cubicBezTo>
                <a:lnTo>
                  <a:pt x="13577" y="328"/>
                </a:lnTo>
                <a:cubicBezTo>
                  <a:pt x="13541" y="309"/>
                  <a:pt x="13507" y="291"/>
                  <a:pt x="13507" y="244"/>
                </a:cubicBezTo>
                <a:cubicBezTo>
                  <a:pt x="13507" y="183"/>
                  <a:pt x="13560" y="161"/>
                  <a:pt x="13613" y="161"/>
                </a:cubicBezTo>
                <a:cubicBezTo>
                  <a:pt x="13639" y="161"/>
                  <a:pt x="13662" y="166"/>
                  <a:pt x="13686" y="172"/>
                </a:cubicBezTo>
                <a:lnTo>
                  <a:pt x="13686" y="213"/>
                </a:lnTo>
                <a:cubicBezTo>
                  <a:pt x="13664" y="205"/>
                  <a:pt x="13637" y="199"/>
                  <a:pt x="13614" y="199"/>
                </a:cubicBezTo>
                <a:cubicBezTo>
                  <a:pt x="13590" y="199"/>
                  <a:pt x="13551" y="209"/>
                  <a:pt x="13551" y="239"/>
                </a:cubicBezTo>
                <a:cubicBezTo>
                  <a:pt x="13551" y="265"/>
                  <a:pt x="13589" y="277"/>
                  <a:pt x="13607" y="288"/>
                </a:cubicBezTo>
                <a:lnTo>
                  <a:pt x="13634" y="304"/>
                </a:lnTo>
                <a:cubicBezTo>
                  <a:pt x="13672" y="326"/>
                  <a:pt x="13706" y="342"/>
                  <a:pt x="13706" y="392"/>
                </a:cubicBezTo>
                <a:cubicBezTo>
                  <a:pt x="13706" y="462"/>
                  <a:pt x="13652" y="486"/>
                  <a:pt x="13590" y="486"/>
                </a:cubicBezTo>
                <a:cubicBezTo>
                  <a:pt x="13562" y="486"/>
                  <a:pt x="13534" y="482"/>
                  <a:pt x="13506" y="473"/>
                </a:cubicBezTo>
                <a:lnTo>
                  <a:pt x="13506" y="433"/>
                </a:lnTo>
                <a:close/>
                <a:moveTo>
                  <a:pt x="13392" y="479"/>
                </a:moveTo>
                <a:lnTo>
                  <a:pt x="13392" y="307"/>
                </a:lnTo>
                <a:cubicBezTo>
                  <a:pt x="13392" y="272"/>
                  <a:pt x="13398" y="206"/>
                  <a:pt x="13346" y="206"/>
                </a:cubicBezTo>
                <a:cubicBezTo>
                  <a:pt x="13284" y="206"/>
                  <a:pt x="13258" y="303"/>
                  <a:pt x="13258" y="351"/>
                </a:cubicBezTo>
                <a:lnTo>
                  <a:pt x="13258" y="479"/>
                </a:lnTo>
                <a:lnTo>
                  <a:pt x="13214" y="479"/>
                </a:lnTo>
                <a:lnTo>
                  <a:pt x="13214" y="169"/>
                </a:lnTo>
                <a:lnTo>
                  <a:pt x="13258" y="169"/>
                </a:lnTo>
                <a:lnTo>
                  <a:pt x="13258" y="240"/>
                </a:lnTo>
                <a:lnTo>
                  <a:pt x="13260" y="240"/>
                </a:lnTo>
                <a:cubicBezTo>
                  <a:pt x="13275" y="192"/>
                  <a:pt x="13303" y="161"/>
                  <a:pt x="13357" y="161"/>
                </a:cubicBezTo>
                <a:cubicBezTo>
                  <a:pt x="13411" y="161"/>
                  <a:pt x="13436" y="208"/>
                  <a:pt x="13436" y="257"/>
                </a:cubicBezTo>
                <a:lnTo>
                  <a:pt x="13436" y="479"/>
                </a:lnTo>
                <a:lnTo>
                  <a:pt x="13392" y="479"/>
                </a:lnTo>
                <a:close/>
                <a:moveTo>
                  <a:pt x="13088" y="324"/>
                </a:moveTo>
                <a:cubicBezTo>
                  <a:pt x="13088" y="274"/>
                  <a:pt x="13076" y="199"/>
                  <a:pt x="13011" y="199"/>
                </a:cubicBezTo>
                <a:cubicBezTo>
                  <a:pt x="12946" y="199"/>
                  <a:pt x="12935" y="274"/>
                  <a:pt x="12935" y="324"/>
                </a:cubicBezTo>
                <a:cubicBezTo>
                  <a:pt x="12935" y="373"/>
                  <a:pt x="12946" y="449"/>
                  <a:pt x="13011" y="449"/>
                </a:cubicBezTo>
                <a:cubicBezTo>
                  <a:pt x="13076" y="449"/>
                  <a:pt x="13088" y="374"/>
                  <a:pt x="13088" y="324"/>
                </a:cubicBezTo>
                <a:close/>
                <a:moveTo>
                  <a:pt x="12884" y="325"/>
                </a:moveTo>
                <a:cubicBezTo>
                  <a:pt x="12884" y="241"/>
                  <a:pt x="12914" y="161"/>
                  <a:pt x="13011" y="161"/>
                </a:cubicBezTo>
                <a:cubicBezTo>
                  <a:pt x="13108" y="161"/>
                  <a:pt x="13139" y="241"/>
                  <a:pt x="13139" y="325"/>
                </a:cubicBezTo>
                <a:cubicBezTo>
                  <a:pt x="13139" y="409"/>
                  <a:pt x="13108" y="486"/>
                  <a:pt x="13011" y="486"/>
                </a:cubicBezTo>
                <a:cubicBezTo>
                  <a:pt x="12914" y="486"/>
                  <a:pt x="12884" y="409"/>
                  <a:pt x="12884" y="325"/>
                </a:cubicBezTo>
                <a:close/>
                <a:moveTo>
                  <a:pt x="12760" y="479"/>
                </a:moveTo>
                <a:lnTo>
                  <a:pt x="12760" y="169"/>
                </a:lnTo>
                <a:lnTo>
                  <a:pt x="12804" y="169"/>
                </a:lnTo>
                <a:lnTo>
                  <a:pt x="12804" y="479"/>
                </a:lnTo>
                <a:lnTo>
                  <a:pt x="12760" y="479"/>
                </a:lnTo>
                <a:close/>
                <a:moveTo>
                  <a:pt x="12752" y="88"/>
                </a:moveTo>
                <a:lnTo>
                  <a:pt x="12752" y="29"/>
                </a:lnTo>
                <a:lnTo>
                  <a:pt x="12811" y="29"/>
                </a:lnTo>
                <a:lnTo>
                  <a:pt x="12811" y="88"/>
                </a:lnTo>
                <a:lnTo>
                  <a:pt x="12752" y="88"/>
                </a:lnTo>
                <a:close/>
                <a:moveTo>
                  <a:pt x="12692" y="483"/>
                </a:moveTo>
                <a:cubicBezTo>
                  <a:pt x="12679" y="485"/>
                  <a:pt x="12666" y="486"/>
                  <a:pt x="12653" y="486"/>
                </a:cubicBezTo>
                <a:cubicBezTo>
                  <a:pt x="12594" y="486"/>
                  <a:pt x="12567" y="467"/>
                  <a:pt x="12567" y="406"/>
                </a:cubicBezTo>
                <a:lnTo>
                  <a:pt x="12567" y="206"/>
                </a:lnTo>
                <a:lnTo>
                  <a:pt x="12516" y="206"/>
                </a:lnTo>
                <a:lnTo>
                  <a:pt x="12516" y="169"/>
                </a:lnTo>
                <a:lnTo>
                  <a:pt x="12567" y="169"/>
                </a:lnTo>
                <a:lnTo>
                  <a:pt x="12567" y="96"/>
                </a:lnTo>
                <a:lnTo>
                  <a:pt x="12611" y="68"/>
                </a:lnTo>
                <a:lnTo>
                  <a:pt x="12611" y="169"/>
                </a:lnTo>
                <a:lnTo>
                  <a:pt x="12694" y="169"/>
                </a:lnTo>
                <a:lnTo>
                  <a:pt x="12694" y="206"/>
                </a:lnTo>
                <a:lnTo>
                  <a:pt x="12611" y="206"/>
                </a:lnTo>
                <a:lnTo>
                  <a:pt x="12611" y="397"/>
                </a:lnTo>
                <a:cubicBezTo>
                  <a:pt x="12611" y="430"/>
                  <a:pt x="12626" y="449"/>
                  <a:pt x="12662" y="449"/>
                </a:cubicBezTo>
                <a:cubicBezTo>
                  <a:pt x="12674" y="449"/>
                  <a:pt x="12681" y="448"/>
                  <a:pt x="12692" y="443"/>
                </a:cubicBezTo>
                <a:lnTo>
                  <a:pt x="12692" y="483"/>
                </a:lnTo>
                <a:close/>
                <a:moveTo>
                  <a:pt x="12377" y="338"/>
                </a:moveTo>
                <a:cubicBezTo>
                  <a:pt x="12338" y="338"/>
                  <a:pt x="12276" y="355"/>
                  <a:pt x="12276" y="404"/>
                </a:cubicBezTo>
                <a:cubicBezTo>
                  <a:pt x="12276" y="430"/>
                  <a:pt x="12293" y="449"/>
                  <a:pt x="12319" y="449"/>
                </a:cubicBezTo>
                <a:cubicBezTo>
                  <a:pt x="12349" y="449"/>
                  <a:pt x="12379" y="429"/>
                  <a:pt x="12392" y="401"/>
                </a:cubicBezTo>
                <a:cubicBezTo>
                  <a:pt x="12402" y="378"/>
                  <a:pt x="12403" y="364"/>
                  <a:pt x="12403" y="338"/>
                </a:cubicBezTo>
                <a:lnTo>
                  <a:pt x="12377" y="338"/>
                </a:lnTo>
                <a:close/>
                <a:moveTo>
                  <a:pt x="12405" y="479"/>
                </a:moveTo>
                <a:lnTo>
                  <a:pt x="12405" y="438"/>
                </a:lnTo>
                <a:lnTo>
                  <a:pt x="12403" y="438"/>
                </a:lnTo>
                <a:cubicBezTo>
                  <a:pt x="12386" y="471"/>
                  <a:pt x="12343" y="486"/>
                  <a:pt x="12308" y="486"/>
                </a:cubicBezTo>
                <a:cubicBezTo>
                  <a:pt x="12254" y="486"/>
                  <a:pt x="12225" y="452"/>
                  <a:pt x="12225" y="400"/>
                </a:cubicBezTo>
                <a:cubicBezTo>
                  <a:pt x="12225" y="330"/>
                  <a:pt x="12305" y="301"/>
                  <a:pt x="12403" y="301"/>
                </a:cubicBezTo>
                <a:lnTo>
                  <a:pt x="12403" y="295"/>
                </a:lnTo>
                <a:cubicBezTo>
                  <a:pt x="12403" y="248"/>
                  <a:pt x="12406" y="199"/>
                  <a:pt x="12345" y="199"/>
                </a:cubicBezTo>
                <a:cubicBezTo>
                  <a:pt x="12307" y="199"/>
                  <a:pt x="12287" y="211"/>
                  <a:pt x="12281" y="248"/>
                </a:cubicBezTo>
                <a:lnTo>
                  <a:pt x="12232" y="248"/>
                </a:lnTo>
                <a:cubicBezTo>
                  <a:pt x="12234" y="186"/>
                  <a:pt x="12287" y="161"/>
                  <a:pt x="12343" y="161"/>
                </a:cubicBezTo>
                <a:cubicBezTo>
                  <a:pt x="12414" y="161"/>
                  <a:pt x="12448" y="191"/>
                  <a:pt x="12448" y="261"/>
                </a:cubicBezTo>
                <a:lnTo>
                  <a:pt x="12448" y="479"/>
                </a:lnTo>
                <a:lnTo>
                  <a:pt x="12405" y="479"/>
                </a:lnTo>
                <a:close/>
                <a:moveTo>
                  <a:pt x="12050" y="479"/>
                </a:moveTo>
                <a:lnTo>
                  <a:pt x="12050" y="169"/>
                </a:lnTo>
                <a:lnTo>
                  <a:pt x="12095" y="169"/>
                </a:lnTo>
                <a:lnTo>
                  <a:pt x="12095" y="229"/>
                </a:lnTo>
                <a:lnTo>
                  <a:pt x="12096" y="229"/>
                </a:lnTo>
                <a:cubicBezTo>
                  <a:pt x="12116" y="184"/>
                  <a:pt x="12150" y="161"/>
                  <a:pt x="12200" y="161"/>
                </a:cubicBezTo>
                <a:lnTo>
                  <a:pt x="12200" y="209"/>
                </a:lnTo>
                <a:cubicBezTo>
                  <a:pt x="12119" y="209"/>
                  <a:pt x="12095" y="283"/>
                  <a:pt x="12095" y="351"/>
                </a:cubicBezTo>
                <a:lnTo>
                  <a:pt x="12095" y="479"/>
                </a:lnTo>
                <a:lnTo>
                  <a:pt x="12050" y="479"/>
                </a:lnTo>
                <a:close/>
                <a:moveTo>
                  <a:pt x="11925" y="257"/>
                </a:moveTo>
                <a:cubicBezTo>
                  <a:pt x="11925" y="223"/>
                  <a:pt x="11900" y="199"/>
                  <a:pt x="11866" y="199"/>
                </a:cubicBezTo>
                <a:cubicBezTo>
                  <a:pt x="11828" y="199"/>
                  <a:pt x="11808" y="223"/>
                  <a:pt x="11800" y="257"/>
                </a:cubicBezTo>
                <a:lnTo>
                  <a:pt x="11925" y="257"/>
                </a:lnTo>
                <a:close/>
                <a:moveTo>
                  <a:pt x="11969" y="477"/>
                </a:moveTo>
                <a:cubicBezTo>
                  <a:pt x="11946" y="484"/>
                  <a:pt x="11922" y="486"/>
                  <a:pt x="11898" y="486"/>
                </a:cubicBezTo>
                <a:cubicBezTo>
                  <a:pt x="11790" y="486"/>
                  <a:pt x="11746" y="415"/>
                  <a:pt x="11746" y="313"/>
                </a:cubicBezTo>
                <a:cubicBezTo>
                  <a:pt x="11746" y="233"/>
                  <a:pt x="11776" y="161"/>
                  <a:pt x="11868" y="161"/>
                </a:cubicBezTo>
                <a:cubicBezTo>
                  <a:pt x="11939" y="161"/>
                  <a:pt x="11976" y="210"/>
                  <a:pt x="11976" y="280"/>
                </a:cubicBezTo>
                <a:lnTo>
                  <a:pt x="11976" y="295"/>
                </a:lnTo>
                <a:lnTo>
                  <a:pt x="11797" y="295"/>
                </a:lnTo>
                <a:lnTo>
                  <a:pt x="11797" y="313"/>
                </a:lnTo>
                <a:cubicBezTo>
                  <a:pt x="11797" y="381"/>
                  <a:pt x="11831" y="449"/>
                  <a:pt x="11907" y="449"/>
                </a:cubicBezTo>
                <a:cubicBezTo>
                  <a:pt x="11929" y="449"/>
                  <a:pt x="11948" y="446"/>
                  <a:pt x="11969" y="441"/>
                </a:cubicBezTo>
                <a:lnTo>
                  <a:pt x="11969" y="477"/>
                </a:lnTo>
                <a:close/>
                <a:moveTo>
                  <a:pt x="11642" y="313"/>
                </a:moveTo>
                <a:cubicBezTo>
                  <a:pt x="11642" y="270"/>
                  <a:pt x="11634" y="199"/>
                  <a:pt x="11577" y="199"/>
                </a:cubicBezTo>
                <a:cubicBezTo>
                  <a:pt x="11520" y="199"/>
                  <a:pt x="11504" y="279"/>
                  <a:pt x="11504" y="323"/>
                </a:cubicBezTo>
                <a:cubicBezTo>
                  <a:pt x="11504" y="366"/>
                  <a:pt x="11517" y="449"/>
                  <a:pt x="11576" y="449"/>
                </a:cubicBezTo>
                <a:cubicBezTo>
                  <a:pt x="11637" y="449"/>
                  <a:pt x="11642" y="356"/>
                  <a:pt x="11642" y="313"/>
                </a:cubicBezTo>
                <a:close/>
                <a:moveTo>
                  <a:pt x="11460" y="619"/>
                </a:moveTo>
                <a:lnTo>
                  <a:pt x="11460" y="169"/>
                </a:lnTo>
                <a:lnTo>
                  <a:pt x="11504" y="169"/>
                </a:lnTo>
                <a:lnTo>
                  <a:pt x="11504" y="221"/>
                </a:lnTo>
                <a:lnTo>
                  <a:pt x="11505" y="221"/>
                </a:lnTo>
                <a:cubicBezTo>
                  <a:pt x="11516" y="185"/>
                  <a:pt x="11548" y="161"/>
                  <a:pt x="11586" y="161"/>
                </a:cubicBezTo>
                <a:cubicBezTo>
                  <a:pt x="11676" y="161"/>
                  <a:pt x="11693" y="249"/>
                  <a:pt x="11693" y="321"/>
                </a:cubicBezTo>
                <a:cubicBezTo>
                  <a:pt x="11693" y="388"/>
                  <a:pt x="11672" y="486"/>
                  <a:pt x="11587" y="486"/>
                </a:cubicBezTo>
                <a:cubicBezTo>
                  <a:pt x="11547" y="486"/>
                  <a:pt x="11518" y="467"/>
                  <a:pt x="11505" y="428"/>
                </a:cubicBezTo>
                <a:lnTo>
                  <a:pt x="11504" y="428"/>
                </a:lnTo>
                <a:lnTo>
                  <a:pt x="11504" y="619"/>
                </a:lnTo>
                <a:lnTo>
                  <a:pt x="11460" y="619"/>
                </a:lnTo>
                <a:close/>
                <a:moveTo>
                  <a:pt x="11325" y="253"/>
                </a:moveTo>
                <a:cubicBezTo>
                  <a:pt x="11325" y="182"/>
                  <a:pt x="11315" y="64"/>
                  <a:pt x="11221" y="64"/>
                </a:cubicBezTo>
                <a:cubicBezTo>
                  <a:pt x="11126" y="64"/>
                  <a:pt x="11116" y="182"/>
                  <a:pt x="11116" y="253"/>
                </a:cubicBezTo>
                <a:cubicBezTo>
                  <a:pt x="11116" y="324"/>
                  <a:pt x="11126" y="444"/>
                  <a:pt x="11221" y="444"/>
                </a:cubicBezTo>
                <a:cubicBezTo>
                  <a:pt x="11315" y="444"/>
                  <a:pt x="11325" y="323"/>
                  <a:pt x="11325" y="253"/>
                </a:cubicBezTo>
                <a:close/>
                <a:moveTo>
                  <a:pt x="11060" y="253"/>
                </a:moveTo>
                <a:cubicBezTo>
                  <a:pt x="11060" y="144"/>
                  <a:pt x="11088" y="22"/>
                  <a:pt x="11221" y="22"/>
                </a:cubicBezTo>
                <a:cubicBezTo>
                  <a:pt x="11353" y="22"/>
                  <a:pt x="11381" y="146"/>
                  <a:pt x="11381" y="253"/>
                </a:cubicBezTo>
                <a:cubicBezTo>
                  <a:pt x="11381" y="360"/>
                  <a:pt x="11353" y="486"/>
                  <a:pt x="11221" y="486"/>
                </a:cubicBezTo>
                <a:cubicBezTo>
                  <a:pt x="11088" y="486"/>
                  <a:pt x="11060" y="360"/>
                  <a:pt x="11060" y="253"/>
                </a:cubicBezTo>
                <a:close/>
                <a:moveTo>
                  <a:pt x="10779" y="628"/>
                </a:moveTo>
                <a:lnTo>
                  <a:pt x="10779" y="0"/>
                </a:lnTo>
                <a:lnTo>
                  <a:pt x="10813" y="0"/>
                </a:lnTo>
                <a:lnTo>
                  <a:pt x="10813" y="628"/>
                </a:lnTo>
                <a:lnTo>
                  <a:pt x="10779" y="628"/>
                </a:lnTo>
                <a:close/>
                <a:moveTo>
                  <a:pt x="10364" y="605"/>
                </a:moveTo>
                <a:lnTo>
                  <a:pt x="10408" y="479"/>
                </a:lnTo>
                <a:lnTo>
                  <a:pt x="10289" y="169"/>
                </a:lnTo>
                <a:lnTo>
                  <a:pt x="10337" y="169"/>
                </a:lnTo>
                <a:lnTo>
                  <a:pt x="10427" y="413"/>
                </a:lnTo>
                <a:lnTo>
                  <a:pt x="10429" y="413"/>
                </a:lnTo>
                <a:lnTo>
                  <a:pt x="10512" y="169"/>
                </a:lnTo>
                <a:lnTo>
                  <a:pt x="10560" y="169"/>
                </a:lnTo>
                <a:lnTo>
                  <a:pt x="10410" y="605"/>
                </a:lnTo>
                <a:lnTo>
                  <a:pt x="10364" y="605"/>
                </a:lnTo>
                <a:close/>
                <a:moveTo>
                  <a:pt x="10196" y="318"/>
                </a:moveTo>
                <a:cubicBezTo>
                  <a:pt x="10196" y="275"/>
                  <a:pt x="10178" y="199"/>
                  <a:pt x="10123" y="199"/>
                </a:cubicBezTo>
                <a:cubicBezTo>
                  <a:pt x="10065" y="199"/>
                  <a:pt x="10058" y="286"/>
                  <a:pt x="10058" y="326"/>
                </a:cubicBezTo>
                <a:cubicBezTo>
                  <a:pt x="10058" y="367"/>
                  <a:pt x="10066" y="442"/>
                  <a:pt x="10121" y="442"/>
                </a:cubicBezTo>
                <a:cubicBezTo>
                  <a:pt x="10178" y="442"/>
                  <a:pt x="10196" y="362"/>
                  <a:pt x="10196" y="318"/>
                </a:cubicBezTo>
                <a:close/>
                <a:moveTo>
                  <a:pt x="10196" y="420"/>
                </a:moveTo>
                <a:lnTo>
                  <a:pt x="10194" y="420"/>
                </a:lnTo>
                <a:cubicBezTo>
                  <a:pt x="10182" y="457"/>
                  <a:pt x="10151" y="479"/>
                  <a:pt x="10112" y="479"/>
                </a:cubicBezTo>
                <a:cubicBezTo>
                  <a:pt x="10027" y="479"/>
                  <a:pt x="10007" y="396"/>
                  <a:pt x="10007" y="326"/>
                </a:cubicBezTo>
                <a:cubicBezTo>
                  <a:pt x="10007" y="259"/>
                  <a:pt x="10028" y="161"/>
                  <a:pt x="10113" y="161"/>
                </a:cubicBezTo>
                <a:cubicBezTo>
                  <a:pt x="10151" y="161"/>
                  <a:pt x="10184" y="183"/>
                  <a:pt x="10194" y="219"/>
                </a:cubicBezTo>
                <a:lnTo>
                  <a:pt x="10196" y="219"/>
                </a:lnTo>
                <a:lnTo>
                  <a:pt x="10196" y="169"/>
                </a:lnTo>
                <a:lnTo>
                  <a:pt x="10240" y="169"/>
                </a:lnTo>
                <a:lnTo>
                  <a:pt x="10240" y="480"/>
                </a:lnTo>
                <a:cubicBezTo>
                  <a:pt x="10240" y="569"/>
                  <a:pt x="10198" y="615"/>
                  <a:pt x="10108" y="615"/>
                </a:cubicBezTo>
                <a:cubicBezTo>
                  <a:pt x="10078" y="615"/>
                  <a:pt x="10053" y="610"/>
                  <a:pt x="10024" y="604"/>
                </a:cubicBezTo>
                <a:lnTo>
                  <a:pt x="10024" y="559"/>
                </a:lnTo>
                <a:cubicBezTo>
                  <a:pt x="10049" y="572"/>
                  <a:pt x="10074" y="578"/>
                  <a:pt x="10102" y="578"/>
                </a:cubicBezTo>
                <a:cubicBezTo>
                  <a:pt x="10173" y="578"/>
                  <a:pt x="10196" y="541"/>
                  <a:pt x="10196" y="475"/>
                </a:cubicBezTo>
                <a:lnTo>
                  <a:pt x="10196" y="420"/>
                </a:lnTo>
                <a:close/>
                <a:moveTo>
                  <a:pt x="9904" y="324"/>
                </a:moveTo>
                <a:cubicBezTo>
                  <a:pt x="9904" y="274"/>
                  <a:pt x="9892" y="199"/>
                  <a:pt x="9827" y="199"/>
                </a:cubicBezTo>
                <a:cubicBezTo>
                  <a:pt x="9762" y="199"/>
                  <a:pt x="9751" y="274"/>
                  <a:pt x="9751" y="324"/>
                </a:cubicBezTo>
                <a:cubicBezTo>
                  <a:pt x="9751" y="373"/>
                  <a:pt x="9762" y="449"/>
                  <a:pt x="9827" y="449"/>
                </a:cubicBezTo>
                <a:cubicBezTo>
                  <a:pt x="9892" y="449"/>
                  <a:pt x="9904" y="374"/>
                  <a:pt x="9904" y="324"/>
                </a:cubicBezTo>
                <a:close/>
                <a:moveTo>
                  <a:pt x="9700" y="325"/>
                </a:moveTo>
                <a:cubicBezTo>
                  <a:pt x="9700" y="241"/>
                  <a:pt x="9730" y="161"/>
                  <a:pt x="9827" y="161"/>
                </a:cubicBezTo>
                <a:cubicBezTo>
                  <a:pt x="9924" y="161"/>
                  <a:pt x="9955" y="241"/>
                  <a:pt x="9955" y="325"/>
                </a:cubicBezTo>
                <a:cubicBezTo>
                  <a:pt x="9955" y="409"/>
                  <a:pt x="9924" y="486"/>
                  <a:pt x="9827" y="486"/>
                </a:cubicBezTo>
                <a:cubicBezTo>
                  <a:pt x="9730" y="486"/>
                  <a:pt x="9700" y="409"/>
                  <a:pt x="9700" y="325"/>
                </a:cubicBezTo>
                <a:close/>
                <a:moveTo>
                  <a:pt x="9576" y="479"/>
                </a:moveTo>
                <a:lnTo>
                  <a:pt x="9576" y="29"/>
                </a:lnTo>
                <a:lnTo>
                  <a:pt x="9620" y="29"/>
                </a:lnTo>
                <a:lnTo>
                  <a:pt x="9620" y="479"/>
                </a:lnTo>
                <a:lnTo>
                  <a:pt x="9576" y="479"/>
                </a:lnTo>
                <a:close/>
                <a:moveTo>
                  <a:pt x="9446" y="324"/>
                </a:moveTo>
                <a:cubicBezTo>
                  <a:pt x="9446" y="274"/>
                  <a:pt x="9433" y="199"/>
                  <a:pt x="9369" y="199"/>
                </a:cubicBezTo>
                <a:cubicBezTo>
                  <a:pt x="9304" y="199"/>
                  <a:pt x="9293" y="274"/>
                  <a:pt x="9293" y="324"/>
                </a:cubicBezTo>
                <a:cubicBezTo>
                  <a:pt x="9293" y="373"/>
                  <a:pt x="9304" y="449"/>
                  <a:pt x="9369" y="449"/>
                </a:cubicBezTo>
                <a:cubicBezTo>
                  <a:pt x="9434" y="449"/>
                  <a:pt x="9446" y="374"/>
                  <a:pt x="9446" y="324"/>
                </a:cubicBezTo>
                <a:close/>
                <a:moveTo>
                  <a:pt x="9242" y="325"/>
                </a:moveTo>
                <a:cubicBezTo>
                  <a:pt x="9242" y="241"/>
                  <a:pt x="9272" y="161"/>
                  <a:pt x="9369" y="161"/>
                </a:cubicBezTo>
                <a:cubicBezTo>
                  <a:pt x="9466" y="161"/>
                  <a:pt x="9497" y="241"/>
                  <a:pt x="9497" y="325"/>
                </a:cubicBezTo>
                <a:cubicBezTo>
                  <a:pt x="9497" y="409"/>
                  <a:pt x="9466" y="486"/>
                  <a:pt x="9369" y="486"/>
                </a:cubicBezTo>
                <a:cubicBezTo>
                  <a:pt x="9272" y="486"/>
                  <a:pt x="9242" y="409"/>
                  <a:pt x="9242" y="325"/>
                </a:cubicBezTo>
                <a:close/>
                <a:moveTo>
                  <a:pt x="9123" y="479"/>
                </a:moveTo>
                <a:lnTo>
                  <a:pt x="9123" y="307"/>
                </a:lnTo>
                <a:cubicBezTo>
                  <a:pt x="9123" y="272"/>
                  <a:pt x="9129" y="206"/>
                  <a:pt x="9077" y="206"/>
                </a:cubicBezTo>
                <a:cubicBezTo>
                  <a:pt x="9015" y="206"/>
                  <a:pt x="8989" y="303"/>
                  <a:pt x="8989" y="351"/>
                </a:cubicBezTo>
                <a:lnTo>
                  <a:pt x="8989" y="479"/>
                </a:lnTo>
                <a:lnTo>
                  <a:pt x="8945" y="479"/>
                </a:lnTo>
                <a:lnTo>
                  <a:pt x="8945" y="169"/>
                </a:lnTo>
                <a:lnTo>
                  <a:pt x="8989" y="169"/>
                </a:lnTo>
                <a:lnTo>
                  <a:pt x="8989" y="240"/>
                </a:lnTo>
                <a:lnTo>
                  <a:pt x="8990" y="240"/>
                </a:lnTo>
                <a:cubicBezTo>
                  <a:pt x="9006" y="192"/>
                  <a:pt x="9033" y="161"/>
                  <a:pt x="9087" y="161"/>
                </a:cubicBezTo>
                <a:cubicBezTo>
                  <a:pt x="9142" y="161"/>
                  <a:pt x="9167" y="208"/>
                  <a:pt x="9167" y="257"/>
                </a:cubicBezTo>
                <a:lnTo>
                  <a:pt x="9167" y="479"/>
                </a:lnTo>
                <a:lnTo>
                  <a:pt x="9123" y="479"/>
                </a:lnTo>
                <a:close/>
                <a:moveTo>
                  <a:pt x="8803" y="479"/>
                </a:moveTo>
                <a:lnTo>
                  <a:pt x="8803" y="307"/>
                </a:lnTo>
                <a:cubicBezTo>
                  <a:pt x="8803" y="272"/>
                  <a:pt x="8809" y="206"/>
                  <a:pt x="8757" y="206"/>
                </a:cubicBezTo>
                <a:cubicBezTo>
                  <a:pt x="8695" y="206"/>
                  <a:pt x="8669" y="303"/>
                  <a:pt x="8669" y="351"/>
                </a:cubicBezTo>
                <a:lnTo>
                  <a:pt x="8669" y="479"/>
                </a:lnTo>
                <a:lnTo>
                  <a:pt x="8625" y="479"/>
                </a:lnTo>
                <a:lnTo>
                  <a:pt x="8625" y="29"/>
                </a:lnTo>
                <a:lnTo>
                  <a:pt x="8669" y="29"/>
                </a:lnTo>
                <a:lnTo>
                  <a:pt x="8669" y="240"/>
                </a:lnTo>
                <a:lnTo>
                  <a:pt x="8670" y="240"/>
                </a:lnTo>
                <a:cubicBezTo>
                  <a:pt x="8686" y="192"/>
                  <a:pt x="8714" y="161"/>
                  <a:pt x="8768" y="161"/>
                </a:cubicBezTo>
                <a:cubicBezTo>
                  <a:pt x="8822" y="161"/>
                  <a:pt x="8847" y="208"/>
                  <a:pt x="8847" y="257"/>
                </a:cubicBezTo>
                <a:lnTo>
                  <a:pt x="8847" y="479"/>
                </a:lnTo>
                <a:lnTo>
                  <a:pt x="8803" y="479"/>
                </a:lnTo>
                <a:close/>
                <a:moveTo>
                  <a:pt x="8556" y="478"/>
                </a:moveTo>
                <a:cubicBezTo>
                  <a:pt x="8534" y="484"/>
                  <a:pt x="8514" y="486"/>
                  <a:pt x="8491" y="486"/>
                </a:cubicBezTo>
                <a:cubicBezTo>
                  <a:pt x="8384" y="486"/>
                  <a:pt x="8331" y="421"/>
                  <a:pt x="8331" y="317"/>
                </a:cubicBezTo>
                <a:cubicBezTo>
                  <a:pt x="8331" y="232"/>
                  <a:pt x="8362" y="161"/>
                  <a:pt x="8458" y="161"/>
                </a:cubicBezTo>
                <a:cubicBezTo>
                  <a:pt x="8523" y="161"/>
                  <a:pt x="8564" y="196"/>
                  <a:pt x="8564" y="263"/>
                </a:cubicBezTo>
                <a:lnTo>
                  <a:pt x="8511" y="263"/>
                </a:lnTo>
                <a:cubicBezTo>
                  <a:pt x="8511" y="227"/>
                  <a:pt x="8495" y="199"/>
                  <a:pt x="8456" y="199"/>
                </a:cubicBezTo>
                <a:cubicBezTo>
                  <a:pt x="8399" y="199"/>
                  <a:pt x="8382" y="261"/>
                  <a:pt x="8382" y="307"/>
                </a:cubicBezTo>
                <a:cubicBezTo>
                  <a:pt x="8382" y="387"/>
                  <a:pt x="8417" y="449"/>
                  <a:pt x="8505" y="449"/>
                </a:cubicBezTo>
                <a:cubicBezTo>
                  <a:pt x="8523" y="449"/>
                  <a:pt x="8540" y="448"/>
                  <a:pt x="8556" y="443"/>
                </a:cubicBezTo>
                <a:lnTo>
                  <a:pt x="8556" y="478"/>
                </a:lnTo>
                <a:close/>
                <a:moveTo>
                  <a:pt x="8228" y="257"/>
                </a:moveTo>
                <a:cubicBezTo>
                  <a:pt x="8228" y="223"/>
                  <a:pt x="8203" y="199"/>
                  <a:pt x="8169" y="199"/>
                </a:cubicBezTo>
                <a:cubicBezTo>
                  <a:pt x="8131" y="199"/>
                  <a:pt x="8111" y="223"/>
                  <a:pt x="8103" y="257"/>
                </a:cubicBezTo>
                <a:lnTo>
                  <a:pt x="8228" y="257"/>
                </a:lnTo>
                <a:close/>
                <a:moveTo>
                  <a:pt x="8272" y="477"/>
                </a:moveTo>
                <a:cubicBezTo>
                  <a:pt x="8249" y="484"/>
                  <a:pt x="8225" y="486"/>
                  <a:pt x="8201" y="486"/>
                </a:cubicBezTo>
                <a:cubicBezTo>
                  <a:pt x="8093" y="486"/>
                  <a:pt x="8049" y="415"/>
                  <a:pt x="8049" y="313"/>
                </a:cubicBezTo>
                <a:cubicBezTo>
                  <a:pt x="8049" y="233"/>
                  <a:pt x="8079" y="161"/>
                  <a:pt x="8171" y="161"/>
                </a:cubicBezTo>
                <a:cubicBezTo>
                  <a:pt x="8242" y="161"/>
                  <a:pt x="8279" y="210"/>
                  <a:pt x="8279" y="280"/>
                </a:cubicBezTo>
                <a:lnTo>
                  <a:pt x="8279" y="295"/>
                </a:lnTo>
                <a:lnTo>
                  <a:pt x="8100" y="295"/>
                </a:lnTo>
                <a:lnTo>
                  <a:pt x="8100" y="313"/>
                </a:lnTo>
                <a:cubicBezTo>
                  <a:pt x="8100" y="381"/>
                  <a:pt x="8134" y="449"/>
                  <a:pt x="8210" y="449"/>
                </a:cubicBezTo>
                <a:cubicBezTo>
                  <a:pt x="8232" y="449"/>
                  <a:pt x="8251" y="446"/>
                  <a:pt x="8272" y="441"/>
                </a:cubicBezTo>
                <a:lnTo>
                  <a:pt x="8272" y="477"/>
                </a:lnTo>
                <a:close/>
                <a:moveTo>
                  <a:pt x="7879" y="479"/>
                </a:moveTo>
                <a:lnTo>
                  <a:pt x="7879" y="71"/>
                </a:lnTo>
                <a:lnTo>
                  <a:pt x="7771" y="71"/>
                </a:lnTo>
                <a:lnTo>
                  <a:pt x="7771" y="29"/>
                </a:lnTo>
                <a:lnTo>
                  <a:pt x="8037" y="29"/>
                </a:lnTo>
                <a:lnTo>
                  <a:pt x="8037" y="71"/>
                </a:lnTo>
                <a:lnTo>
                  <a:pt x="7930" y="71"/>
                </a:lnTo>
                <a:lnTo>
                  <a:pt x="7930" y="479"/>
                </a:lnTo>
                <a:lnTo>
                  <a:pt x="7879" y="479"/>
                </a:lnTo>
                <a:close/>
                <a:moveTo>
                  <a:pt x="7523" y="628"/>
                </a:moveTo>
                <a:lnTo>
                  <a:pt x="7523" y="0"/>
                </a:lnTo>
                <a:lnTo>
                  <a:pt x="7557" y="0"/>
                </a:lnTo>
                <a:lnTo>
                  <a:pt x="7557" y="628"/>
                </a:lnTo>
                <a:lnTo>
                  <a:pt x="7523" y="628"/>
                </a:lnTo>
                <a:close/>
                <a:moveTo>
                  <a:pt x="7206" y="479"/>
                </a:moveTo>
                <a:lnTo>
                  <a:pt x="7206" y="29"/>
                </a:lnTo>
                <a:lnTo>
                  <a:pt x="7250" y="29"/>
                </a:lnTo>
                <a:lnTo>
                  <a:pt x="7250" y="479"/>
                </a:lnTo>
                <a:lnTo>
                  <a:pt x="7206" y="479"/>
                </a:lnTo>
                <a:close/>
                <a:moveTo>
                  <a:pt x="7034" y="338"/>
                </a:moveTo>
                <a:cubicBezTo>
                  <a:pt x="6995" y="338"/>
                  <a:pt x="6933" y="355"/>
                  <a:pt x="6933" y="404"/>
                </a:cubicBezTo>
                <a:cubicBezTo>
                  <a:pt x="6933" y="430"/>
                  <a:pt x="6950" y="449"/>
                  <a:pt x="6976" y="449"/>
                </a:cubicBezTo>
                <a:cubicBezTo>
                  <a:pt x="7006" y="449"/>
                  <a:pt x="7036" y="429"/>
                  <a:pt x="7049" y="401"/>
                </a:cubicBezTo>
                <a:cubicBezTo>
                  <a:pt x="7059" y="378"/>
                  <a:pt x="7061" y="364"/>
                  <a:pt x="7061" y="338"/>
                </a:cubicBezTo>
                <a:lnTo>
                  <a:pt x="7034" y="338"/>
                </a:lnTo>
                <a:close/>
                <a:moveTo>
                  <a:pt x="7062" y="479"/>
                </a:moveTo>
                <a:lnTo>
                  <a:pt x="7062" y="438"/>
                </a:lnTo>
                <a:lnTo>
                  <a:pt x="7061" y="438"/>
                </a:lnTo>
                <a:cubicBezTo>
                  <a:pt x="7044" y="471"/>
                  <a:pt x="7000" y="486"/>
                  <a:pt x="6965" y="486"/>
                </a:cubicBezTo>
                <a:cubicBezTo>
                  <a:pt x="6911" y="486"/>
                  <a:pt x="6882" y="452"/>
                  <a:pt x="6882" y="400"/>
                </a:cubicBezTo>
                <a:cubicBezTo>
                  <a:pt x="6882" y="330"/>
                  <a:pt x="6963" y="301"/>
                  <a:pt x="7061" y="301"/>
                </a:cubicBezTo>
                <a:lnTo>
                  <a:pt x="7061" y="295"/>
                </a:lnTo>
                <a:cubicBezTo>
                  <a:pt x="7061" y="248"/>
                  <a:pt x="7063" y="199"/>
                  <a:pt x="7002" y="199"/>
                </a:cubicBezTo>
                <a:cubicBezTo>
                  <a:pt x="6965" y="199"/>
                  <a:pt x="6944" y="211"/>
                  <a:pt x="6939" y="248"/>
                </a:cubicBezTo>
                <a:lnTo>
                  <a:pt x="6889" y="248"/>
                </a:lnTo>
                <a:cubicBezTo>
                  <a:pt x="6891" y="186"/>
                  <a:pt x="6944" y="161"/>
                  <a:pt x="7001" y="161"/>
                </a:cubicBezTo>
                <a:cubicBezTo>
                  <a:pt x="7071" y="161"/>
                  <a:pt x="7105" y="191"/>
                  <a:pt x="7105" y="261"/>
                </a:cubicBezTo>
                <a:lnTo>
                  <a:pt x="7105" y="479"/>
                </a:lnTo>
                <a:lnTo>
                  <a:pt x="7062" y="479"/>
                </a:lnTo>
                <a:close/>
                <a:moveTo>
                  <a:pt x="6843" y="483"/>
                </a:moveTo>
                <a:cubicBezTo>
                  <a:pt x="6829" y="485"/>
                  <a:pt x="6816" y="486"/>
                  <a:pt x="6803" y="486"/>
                </a:cubicBezTo>
                <a:cubicBezTo>
                  <a:pt x="6745" y="486"/>
                  <a:pt x="6717" y="467"/>
                  <a:pt x="6717" y="406"/>
                </a:cubicBezTo>
                <a:lnTo>
                  <a:pt x="6717" y="206"/>
                </a:lnTo>
                <a:lnTo>
                  <a:pt x="6666" y="206"/>
                </a:lnTo>
                <a:lnTo>
                  <a:pt x="6666" y="169"/>
                </a:lnTo>
                <a:lnTo>
                  <a:pt x="6717" y="169"/>
                </a:lnTo>
                <a:lnTo>
                  <a:pt x="6717" y="96"/>
                </a:lnTo>
                <a:lnTo>
                  <a:pt x="6762" y="68"/>
                </a:lnTo>
                <a:lnTo>
                  <a:pt x="6762" y="169"/>
                </a:lnTo>
                <a:lnTo>
                  <a:pt x="6845" y="169"/>
                </a:lnTo>
                <a:lnTo>
                  <a:pt x="6845" y="206"/>
                </a:lnTo>
                <a:lnTo>
                  <a:pt x="6762" y="206"/>
                </a:lnTo>
                <a:lnTo>
                  <a:pt x="6762" y="397"/>
                </a:lnTo>
                <a:cubicBezTo>
                  <a:pt x="6762" y="430"/>
                  <a:pt x="6777" y="449"/>
                  <a:pt x="6813" y="449"/>
                </a:cubicBezTo>
                <a:cubicBezTo>
                  <a:pt x="6825" y="449"/>
                  <a:pt x="6832" y="448"/>
                  <a:pt x="6843" y="443"/>
                </a:cubicBezTo>
                <a:lnTo>
                  <a:pt x="6843" y="483"/>
                </a:lnTo>
                <a:close/>
                <a:moveTo>
                  <a:pt x="6549" y="479"/>
                </a:moveTo>
                <a:lnTo>
                  <a:pt x="6549" y="169"/>
                </a:lnTo>
                <a:lnTo>
                  <a:pt x="6593" y="169"/>
                </a:lnTo>
                <a:lnTo>
                  <a:pt x="6593" y="479"/>
                </a:lnTo>
                <a:lnTo>
                  <a:pt x="6549" y="479"/>
                </a:lnTo>
                <a:close/>
                <a:moveTo>
                  <a:pt x="6542" y="88"/>
                </a:moveTo>
                <a:lnTo>
                  <a:pt x="6542" y="29"/>
                </a:lnTo>
                <a:lnTo>
                  <a:pt x="6600" y="29"/>
                </a:lnTo>
                <a:lnTo>
                  <a:pt x="6600" y="88"/>
                </a:lnTo>
                <a:lnTo>
                  <a:pt x="6542" y="88"/>
                </a:lnTo>
                <a:close/>
                <a:moveTo>
                  <a:pt x="6403" y="318"/>
                </a:moveTo>
                <a:cubicBezTo>
                  <a:pt x="6403" y="275"/>
                  <a:pt x="6386" y="199"/>
                  <a:pt x="6330" y="199"/>
                </a:cubicBezTo>
                <a:cubicBezTo>
                  <a:pt x="6273" y="199"/>
                  <a:pt x="6266" y="286"/>
                  <a:pt x="6266" y="326"/>
                </a:cubicBezTo>
                <a:cubicBezTo>
                  <a:pt x="6266" y="367"/>
                  <a:pt x="6274" y="442"/>
                  <a:pt x="6329" y="442"/>
                </a:cubicBezTo>
                <a:cubicBezTo>
                  <a:pt x="6386" y="442"/>
                  <a:pt x="6403" y="362"/>
                  <a:pt x="6403" y="318"/>
                </a:cubicBezTo>
                <a:close/>
                <a:moveTo>
                  <a:pt x="6403" y="420"/>
                </a:moveTo>
                <a:lnTo>
                  <a:pt x="6402" y="420"/>
                </a:lnTo>
                <a:cubicBezTo>
                  <a:pt x="6390" y="457"/>
                  <a:pt x="6358" y="479"/>
                  <a:pt x="6320" y="479"/>
                </a:cubicBezTo>
                <a:cubicBezTo>
                  <a:pt x="6234" y="479"/>
                  <a:pt x="6215" y="396"/>
                  <a:pt x="6215" y="326"/>
                </a:cubicBezTo>
                <a:cubicBezTo>
                  <a:pt x="6215" y="259"/>
                  <a:pt x="6236" y="161"/>
                  <a:pt x="6321" y="161"/>
                </a:cubicBezTo>
                <a:cubicBezTo>
                  <a:pt x="6358" y="161"/>
                  <a:pt x="6392" y="183"/>
                  <a:pt x="6402" y="219"/>
                </a:cubicBezTo>
                <a:lnTo>
                  <a:pt x="6403" y="219"/>
                </a:lnTo>
                <a:lnTo>
                  <a:pt x="6403" y="169"/>
                </a:lnTo>
                <a:lnTo>
                  <a:pt x="6448" y="169"/>
                </a:lnTo>
                <a:lnTo>
                  <a:pt x="6448" y="480"/>
                </a:lnTo>
                <a:cubicBezTo>
                  <a:pt x="6448" y="569"/>
                  <a:pt x="6405" y="615"/>
                  <a:pt x="6316" y="615"/>
                </a:cubicBezTo>
                <a:cubicBezTo>
                  <a:pt x="6285" y="615"/>
                  <a:pt x="6260" y="610"/>
                  <a:pt x="6232" y="604"/>
                </a:cubicBezTo>
                <a:lnTo>
                  <a:pt x="6232" y="559"/>
                </a:lnTo>
                <a:cubicBezTo>
                  <a:pt x="6257" y="572"/>
                  <a:pt x="6281" y="578"/>
                  <a:pt x="6309" y="578"/>
                </a:cubicBezTo>
                <a:cubicBezTo>
                  <a:pt x="6381" y="578"/>
                  <a:pt x="6403" y="541"/>
                  <a:pt x="6403" y="475"/>
                </a:cubicBezTo>
                <a:lnTo>
                  <a:pt x="6403" y="420"/>
                </a:lnTo>
                <a:close/>
                <a:moveTo>
                  <a:pt x="6091" y="479"/>
                </a:moveTo>
                <a:lnTo>
                  <a:pt x="6091" y="169"/>
                </a:lnTo>
                <a:lnTo>
                  <a:pt x="6135" y="169"/>
                </a:lnTo>
                <a:lnTo>
                  <a:pt x="6135" y="479"/>
                </a:lnTo>
                <a:lnTo>
                  <a:pt x="6091" y="479"/>
                </a:lnTo>
                <a:close/>
                <a:moveTo>
                  <a:pt x="6084" y="88"/>
                </a:moveTo>
                <a:lnTo>
                  <a:pt x="6084" y="29"/>
                </a:lnTo>
                <a:lnTo>
                  <a:pt x="6142" y="29"/>
                </a:lnTo>
                <a:lnTo>
                  <a:pt x="6142" y="88"/>
                </a:lnTo>
                <a:lnTo>
                  <a:pt x="6084" y="88"/>
                </a:lnTo>
                <a:close/>
                <a:moveTo>
                  <a:pt x="5808" y="437"/>
                </a:moveTo>
                <a:cubicBezTo>
                  <a:pt x="5833" y="437"/>
                  <a:pt x="5860" y="435"/>
                  <a:pt x="5884" y="424"/>
                </a:cubicBezTo>
                <a:cubicBezTo>
                  <a:pt x="5947" y="395"/>
                  <a:pt x="5952" y="313"/>
                  <a:pt x="5952" y="253"/>
                </a:cubicBezTo>
                <a:cubicBezTo>
                  <a:pt x="5952" y="189"/>
                  <a:pt x="5946" y="107"/>
                  <a:pt x="5875" y="81"/>
                </a:cubicBezTo>
                <a:cubicBezTo>
                  <a:pt x="5852" y="73"/>
                  <a:pt x="5827" y="71"/>
                  <a:pt x="5802" y="71"/>
                </a:cubicBezTo>
                <a:lnTo>
                  <a:pt x="5773" y="71"/>
                </a:lnTo>
                <a:lnTo>
                  <a:pt x="5773" y="437"/>
                </a:lnTo>
                <a:lnTo>
                  <a:pt x="5808" y="437"/>
                </a:lnTo>
                <a:close/>
                <a:moveTo>
                  <a:pt x="5722" y="479"/>
                </a:moveTo>
                <a:lnTo>
                  <a:pt x="5722" y="29"/>
                </a:lnTo>
                <a:lnTo>
                  <a:pt x="5823" y="29"/>
                </a:lnTo>
                <a:cubicBezTo>
                  <a:pt x="5968" y="29"/>
                  <a:pt x="6008" y="123"/>
                  <a:pt x="6008" y="253"/>
                </a:cubicBezTo>
                <a:cubicBezTo>
                  <a:pt x="6008" y="338"/>
                  <a:pt x="5992" y="435"/>
                  <a:pt x="5901" y="467"/>
                </a:cubicBezTo>
                <a:cubicBezTo>
                  <a:pt x="5870" y="477"/>
                  <a:pt x="5838" y="479"/>
                  <a:pt x="5807" y="479"/>
                </a:cubicBezTo>
                <a:lnTo>
                  <a:pt x="5722" y="479"/>
                </a:lnTo>
                <a:close/>
                <a:moveTo>
                  <a:pt x="5419" y="628"/>
                </a:moveTo>
                <a:lnTo>
                  <a:pt x="5419" y="0"/>
                </a:lnTo>
                <a:lnTo>
                  <a:pt x="5452" y="0"/>
                </a:lnTo>
                <a:lnTo>
                  <a:pt x="5452" y="628"/>
                </a:lnTo>
                <a:lnTo>
                  <a:pt x="5419" y="628"/>
                </a:lnTo>
                <a:close/>
                <a:moveTo>
                  <a:pt x="5107" y="318"/>
                </a:moveTo>
                <a:cubicBezTo>
                  <a:pt x="5107" y="275"/>
                  <a:pt x="5089" y="199"/>
                  <a:pt x="5034" y="199"/>
                </a:cubicBezTo>
                <a:cubicBezTo>
                  <a:pt x="4976" y="199"/>
                  <a:pt x="4969" y="286"/>
                  <a:pt x="4969" y="326"/>
                </a:cubicBezTo>
                <a:cubicBezTo>
                  <a:pt x="4969" y="367"/>
                  <a:pt x="4977" y="442"/>
                  <a:pt x="5032" y="442"/>
                </a:cubicBezTo>
                <a:cubicBezTo>
                  <a:pt x="5089" y="442"/>
                  <a:pt x="5107" y="362"/>
                  <a:pt x="5107" y="318"/>
                </a:cubicBezTo>
                <a:close/>
                <a:moveTo>
                  <a:pt x="5107" y="420"/>
                </a:moveTo>
                <a:lnTo>
                  <a:pt x="5105" y="420"/>
                </a:lnTo>
                <a:cubicBezTo>
                  <a:pt x="5093" y="457"/>
                  <a:pt x="5062" y="479"/>
                  <a:pt x="5023" y="479"/>
                </a:cubicBezTo>
                <a:cubicBezTo>
                  <a:pt x="4938" y="479"/>
                  <a:pt x="4918" y="396"/>
                  <a:pt x="4918" y="326"/>
                </a:cubicBezTo>
                <a:cubicBezTo>
                  <a:pt x="4918" y="259"/>
                  <a:pt x="4939" y="161"/>
                  <a:pt x="5025" y="161"/>
                </a:cubicBezTo>
                <a:cubicBezTo>
                  <a:pt x="5062" y="161"/>
                  <a:pt x="5095" y="183"/>
                  <a:pt x="5105" y="219"/>
                </a:cubicBezTo>
                <a:lnTo>
                  <a:pt x="5107" y="219"/>
                </a:lnTo>
                <a:lnTo>
                  <a:pt x="5107" y="169"/>
                </a:lnTo>
                <a:lnTo>
                  <a:pt x="5151" y="169"/>
                </a:lnTo>
                <a:lnTo>
                  <a:pt x="5151" y="480"/>
                </a:lnTo>
                <a:cubicBezTo>
                  <a:pt x="5151" y="569"/>
                  <a:pt x="5109" y="615"/>
                  <a:pt x="5019" y="615"/>
                </a:cubicBezTo>
                <a:cubicBezTo>
                  <a:pt x="4989" y="615"/>
                  <a:pt x="4964" y="610"/>
                  <a:pt x="4935" y="604"/>
                </a:cubicBezTo>
                <a:lnTo>
                  <a:pt x="4935" y="559"/>
                </a:lnTo>
                <a:cubicBezTo>
                  <a:pt x="4961" y="572"/>
                  <a:pt x="4985" y="578"/>
                  <a:pt x="5013" y="578"/>
                </a:cubicBezTo>
                <a:cubicBezTo>
                  <a:pt x="5085" y="578"/>
                  <a:pt x="5107" y="541"/>
                  <a:pt x="5107" y="475"/>
                </a:cubicBezTo>
                <a:lnTo>
                  <a:pt x="5107" y="420"/>
                </a:lnTo>
                <a:close/>
                <a:moveTo>
                  <a:pt x="4799" y="479"/>
                </a:moveTo>
                <a:lnTo>
                  <a:pt x="4799" y="307"/>
                </a:lnTo>
                <a:cubicBezTo>
                  <a:pt x="4799" y="272"/>
                  <a:pt x="4805" y="206"/>
                  <a:pt x="4754" y="206"/>
                </a:cubicBezTo>
                <a:cubicBezTo>
                  <a:pt x="4692" y="206"/>
                  <a:pt x="4666" y="303"/>
                  <a:pt x="4666" y="351"/>
                </a:cubicBezTo>
                <a:lnTo>
                  <a:pt x="4666" y="479"/>
                </a:lnTo>
                <a:lnTo>
                  <a:pt x="4621" y="479"/>
                </a:lnTo>
                <a:lnTo>
                  <a:pt x="4621" y="169"/>
                </a:lnTo>
                <a:lnTo>
                  <a:pt x="4666" y="169"/>
                </a:lnTo>
                <a:lnTo>
                  <a:pt x="4666" y="240"/>
                </a:lnTo>
                <a:lnTo>
                  <a:pt x="4667" y="240"/>
                </a:lnTo>
                <a:cubicBezTo>
                  <a:pt x="4683" y="192"/>
                  <a:pt x="4710" y="161"/>
                  <a:pt x="4764" y="161"/>
                </a:cubicBezTo>
                <a:cubicBezTo>
                  <a:pt x="4818" y="161"/>
                  <a:pt x="4844" y="208"/>
                  <a:pt x="4844" y="257"/>
                </a:cubicBezTo>
                <a:lnTo>
                  <a:pt x="4844" y="479"/>
                </a:lnTo>
                <a:lnTo>
                  <a:pt x="4799" y="479"/>
                </a:lnTo>
                <a:close/>
                <a:moveTo>
                  <a:pt x="4474" y="479"/>
                </a:moveTo>
                <a:lnTo>
                  <a:pt x="4474" y="169"/>
                </a:lnTo>
                <a:lnTo>
                  <a:pt x="4519" y="169"/>
                </a:lnTo>
                <a:lnTo>
                  <a:pt x="4519" y="479"/>
                </a:lnTo>
                <a:lnTo>
                  <a:pt x="4474" y="479"/>
                </a:lnTo>
                <a:close/>
                <a:moveTo>
                  <a:pt x="4467" y="88"/>
                </a:moveTo>
                <a:lnTo>
                  <a:pt x="4467" y="29"/>
                </a:lnTo>
                <a:lnTo>
                  <a:pt x="4526" y="29"/>
                </a:lnTo>
                <a:lnTo>
                  <a:pt x="4526" y="88"/>
                </a:lnTo>
                <a:lnTo>
                  <a:pt x="4467" y="88"/>
                </a:lnTo>
                <a:close/>
                <a:moveTo>
                  <a:pt x="4406" y="483"/>
                </a:moveTo>
                <a:cubicBezTo>
                  <a:pt x="4393" y="485"/>
                  <a:pt x="4380" y="486"/>
                  <a:pt x="4367" y="486"/>
                </a:cubicBezTo>
                <a:cubicBezTo>
                  <a:pt x="4309" y="486"/>
                  <a:pt x="4281" y="467"/>
                  <a:pt x="4281" y="406"/>
                </a:cubicBezTo>
                <a:lnTo>
                  <a:pt x="4281" y="206"/>
                </a:lnTo>
                <a:lnTo>
                  <a:pt x="4230" y="206"/>
                </a:lnTo>
                <a:lnTo>
                  <a:pt x="4230" y="169"/>
                </a:lnTo>
                <a:lnTo>
                  <a:pt x="4281" y="169"/>
                </a:lnTo>
                <a:lnTo>
                  <a:pt x="4281" y="96"/>
                </a:lnTo>
                <a:lnTo>
                  <a:pt x="4326" y="68"/>
                </a:lnTo>
                <a:lnTo>
                  <a:pt x="4326" y="169"/>
                </a:lnTo>
                <a:lnTo>
                  <a:pt x="4409" y="169"/>
                </a:lnTo>
                <a:lnTo>
                  <a:pt x="4409" y="206"/>
                </a:lnTo>
                <a:lnTo>
                  <a:pt x="4326" y="206"/>
                </a:lnTo>
                <a:lnTo>
                  <a:pt x="4326" y="397"/>
                </a:lnTo>
                <a:cubicBezTo>
                  <a:pt x="4326" y="430"/>
                  <a:pt x="4341" y="449"/>
                  <a:pt x="4376" y="449"/>
                </a:cubicBezTo>
                <a:cubicBezTo>
                  <a:pt x="4389" y="449"/>
                  <a:pt x="4395" y="448"/>
                  <a:pt x="4406" y="443"/>
                </a:cubicBezTo>
                <a:lnTo>
                  <a:pt x="4406" y="483"/>
                </a:lnTo>
                <a:close/>
                <a:moveTo>
                  <a:pt x="4113" y="479"/>
                </a:moveTo>
                <a:lnTo>
                  <a:pt x="4113" y="29"/>
                </a:lnTo>
                <a:lnTo>
                  <a:pt x="4157" y="29"/>
                </a:lnTo>
                <a:lnTo>
                  <a:pt x="4157" y="479"/>
                </a:lnTo>
                <a:lnTo>
                  <a:pt x="4113" y="479"/>
                </a:lnTo>
                <a:close/>
                <a:moveTo>
                  <a:pt x="3964" y="479"/>
                </a:moveTo>
                <a:lnTo>
                  <a:pt x="3964" y="407"/>
                </a:lnTo>
                <a:lnTo>
                  <a:pt x="3963" y="407"/>
                </a:lnTo>
                <a:cubicBezTo>
                  <a:pt x="3948" y="455"/>
                  <a:pt x="3919" y="486"/>
                  <a:pt x="3866" y="486"/>
                </a:cubicBezTo>
                <a:cubicBezTo>
                  <a:pt x="3812" y="486"/>
                  <a:pt x="3787" y="441"/>
                  <a:pt x="3787" y="390"/>
                </a:cubicBezTo>
                <a:lnTo>
                  <a:pt x="3787" y="169"/>
                </a:lnTo>
                <a:lnTo>
                  <a:pt x="3831" y="169"/>
                </a:lnTo>
                <a:lnTo>
                  <a:pt x="3831" y="341"/>
                </a:lnTo>
                <a:cubicBezTo>
                  <a:pt x="3831" y="375"/>
                  <a:pt x="3826" y="442"/>
                  <a:pt x="3877" y="442"/>
                </a:cubicBezTo>
                <a:cubicBezTo>
                  <a:pt x="3939" y="442"/>
                  <a:pt x="3964" y="345"/>
                  <a:pt x="3964" y="296"/>
                </a:cubicBezTo>
                <a:lnTo>
                  <a:pt x="3964" y="169"/>
                </a:lnTo>
                <a:lnTo>
                  <a:pt x="4008" y="169"/>
                </a:lnTo>
                <a:lnTo>
                  <a:pt x="4008" y="479"/>
                </a:lnTo>
                <a:lnTo>
                  <a:pt x="3964" y="479"/>
                </a:lnTo>
                <a:close/>
                <a:moveTo>
                  <a:pt x="3526" y="433"/>
                </a:moveTo>
                <a:cubicBezTo>
                  <a:pt x="3552" y="441"/>
                  <a:pt x="3578" y="449"/>
                  <a:pt x="3606" y="449"/>
                </a:cubicBezTo>
                <a:cubicBezTo>
                  <a:pt x="3640" y="449"/>
                  <a:pt x="3682" y="440"/>
                  <a:pt x="3682" y="399"/>
                </a:cubicBezTo>
                <a:cubicBezTo>
                  <a:pt x="3682" y="368"/>
                  <a:pt x="3649" y="355"/>
                  <a:pt x="3626" y="343"/>
                </a:cubicBezTo>
                <a:lnTo>
                  <a:pt x="3598" y="328"/>
                </a:lnTo>
                <a:cubicBezTo>
                  <a:pt x="3561" y="309"/>
                  <a:pt x="3527" y="291"/>
                  <a:pt x="3527" y="244"/>
                </a:cubicBezTo>
                <a:cubicBezTo>
                  <a:pt x="3527" y="183"/>
                  <a:pt x="3580" y="161"/>
                  <a:pt x="3634" y="161"/>
                </a:cubicBezTo>
                <a:cubicBezTo>
                  <a:pt x="3659" y="161"/>
                  <a:pt x="3683" y="166"/>
                  <a:pt x="3707" y="172"/>
                </a:cubicBezTo>
                <a:lnTo>
                  <a:pt x="3707" y="213"/>
                </a:lnTo>
                <a:cubicBezTo>
                  <a:pt x="3684" y="205"/>
                  <a:pt x="3658" y="199"/>
                  <a:pt x="3634" y="199"/>
                </a:cubicBezTo>
                <a:cubicBezTo>
                  <a:pt x="3610" y="199"/>
                  <a:pt x="3572" y="209"/>
                  <a:pt x="3572" y="239"/>
                </a:cubicBezTo>
                <a:cubicBezTo>
                  <a:pt x="3572" y="265"/>
                  <a:pt x="3610" y="277"/>
                  <a:pt x="3628" y="288"/>
                </a:cubicBezTo>
                <a:lnTo>
                  <a:pt x="3654" y="304"/>
                </a:lnTo>
                <a:cubicBezTo>
                  <a:pt x="3692" y="326"/>
                  <a:pt x="3726" y="342"/>
                  <a:pt x="3726" y="392"/>
                </a:cubicBezTo>
                <a:cubicBezTo>
                  <a:pt x="3726" y="462"/>
                  <a:pt x="3673" y="486"/>
                  <a:pt x="3611" y="486"/>
                </a:cubicBezTo>
                <a:cubicBezTo>
                  <a:pt x="3582" y="486"/>
                  <a:pt x="3554" y="482"/>
                  <a:pt x="3526" y="473"/>
                </a:cubicBezTo>
                <a:lnTo>
                  <a:pt x="3526" y="433"/>
                </a:lnTo>
                <a:close/>
                <a:moveTo>
                  <a:pt x="3412" y="479"/>
                </a:moveTo>
                <a:lnTo>
                  <a:pt x="3412" y="307"/>
                </a:lnTo>
                <a:cubicBezTo>
                  <a:pt x="3412" y="272"/>
                  <a:pt x="3418" y="206"/>
                  <a:pt x="3367" y="206"/>
                </a:cubicBezTo>
                <a:cubicBezTo>
                  <a:pt x="3305" y="206"/>
                  <a:pt x="3279" y="303"/>
                  <a:pt x="3279" y="351"/>
                </a:cubicBezTo>
                <a:lnTo>
                  <a:pt x="3279" y="479"/>
                </a:lnTo>
                <a:lnTo>
                  <a:pt x="3234" y="479"/>
                </a:lnTo>
                <a:lnTo>
                  <a:pt x="3234" y="169"/>
                </a:lnTo>
                <a:lnTo>
                  <a:pt x="3279" y="169"/>
                </a:lnTo>
                <a:lnTo>
                  <a:pt x="3279" y="240"/>
                </a:lnTo>
                <a:lnTo>
                  <a:pt x="3280" y="240"/>
                </a:lnTo>
                <a:cubicBezTo>
                  <a:pt x="3296" y="192"/>
                  <a:pt x="3323" y="161"/>
                  <a:pt x="3377" y="161"/>
                </a:cubicBezTo>
                <a:cubicBezTo>
                  <a:pt x="3431" y="161"/>
                  <a:pt x="3457" y="208"/>
                  <a:pt x="3457" y="257"/>
                </a:cubicBezTo>
                <a:lnTo>
                  <a:pt x="3457" y="479"/>
                </a:lnTo>
                <a:lnTo>
                  <a:pt x="3412" y="479"/>
                </a:lnTo>
                <a:close/>
                <a:moveTo>
                  <a:pt x="3108" y="324"/>
                </a:moveTo>
                <a:cubicBezTo>
                  <a:pt x="3108" y="274"/>
                  <a:pt x="3096" y="199"/>
                  <a:pt x="3031" y="199"/>
                </a:cubicBezTo>
                <a:cubicBezTo>
                  <a:pt x="2967" y="199"/>
                  <a:pt x="2956" y="274"/>
                  <a:pt x="2956" y="324"/>
                </a:cubicBezTo>
                <a:cubicBezTo>
                  <a:pt x="2956" y="373"/>
                  <a:pt x="2967" y="449"/>
                  <a:pt x="3031" y="449"/>
                </a:cubicBezTo>
                <a:cubicBezTo>
                  <a:pt x="3097" y="449"/>
                  <a:pt x="3108" y="374"/>
                  <a:pt x="3108" y="324"/>
                </a:cubicBezTo>
                <a:close/>
                <a:moveTo>
                  <a:pt x="2905" y="325"/>
                </a:moveTo>
                <a:cubicBezTo>
                  <a:pt x="2905" y="241"/>
                  <a:pt x="2935" y="161"/>
                  <a:pt x="3031" y="161"/>
                </a:cubicBezTo>
                <a:cubicBezTo>
                  <a:pt x="3129" y="161"/>
                  <a:pt x="3159" y="241"/>
                  <a:pt x="3159" y="325"/>
                </a:cubicBezTo>
                <a:cubicBezTo>
                  <a:pt x="3159" y="409"/>
                  <a:pt x="3129" y="486"/>
                  <a:pt x="3031" y="486"/>
                </a:cubicBezTo>
                <a:cubicBezTo>
                  <a:pt x="2935" y="486"/>
                  <a:pt x="2905" y="409"/>
                  <a:pt x="2905" y="325"/>
                </a:cubicBezTo>
                <a:close/>
                <a:moveTo>
                  <a:pt x="2856" y="460"/>
                </a:moveTo>
                <a:cubicBezTo>
                  <a:pt x="2814" y="477"/>
                  <a:pt x="2785" y="486"/>
                  <a:pt x="2737" y="486"/>
                </a:cubicBezTo>
                <a:cubicBezTo>
                  <a:pt x="2602" y="486"/>
                  <a:pt x="2564" y="358"/>
                  <a:pt x="2564" y="246"/>
                </a:cubicBezTo>
                <a:cubicBezTo>
                  <a:pt x="2564" y="133"/>
                  <a:pt x="2603" y="22"/>
                  <a:pt x="2734" y="22"/>
                </a:cubicBezTo>
                <a:cubicBezTo>
                  <a:pt x="2813" y="22"/>
                  <a:pt x="2873" y="69"/>
                  <a:pt x="2873" y="152"/>
                </a:cubicBezTo>
                <a:lnTo>
                  <a:pt x="2816" y="152"/>
                </a:lnTo>
                <a:cubicBezTo>
                  <a:pt x="2816" y="101"/>
                  <a:pt x="2786" y="64"/>
                  <a:pt x="2734" y="64"/>
                </a:cubicBezTo>
                <a:cubicBezTo>
                  <a:pt x="2635" y="64"/>
                  <a:pt x="2620" y="171"/>
                  <a:pt x="2620" y="248"/>
                </a:cubicBezTo>
                <a:cubicBezTo>
                  <a:pt x="2620" y="333"/>
                  <a:pt x="2643" y="444"/>
                  <a:pt x="2749" y="444"/>
                </a:cubicBezTo>
                <a:cubicBezTo>
                  <a:pt x="2789" y="444"/>
                  <a:pt x="2826" y="431"/>
                  <a:pt x="2856" y="407"/>
                </a:cubicBezTo>
                <a:lnTo>
                  <a:pt x="2856" y="460"/>
                </a:lnTo>
                <a:close/>
                <a:moveTo>
                  <a:pt x="2283" y="628"/>
                </a:moveTo>
                <a:lnTo>
                  <a:pt x="2283" y="0"/>
                </a:lnTo>
                <a:lnTo>
                  <a:pt x="2317" y="0"/>
                </a:lnTo>
                <a:lnTo>
                  <a:pt x="2317" y="628"/>
                </a:lnTo>
                <a:lnTo>
                  <a:pt x="2283" y="628"/>
                </a:lnTo>
                <a:close/>
                <a:moveTo>
                  <a:pt x="1868" y="605"/>
                </a:moveTo>
                <a:lnTo>
                  <a:pt x="1912" y="479"/>
                </a:lnTo>
                <a:lnTo>
                  <a:pt x="1793" y="169"/>
                </a:lnTo>
                <a:lnTo>
                  <a:pt x="1840" y="169"/>
                </a:lnTo>
                <a:lnTo>
                  <a:pt x="1931" y="413"/>
                </a:lnTo>
                <a:lnTo>
                  <a:pt x="1932" y="413"/>
                </a:lnTo>
                <a:lnTo>
                  <a:pt x="2016" y="169"/>
                </a:lnTo>
                <a:lnTo>
                  <a:pt x="2064" y="169"/>
                </a:lnTo>
                <a:lnTo>
                  <a:pt x="1914" y="605"/>
                </a:lnTo>
                <a:lnTo>
                  <a:pt x="1868" y="605"/>
                </a:lnTo>
                <a:close/>
                <a:moveTo>
                  <a:pt x="1699" y="318"/>
                </a:moveTo>
                <a:cubicBezTo>
                  <a:pt x="1699" y="275"/>
                  <a:pt x="1682" y="199"/>
                  <a:pt x="1626" y="199"/>
                </a:cubicBezTo>
                <a:cubicBezTo>
                  <a:pt x="1569" y="199"/>
                  <a:pt x="1562" y="286"/>
                  <a:pt x="1562" y="326"/>
                </a:cubicBezTo>
                <a:cubicBezTo>
                  <a:pt x="1562" y="367"/>
                  <a:pt x="1570" y="442"/>
                  <a:pt x="1625" y="442"/>
                </a:cubicBezTo>
                <a:cubicBezTo>
                  <a:pt x="1682" y="442"/>
                  <a:pt x="1699" y="362"/>
                  <a:pt x="1699" y="318"/>
                </a:cubicBezTo>
                <a:close/>
                <a:moveTo>
                  <a:pt x="1699" y="420"/>
                </a:moveTo>
                <a:lnTo>
                  <a:pt x="1698" y="420"/>
                </a:lnTo>
                <a:cubicBezTo>
                  <a:pt x="1686" y="457"/>
                  <a:pt x="1654" y="479"/>
                  <a:pt x="1616" y="479"/>
                </a:cubicBezTo>
                <a:cubicBezTo>
                  <a:pt x="1531" y="479"/>
                  <a:pt x="1511" y="396"/>
                  <a:pt x="1511" y="326"/>
                </a:cubicBezTo>
                <a:cubicBezTo>
                  <a:pt x="1511" y="259"/>
                  <a:pt x="1532" y="161"/>
                  <a:pt x="1617" y="161"/>
                </a:cubicBezTo>
                <a:cubicBezTo>
                  <a:pt x="1654" y="161"/>
                  <a:pt x="1688" y="183"/>
                  <a:pt x="1698" y="219"/>
                </a:cubicBezTo>
                <a:lnTo>
                  <a:pt x="1699" y="219"/>
                </a:lnTo>
                <a:lnTo>
                  <a:pt x="1699" y="169"/>
                </a:lnTo>
                <a:lnTo>
                  <a:pt x="1744" y="169"/>
                </a:lnTo>
                <a:lnTo>
                  <a:pt x="1744" y="480"/>
                </a:lnTo>
                <a:cubicBezTo>
                  <a:pt x="1744" y="569"/>
                  <a:pt x="1701" y="615"/>
                  <a:pt x="1612" y="615"/>
                </a:cubicBezTo>
                <a:cubicBezTo>
                  <a:pt x="1581" y="615"/>
                  <a:pt x="1557" y="610"/>
                  <a:pt x="1528" y="604"/>
                </a:cubicBezTo>
                <a:lnTo>
                  <a:pt x="1528" y="559"/>
                </a:lnTo>
                <a:cubicBezTo>
                  <a:pt x="1553" y="572"/>
                  <a:pt x="1577" y="578"/>
                  <a:pt x="1606" y="578"/>
                </a:cubicBezTo>
                <a:cubicBezTo>
                  <a:pt x="1677" y="578"/>
                  <a:pt x="1699" y="541"/>
                  <a:pt x="1699" y="475"/>
                </a:cubicBezTo>
                <a:lnTo>
                  <a:pt x="1699" y="420"/>
                </a:lnTo>
                <a:close/>
                <a:moveTo>
                  <a:pt x="1408" y="257"/>
                </a:moveTo>
                <a:cubicBezTo>
                  <a:pt x="1408" y="223"/>
                  <a:pt x="1383" y="199"/>
                  <a:pt x="1349" y="199"/>
                </a:cubicBezTo>
                <a:cubicBezTo>
                  <a:pt x="1312" y="199"/>
                  <a:pt x="1291" y="223"/>
                  <a:pt x="1284" y="257"/>
                </a:cubicBezTo>
                <a:lnTo>
                  <a:pt x="1408" y="257"/>
                </a:lnTo>
                <a:close/>
                <a:moveTo>
                  <a:pt x="1452" y="477"/>
                </a:moveTo>
                <a:cubicBezTo>
                  <a:pt x="1429" y="484"/>
                  <a:pt x="1405" y="486"/>
                  <a:pt x="1381" y="486"/>
                </a:cubicBezTo>
                <a:cubicBezTo>
                  <a:pt x="1273" y="486"/>
                  <a:pt x="1230" y="415"/>
                  <a:pt x="1230" y="313"/>
                </a:cubicBezTo>
                <a:cubicBezTo>
                  <a:pt x="1230" y="233"/>
                  <a:pt x="1260" y="161"/>
                  <a:pt x="1351" y="161"/>
                </a:cubicBezTo>
                <a:cubicBezTo>
                  <a:pt x="1423" y="161"/>
                  <a:pt x="1459" y="210"/>
                  <a:pt x="1459" y="280"/>
                </a:cubicBezTo>
                <a:lnTo>
                  <a:pt x="1459" y="295"/>
                </a:lnTo>
                <a:lnTo>
                  <a:pt x="1281" y="295"/>
                </a:lnTo>
                <a:lnTo>
                  <a:pt x="1281" y="313"/>
                </a:lnTo>
                <a:cubicBezTo>
                  <a:pt x="1281" y="381"/>
                  <a:pt x="1314" y="449"/>
                  <a:pt x="1391" y="449"/>
                </a:cubicBezTo>
                <a:cubicBezTo>
                  <a:pt x="1412" y="449"/>
                  <a:pt x="1431" y="446"/>
                  <a:pt x="1452" y="441"/>
                </a:cubicBezTo>
                <a:lnTo>
                  <a:pt x="1452" y="477"/>
                </a:lnTo>
                <a:close/>
                <a:moveTo>
                  <a:pt x="1187" y="483"/>
                </a:moveTo>
                <a:cubicBezTo>
                  <a:pt x="1173" y="485"/>
                  <a:pt x="1160" y="486"/>
                  <a:pt x="1147" y="486"/>
                </a:cubicBezTo>
                <a:cubicBezTo>
                  <a:pt x="1089" y="486"/>
                  <a:pt x="1061" y="467"/>
                  <a:pt x="1061" y="406"/>
                </a:cubicBezTo>
                <a:lnTo>
                  <a:pt x="1061" y="206"/>
                </a:lnTo>
                <a:lnTo>
                  <a:pt x="1010" y="206"/>
                </a:lnTo>
                <a:lnTo>
                  <a:pt x="1010" y="169"/>
                </a:lnTo>
                <a:lnTo>
                  <a:pt x="1061" y="169"/>
                </a:lnTo>
                <a:lnTo>
                  <a:pt x="1061" y="96"/>
                </a:lnTo>
                <a:lnTo>
                  <a:pt x="1106" y="68"/>
                </a:lnTo>
                <a:lnTo>
                  <a:pt x="1106" y="169"/>
                </a:lnTo>
                <a:lnTo>
                  <a:pt x="1189" y="169"/>
                </a:lnTo>
                <a:lnTo>
                  <a:pt x="1189" y="206"/>
                </a:lnTo>
                <a:lnTo>
                  <a:pt x="1106" y="206"/>
                </a:lnTo>
                <a:lnTo>
                  <a:pt x="1106" y="397"/>
                </a:lnTo>
                <a:cubicBezTo>
                  <a:pt x="1106" y="430"/>
                  <a:pt x="1121" y="449"/>
                  <a:pt x="1157" y="449"/>
                </a:cubicBezTo>
                <a:cubicBezTo>
                  <a:pt x="1169" y="449"/>
                  <a:pt x="1175" y="448"/>
                  <a:pt x="1187" y="443"/>
                </a:cubicBezTo>
                <a:lnTo>
                  <a:pt x="1187" y="483"/>
                </a:lnTo>
                <a:close/>
                <a:moveTo>
                  <a:pt x="872" y="338"/>
                </a:moveTo>
                <a:cubicBezTo>
                  <a:pt x="833" y="338"/>
                  <a:pt x="770" y="355"/>
                  <a:pt x="770" y="404"/>
                </a:cubicBezTo>
                <a:cubicBezTo>
                  <a:pt x="770" y="430"/>
                  <a:pt x="788" y="449"/>
                  <a:pt x="814" y="449"/>
                </a:cubicBezTo>
                <a:cubicBezTo>
                  <a:pt x="844" y="449"/>
                  <a:pt x="874" y="429"/>
                  <a:pt x="886" y="401"/>
                </a:cubicBezTo>
                <a:cubicBezTo>
                  <a:pt x="897" y="378"/>
                  <a:pt x="898" y="364"/>
                  <a:pt x="898" y="338"/>
                </a:cubicBezTo>
                <a:lnTo>
                  <a:pt x="872" y="338"/>
                </a:lnTo>
                <a:close/>
                <a:moveTo>
                  <a:pt x="899" y="479"/>
                </a:moveTo>
                <a:lnTo>
                  <a:pt x="899" y="438"/>
                </a:lnTo>
                <a:lnTo>
                  <a:pt x="898" y="438"/>
                </a:lnTo>
                <a:cubicBezTo>
                  <a:pt x="881" y="471"/>
                  <a:pt x="837" y="486"/>
                  <a:pt x="803" y="486"/>
                </a:cubicBezTo>
                <a:cubicBezTo>
                  <a:pt x="749" y="486"/>
                  <a:pt x="719" y="452"/>
                  <a:pt x="719" y="400"/>
                </a:cubicBezTo>
                <a:cubicBezTo>
                  <a:pt x="719" y="330"/>
                  <a:pt x="800" y="301"/>
                  <a:pt x="898" y="301"/>
                </a:cubicBezTo>
                <a:lnTo>
                  <a:pt x="898" y="295"/>
                </a:lnTo>
                <a:cubicBezTo>
                  <a:pt x="898" y="248"/>
                  <a:pt x="901" y="199"/>
                  <a:pt x="839" y="199"/>
                </a:cubicBezTo>
                <a:cubicBezTo>
                  <a:pt x="802" y="199"/>
                  <a:pt x="781" y="211"/>
                  <a:pt x="776" y="248"/>
                </a:cubicBezTo>
                <a:lnTo>
                  <a:pt x="726" y="248"/>
                </a:lnTo>
                <a:cubicBezTo>
                  <a:pt x="728" y="186"/>
                  <a:pt x="782" y="161"/>
                  <a:pt x="838" y="161"/>
                </a:cubicBezTo>
                <a:cubicBezTo>
                  <a:pt x="908" y="161"/>
                  <a:pt x="942" y="191"/>
                  <a:pt x="942" y="261"/>
                </a:cubicBezTo>
                <a:lnTo>
                  <a:pt x="942" y="479"/>
                </a:lnTo>
                <a:lnTo>
                  <a:pt x="899" y="479"/>
                </a:lnTo>
                <a:close/>
                <a:moveTo>
                  <a:pt x="545" y="479"/>
                </a:moveTo>
                <a:lnTo>
                  <a:pt x="545" y="169"/>
                </a:lnTo>
                <a:lnTo>
                  <a:pt x="589" y="169"/>
                </a:lnTo>
                <a:lnTo>
                  <a:pt x="589" y="229"/>
                </a:lnTo>
                <a:lnTo>
                  <a:pt x="591" y="229"/>
                </a:lnTo>
                <a:cubicBezTo>
                  <a:pt x="610" y="184"/>
                  <a:pt x="645" y="161"/>
                  <a:pt x="694" y="161"/>
                </a:cubicBezTo>
                <a:lnTo>
                  <a:pt x="694" y="209"/>
                </a:lnTo>
                <a:cubicBezTo>
                  <a:pt x="614" y="209"/>
                  <a:pt x="589" y="283"/>
                  <a:pt x="589" y="351"/>
                </a:cubicBezTo>
                <a:lnTo>
                  <a:pt x="589" y="479"/>
                </a:lnTo>
                <a:lnTo>
                  <a:pt x="545" y="479"/>
                </a:lnTo>
                <a:close/>
                <a:moveTo>
                  <a:pt x="481" y="483"/>
                </a:moveTo>
                <a:cubicBezTo>
                  <a:pt x="468" y="485"/>
                  <a:pt x="455" y="486"/>
                  <a:pt x="442" y="486"/>
                </a:cubicBezTo>
                <a:cubicBezTo>
                  <a:pt x="383" y="486"/>
                  <a:pt x="356" y="467"/>
                  <a:pt x="356" y="406"/>
                </a:cubicBezTo>
                <a:lnTo>
                  <a:pt x="356" y="206"/>
                </a:lnTo>
                <a:lnTo>
                  <a:pt x="305" y="206"/>
                </a:lnTo>
                <a:lnTo>
                  <a:pt x="305" y="169"/>
                </a:lnTo>
                <a:lnTo>
                  <a:pt x="356" y="169"/>
                </a:lnTo>
                <a:lnTo>
                  <a:pt x="356" y="96"/>
                </a:lnTo>
                <a:lnTo>
                  <a:pt x="400" y="68"/>
                </a:lnTo>
                <a:lnTo>
                  <a:pt x="400" y="169"/>
                </a:lnTo>
                <a:lnTo>
                  <a:pt x="484" y="169"/>
                </a:lnTo>
                <a:lnTo>
                  <a:pt x="484" y="206"/>
                </a:lnTo>
                <a:lnTo>
                  <a:pt x="400" y="206"/>
                </a:lnTo>
                <a:lnTo>
                  <a:pt x="400" y="397"/>
                </a:lnTo>
                <a:cubicBezTo>
                  <a:pt x="400" y="430"/>
                  <a:pt x="415" y="449"/>
                  <a:pt x="451" y="449"/>
                </a:cubicBezTo>
                <a:cubicBezTo>
                  <a:pt x="463" y="449"/>
                  <a:pt x="470" y="448"/>
                  <a:pt x="481" y="443"/>
                </a:cubicBezTo>
                <a:lnTo>
                  <a:pt x="481" y="483"/>
                </a:lnTo>
                <a:close/>
              </a:path>
            </a:pathLst>
          </a:custGeom>
          <a:solidFill>
            <a:srgbClr val="0304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11345" y="1240610"/>
            <a:ext cx="1652822" cy="636380"/>
          </a:xfrm>
          <a:prstGeom prst="rect">
            <a:avLst/>
          </a:prstGeom>
        </p:spPr>
      </p:pic>
    </p:spTree>
    <p:extLst>
      <p:ext uri="{BB962C8B-B14F-4D97-AF65-F5344CB8AC3E}">
        <p14:creationId xmlns:p14="http://schemas.microsoft.com/office/powerpoint/2010/main" val="51287918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87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394583907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97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27389511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2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a:off x="2" y="0"/>
            <a:ext cx="9143999" cy="6858000"/>
          </a:xfrm>
          <a:prstGeom prst="rect">
            <a:avLst/>
          </a:prstGeom>
          <a:solidFill>
            <a:srgbClr val="1F497D">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spTree>
    <p:extLst>
      <p:ext uri="{BB962C8B-B14F-4D97-AF65-F5344CB8AC3E}">
        <p14:creationId xmlns:p14="http://schemas.microsoft.com/office/powerpoint/2010/main" val="34813332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07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31069218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7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10511905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5813" y="4509889"/>
            <a:ext cx="3163634" cy="646331"/>
          </a:xfrm>
          <a:noFill/>
        </p:spPr>
        <p:txBody>
          <a:bodyPr wrap="square" anchor="t" anchorCtr="0">
            <a:spAutoFit/>
          </a:bodyPr>
          <a:lstStyle>
            <a:lvl1pPr>
              <a:defRPr sz="2100">
                <a:solidFill>
                  <a:srgbClr val="002266"/>
                </a:solidFill>
              </a:defRPr>
            </a:lvl1pPr>
          </a:lstStyle>
          <a:p>
            <a:r>
              <a:rPr lang="pt-BR" dirty="0"/>
              <a:t>Click to edit Master title style</a:t>
            </a:r>
          </a:p>
        </p:txBody>
      </p:sp>
      <p:sp>
        <p:nvSpPr>
          <p:cNvPr id="3" name="Subtitle 2"/>
          <p:cNvSpPr>
            <a:spLocks noGrp="1"/>
          </p:cNvSpPr>
          <p:nvPr>
            <p:ph type="subTitle" idx="1"/>
          </p:nvPr>
        </p:nvSpPr>
        <p:spPr>
          <a:xfrm>
            <a:off x="435219" y="5547385"/>
            <a:ext cx="3026996" cy="207749"/>
          </a:xfrm>
        </p:spPr>
        <p:txBody>
          <a:bodyPr/>
          <a:lstStyle>
            <a:lvl1pPr marL="0" indent="0" algn="l">
              <a:buNone/>
              <a:defRPr sz="1350">
                <a:solidFill>
                  <a:srgbClr val="2F539C"/>
                </a:solidFill>
              </a:defRPr>
            </a:lvl1pPr>
            <a:lvl2pPr marL="342883" indent="0" algn="ctr">
              <a:buNone/>
              <a:defRPr>
                <a:solidFill>
                  <a:schemeClr val="tx1">
                    <a:tint val="75000"/>
                  </a:schemeClr>
                </a:solidFill>
              </a:defRPr>
            </a:lvl2pPr>
            <a:lvl3pPr marL="685767" indent="0" algn="ctr">
              <a:buNone/>
              <a:defRPr>
                <a:solidFill>
                  <a:schemeClr val="tx1">
                    <a:tint val="75000"/>
                  </a:schemeClr>
                </a:solidFill>
              </a:defRPr>
            </a:lvl3pPr>
            <a:lvl4pPr marL="1028648"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2" indent="0" algn="ctr">
              <a:buNone/>
              <a:defRPr>
                <a:solidFill>
                  <a:schemeClr val="tx1">
                    <a:tint val="75000"/>
                  </a:schemeClr>
                </a:solidFill>
              </a:defRPr>
            </a:lvl9pPr>
          </a:lstStyle>
          <a:p>
            <a:r>
              <a:rPr lang="pt-BR" dirty="0"/>
              <a:t>Click to edit Master subtitle style</a:t>
            </a:r>
          </a:p>
        </p:txBody>
      </p:sp>
      <p:cxnSp>
        <p:nvCxnSpPr>
          <p:cNvPr id="54" name="Straight Connector 9"/>
          <p:cNvCxnSpPr>
            <a:cxnSpLocks noChangeShapeType="1"/>
          </p:cNvCxnSpPr>
          <p:nvPr userDrawn="1"/>
        </p:nvCxnSpPr>
        <p:spPr bwMode="auto">
          <a:xfrm>
            <a:off x="435221" y="1112935"/>
            <a:ext cx="8708783" cy="0"/>
          </a:xfrm>
          <a:prstGeom prst="line">
            <a:avLst/>
          </a:prstGeom>
          <a:noFill/>
          <a:ln w="12700">
            <a:solidFill>
              <a:schemeClr val="tx1"/>
            </a:solidFill>
            <a:round/>
            <a:headEnd/>
            <a:tailEnd/>
          </a:ln>
        </p:spPr>
      </p:cxnSp>
      <p:grpSp>
        <p:nvGrpSpPr>
          <p:cNvPr id="55" name="Group 54"/>
          <p:cNvGrpSpPr/>
          <p:nvPr userDrawn="1"/>
        </p:nvGrpSpPr>
        <p:grpSpPr>
          <a:xfrm>
            <a:off x="435222" y="366058"/>
            <a:ext cx="2061150" cy="1062376"/>
            <a:chOff x="471488" y="366051"/>
            <a:chExt cx="2232912" cy="1062375"/>
          </a:xfrm>
        </p:grpSpPr>
        <p:sp>
          <p:nvSpPr>
            <p:cNvPr id="56" name="Freeform 14"/>
            <p:cNvSpPr>
              <a:spLocks/>
            </p:cNvSpPr>
            <p:nvPr userDrawn="1"/>
          </p:nvSpPr>
          <p:spPr bwMode="auto">
            <a:xfrm>
              <a:off x="1754457" y="366051"/>
              <a:ext cx="206884" cy="211195"/>
            </a:xfrm>
            <a:custGeom>
              <a:avLst/>
              <a:gdLst/>
              <a:ahLst/>
              <a:cxnLst>
                <a:cxn ang="0">
                  <a:pos x="0" y="0"/>
                </a:cxn>
                <a:cxn ang="0">
                  <a:pos x="0" y="52"/>
                </a:cxn>
                <a:cxn ang="0">
                  <a:pos x="0" y="359"/>
                </a:cxn>
                <a:cxn ang="0">
                  <a:pos x="12" y="364"/>
                </a:cxn>
                <a:cxn ang="0">
                  <a:pos x="44" y="376"/>
                </a:cxn>
                <a:cxn ang="0">
                  <a:pos x="95" y="396"/>
                </a:cxn>
                <a:cxn ang="0">
                  <a:pos x="162" y="421"/>
                </a:cxn>
                <a:cxn ang="0">
                  <a:pos x="241" y="452"/>
                </a:cxn>
                <a:cxn ang="0">
                  <a:pos x="330" y="486"/>
                </a:cxn>
                <a:cxn ang="0">
                  <a:pos x="427" y="524"/>
                </a:cxn>
                <a:cxn ang="0">
                  <a:pos x="529" y="563"/>
                </a:cxn>
                <a:cxn ang="0">
                  <a:pos x="631" y="603"/>
                </a:cxn>
                <a:cxn ang="0">
                  <a:pos x="733" y="642"/>
                </a:cxn>
                <a:cxn ang="0">
                  <a:pos x="832" y="680"/>
                </a:cxn>
                <a:cxn ang="0">
                  <a:pos x="923" y="715"/>
                </a:cxn>
                <a:cxn ang="0">
                  <a:pos x="1005" y="747"/>
                </a:cxn>
                <a:cxn ang="0">
                  <a:pos x="1074" y="773"/>
                </a:cxn>
                <a:cxn ang="0">
                  <a:pos x="1130" y="795"/>
                </a:cxn>
                <a:cxn ang="0">
                  <a:pos x="1167" y="809"/>
                </a:cxn>
                <a:cxn ang="0">
                  <a:pos x="1130" y="824"/>
                </a:cxn>
                <a:cxn ang="0">
                  <a:pos x="1074" y="845"/>
                </a:cxn>
                <a:cxn ang="0">
                  <a:pos x="1005" y="872"/>
                </a:cxn>
                <a:cxn ang="0">
                  <a:pos x="923" y="903"/>
                </a:cxn>
                <a:cxn ang="0">
                  <a:pos x="832" y="939"/>
                </a:cxn>
                <a:cxn ang="0">
                  <a:pos x="733" y="976"/>
                </a:cxn>
                <a:cxn ang="0">
                  <a:pos x="631" y="1016"/>
                </a:cxn>
                <a:cxn ang="0">
                  <a:pos x="529" y="1054"/>
                </a:cxn>
                <a:cxn ang="0">
                  <a:pos x="427" y="1093"/>
                </a:cxn>
                <a:cxn ang="0">
                  <a:pos x="330" y="1131"/>
                </a:cxn>
                <a:cxn ang="0">
                  <a:pos x="241" y="1165"/>
                </a:cxn>
                <a:cxn ang="0">
                  <a:pos x="162" y="1196"/>
                </a:cxn>
                <a:cxn ang="0">
                  <a:pos x="95" y="1221"/>
                </a:cxn>
                <a:cxn ang="0">
                  <a:pos x="44" y="1241"/>
                </a:cxn>
                <a:cxn ang="0">
                  <a:pos x="12" y="1254"/>
                </a:cxn>
                <a:cxn ang="0">
                  <a:pos x="0" y="1258"/>
                </a:cxn>
                <a:cxn ang="0">
                  <a:pos x="0" y="1616"/>
                </a:cxn>
                <a:cxn ang="0">
                  <a:pos x="1587" y="973"/>
                </a:cxn>
                <a:cxn ang="0">
                  <a:pos x="1587" y="644"/>
                </a:cxn>
                <a:cxn ang="0">
                  <a:pos x="0" y="0"/>
                </a:cxn>
              </a:cxnLst>
              <a:rect l="0" t="0" r="r" b="b"/>
              <a:pathLst>
                <a:path w="1587" h="1616">
                  <a:moveTo>
                    <a:pt x="0" y="0"/>
                  </a:moveTo>
                  <a:lnTo>
                    <a:pt x="0" y="52"/>
                  </a:lnTo>
                  <a:lnTo>
                    <a:pt x="0" y="359"/>
                  </a:lnTo>
                  <a:lnTo>
                    <a:pt x="12" y="364"/>
                  </a:lnTo>
                  <a:lnTo>
                    <a:pt x="44" y="376"/>
                  </a:lnTo>
                  <a:lnTo>
                    <a:pt x="95" y="396"/>
                  </a:lnTo>
                  <a:lnTo>
                    <a:pt x="162" y="421"/>
                  </a:lnTo>
                  <a:lnTo>
                    <a:pt x="241" y="452"/>
                  </a:lnTo>
                  <a:lnTo>
                    <a:pt x="330" y="486"/>
                  </a:lnTo>
                  <a:lnTo>
                    <a:pt x="427" y="524"/>
                  </a:lnTo>
                  <a:lnTo>
                    <a:pt x="529" y="563"/>
                  </a:lnTo>
                  <a:lnTo>
                    <a:pt x="631" y="603"/>
                  </a:lnTo>
                  <a:lnTo>
                    <a:pt x="733" y="642"/>
                  </a:lnTo>
                  <a:lnTo>
                    <a:pt x="832" y="680"/>
                  </a:lnTo>
                  <a:lnTo>
                    <a:pt x="923" y="715"/>
                  </a:lnTo>
                  <a:lnTo>
                    <a:pt x="1005" y="747"/>
                  </a:lnTo>
                  <a:lnTo>
                    <a:pt x="1074" y="773"/>
                  </a:lnTo>
                  <a:lnTo>
                    <a:pt x="1130" y="795"/>
                  </a:lnTo>
                  <a:lnTo>
                    <a:pt x="1167" y="809"/>
                  </a:lnTo>
                  <a:lnTo>
                    <a:pt x="1130" y="824"/>
                  </a:lnTo>
                  <a:lnTo>
                    <a:pt x="1074" y="845"/>
                  </a:lnTo>
                  <a:lnTo>
                    <a:pt x="1005" y="872"/>
                  </a:lnTo>
                  <a:lnTo>
                    <a:pt x="923" y="903"/>
                  </a:lnTo>
                  <a:lnTo>
                    <a:pt x="832" y="939"/>
                  </a:lnTo>
                  <a:lnTo>
                    <a:pt x="733" y="976"/>
                  </a:lnTo>
                  <a:lnTo>
                    <a:pt x="631" y="1016"/>
                  </a:lnTo>
                  <a:lnTo>
                    <a:pt x="529" y="1054"/>
                  </a:lnTo>
                  <a:lnTo>
                    <a:pt x="427" y="1093"/>
                  </a:lnTo>
                  <a:lnTo>
                    <a:pt x="330" y="1131"/>
                  </a:lnTo>
                  <a:lnTo>
                    <a:pt x="241" y="1165"/>
                  </a:lnTo>
                  <a:lnTo>
                    <a:pt x="162" y="1196"/>
                  </a:lnTo>
                  <a:lnTo>
                    <a:pt x="95" y="1221"/>
                  </a:lnTo>
                  <a:lnTo>
                    <a:pt x="44" y="1241"/>
                  </a:lnTo>
                  <a:lnTo>
                    <a:pt x="12" y="1254"/>
                  </a:lnTo>
                  <a:lnTo>
                    <a:pt x="0" y="1258"/>
                  </a:lnTo>
                  <a:lnTo>
                    <a:pt x="0" y="1616"/>
                  </a:lnTo>
                  <a:lnTo>
                    <a:pt x="1587" y="973"/>
                  </a:lnTo>
                  <a:lnTo>
                    <a:pt x="1587" y="644"/>
                  </a:lnTo>
                  <a:lnTo>
                    <a:pt x="0" y="0"/>
                  </a:lnTo>
                  <a:close/>
                </a:path>
              </a:pathLst>
            </a:custGeom>
            <a:solidFill>
              <a:srgbClr val="00BBEE"/>
            </a:solid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nvGrpSpPr>
            <p:cNvPr id="57" name="Group 56"/>
            <p:cNvGrpSpPr/>
            <p:nvPr userDrawn="1"/>
          </p:nvGrpSpPr>
          <p:grpSpPr>
            <a:xfrm>
              <a:off x="471488" y="605980"/>
              <a:ext cx="2232912" cy="822446"/>
              <a:chOff x="471488" y="605980"/>
              <a:chExt cx="2232912" cy="822446"/>
            </a:xfrm>
          </p:grpSpPr>
          <p:sp>
            <p:nvSpPr>
              <p:cNvPr id="58" name="Freeform 8"/>
              <p:cNvSpPr>
                <a:spLocks noEditPoints="1"/>
              </p:cNvSpPr>
              <p:nvPr userDrawn="1"/>
            </p:nvSpPr>
            <p:spPr bwMode="auto">
              <a:xfrm>
                <a:off x="483200" y="1226389"/>
                <a:ext cx="2221200" cy="202037"/>
              </a:xfrm>
              <a:custGeom>
                <a:avLst/>
                <a:gdLst/>
                <a:ahLst/>
                <a:cxnLst>
                  <a:cxn ang="0">
                    <a:pos x="13149" y="878"/>
                  </a:cxn>
                  <a:cxn ang="0">
                    <a:pos x="13235" y="367"/>
                  </a:cxn>
                  <a:cxn ang="0">
                    <a:pos x="12964" y="772"/>
                  </a:cxn>
                  <a:cxn ang="0">
                    <a:pos x="13323" y="363"/>
                  </a:cxn>
                  <a:cxn ang="0">
                    <a:pos x="12496" y="598"/>
                  </a:cxn>
                  <a:cxn ang="0">
                    <a:pos x="12646" y="959"/>
                  </a:cxn>
                  <a:cxn ang="0">
                    <a:pos x="12469" y="346"/>
                  </a:cxn>
                  <a:cxn ang="0">
                    <a:pos x="12040" y="947"/>
                  </a:cxn>
                  <a:cxn ang="0">
                    <a:pos x="12139" y="598"/>
                  </a:cxn>
                  <a:cxn ang="0">
                    <a:pos x="11567" y="727"/>
                  </a:cxn>
                  <a:cxn ang="0">
                    <a:pos x="11612" y="935"/>
                  </a:cxn>
                  <a:cxn ang="0">
                    <a:pos x="11573" y="307"/>
                  </a:cxn>
                  <a:cxn ang="0">
                    <a:pos x="11420" y="296"/>
                  </a:cxn>
                  <a:cxn ang="0">
                    <a:pos x="10152" y="380"/>
                  </a:cxn>
                  <a:cxn ang="0">
                    <a:pos x="10243" y="955"/>
                  </a:cxn>
                  <a:cxn ang="0">
                    <a:pos x="9857" y="437"/>
                  </a:cxn>
                  <a:cxn ang="0">
                    <a:pos x="10305" y="453"/>
                  </a:cxn>
                  <a:cxn ang="0">
                    <a:pos x="9631" y="498"/>
                  </a:cxn>
                  <a:cxn ang="0">
                    <a:pos x="9529" y="30"/>
                  </a:cxn>
                  <a:cxn ang="0">
                    <a:pos x="9627" y="860"/>
                  </a:cxn>
                  <a:cxn ang="0">
                    <a:pos x="8359" y="361"/>
                  </a:cxn>
                  <a:cxn ang="0">
                    <a:pos x="8418" y="962"/>
                  </a:cxn>
                  <a:cxn ang="0">
                    <a:pos x="8131" y="389"/>
                  </a:cxn>
                  <a:cxn ang="0">
                    <a:pos x="8564" y="560"/>
                  </a:cxn>
                  <a:cxn ang="0">
                    <a:pos x="7676" y="703"/>
                  </a:cxn>
                  <a:cxn ang="0">
                    <a:pos x="7759" y="943"/>
                  </a:cxn>
                  <a:cxn ang="0">
                    <a:pos x="7683" y="314"/>
                  </a:cxn>
                  <a:cxn ang="0">
                    <a:pos x="7330" y="422"/>
                  </a:cxn>
                  <a:cxn ang="0">
                    <a:pos x="7101" y="379"/>
                  </a:cxn>
                  <a:cxn ang="0">
                    <a:pos x="6529" y="690"/>
                  </a:cxn>
                  <a:cxn ang="0">
                    <a:pos x="6707" y="794"/>
                  </a:cxn>
                  <a:cxn ang="0">
                    <a:pos x="6363" y="801"/>
                  </a:cxn>
                  <a:cxn ang="0">
                    <a:pos x="6673" y="369"/>
                  </a:cxn>
                  <a:cxn ang="0">
                    <a:pos x="6590" y="282"/>
                  </a:cxn>
                  <a:cxn ang="0">
                    <a:pos x="6091" y="378"/>
                  </a:cxn>
                  <a:cxn ang="0">
                    <a:pos x="5748" y="380"/>
                  </a:cxn>
                  <a:cxn ang="0">
                    <a:pos x="5665" y="294"/>
                  </a:cxn>
                  <a:cxn ang="0">
                    <a:pos x="6153" y="294"/>
                  </a:cxn>
                  <a:cxn ang="0">
                    <a:pos x="5307" y="392"/>
                  </a:cxn>
                  <a:cxn ang="0">
                    <a:pos x="4526" y="581"/>
                  </a:cxn>
                  <a:cxn ang="0">
                    <a:pos x="4830" y="751"/>
                  </a:cxn>
                  <a:cxn ang="0">
                    <a:pos x="4502" y="891"/>
                  </a:cxn>
                  <a:cxn ang="0">
                    <a:pos x="4702" y="282"/>
                  </a:cxn>
                  <a:cxn ang="0">
                    <a:pos x="4846" y="911"/>
                  </a:cxn>
                  <a:cxn ang="0">
                    <a:pos x="4109" y="206"/>
                  </a:cxn>
                  <a:cxn ang="0">
                    <a:pos x="3748" y="360"/>
                  </a:cxn>
                  <a:cxn ang="0">
                    <a:pos x="3222" y="369"/>
                  </a:cxn>
                  <a:cxn ang="0">
                    <a:pos x="3209" y="823"/>
                  </a:cxn>
                  <a:cxn ang="0">
                    <a:pos x="3097" y="860"/>
                  </a:cxn>
                  <a:cxn ang="0">
                    <a:pos x="3277" y="281"/>
                  </a:cxn>
                  <a:cxn ang="0">
                    <a:pos x="2577" y="475"/>
                  </a:cxn>
                  <a:cxn ang="0">
                    <a:pos x="2827" y="752"/>
                  </a:cxn>
                  <a:cxn ang="0">
                    <a:pos x="2556" y="840"/>
                  </a:cxn>
                  <a:cxn ang="0">
                    <a:pos x="2934" y="471"/>
                  </a:cxn>
                  <a:cxn ang="0">
                    <a:pos x="1927" y="403"/>
                  </a:cxn>
                  <a:cxn ang="0">
                    <a:pos x="1720" y="364"/>
                  </a:cxn>
                  <a:cxn ang="0">
                    <a:pos x="1117" y="405"/>
                  </a:cxn>
                  <a:cxn ang="0">
                    <a:pos x="1286" y="827"/>
                  </a:cxn>
                  <a:cxn ang="0">
                    <a:pos x="994" y="1115"/>
                  </a:cxn>
                  <a:cxn ang="0">
                    <a:pos x="1262" y="928"/>
                  </a:cxn>
                  <a:cxn ang="0">
                    <a:pos x="1017" y="376"/>
                  </a:cxn>
                  <a:cxn ang="0">
                    <a:pos x="1421" y="1097"/>
                  </a:cxn>
                  <a:cxn ang="0">
                    <a:pos x="604" y="947"/>
                  </a:cxn>
                </a:cxnLst>
                <a:rect l="0" t="0" r="r" b="b"/>
                <a:pathLst>
                  <a:path w="13694" h="1240">
                    <a:moveTo>
                      <a:pt x="13557" y="947"/>
                    </a:moveTo>
                    <a:lnTo>
                      <a:pt x="13557" y="811"/>
                    </a:lnTo>
                    <a:lnTo>
                      <a:pt x="13694" y="811"/>
                    </a:lnTo>
                    <a:lnTo>
                      <a:pt x="13694" y="947"/>
                    </a:lnTo>
                    <a:lnTo>
                      <a:pt x="13557" y="947"/>
                    </a:lnTo>
                    <a:close/>
                    <a:moveTo>
                      <a:pt x="13193" y="359"/>
                    </a:moveTo>
                    <a:lnTo>
                      <a:pt x="13181" y="360"/>
                    </a:lnTo>
                    <a:lnTo>
                      <a:pt x="13170" y="361"/>
                    </a:lnTo>
                    <a:lnTo>
                      <a:pt x="13160" y="365"/>
                    </a:lnTo>
                    <a:lnTo>
                      <a:pt x="13150" y="368"/>
                    </a:lnTo>
                    <a:lnTo>
                      <a:pt x="13142" y="372"/>
                    </a:lnTo>
                    <a:lnTo>
                      <a:pt x="13133" y="378"/>
                    </a:lnTo>
                    <a:lnTo>
                      <a:pt x="13125" y="384"/>
                    </a:lnTo>
                    <a:lnTo>
                      <a:pt x="13118" y="391"/>
                    </a:lnTo>
                    <a:lnTo>
                      <a:pt x="13111" y="399"/>
                    </a:lnTo>
                    <a:lnTo>
                      <a:pt x="13105" y="407"/>
                    </a:lnTo>
                    <a:lnTo>
                      <a:pt x="13098" y="417"/>
                    </a:lnTo>
                    <a:lnTo>
                      <a:pt x="13093" y="426"/>
                    </a:lnTo>
                    <a:lnTo>
                      <a:pt x="13084" y="446"/>
                    </a:lnTo>
                    <a:lnTo>
                      <a:pt x="13076" y="468"/>
                    </a:lnTo>
                    <a:lnTo>
                      <a:pt x="13070" y="492"/>
                    </a:lnTo>
                    <a:lnTo>
                      <a:pt x="13064" y="515"/>
                    </a:lnTo>
                    <a:lnTo>
                      <a:pt x="13061" y="538"/>
                    </a:lnTo>
                    <a:lnTo>
                      <a:pt x="13058" y="562"/>
                    </a:lnTo>
                    <a:lnTo>
                      <a:pt x="13056" y="607"/>
                    </a:lnTo>
                    <a:lnTo>
                      <a:pt x="13055" y="645"/>
                    </a:lnTo>
                    <a:lnTo>
                      <a:pt x="13055" y="662"/>
                    </a:lnTo>
                    <a:lnTo>
                      <a:pt x="13056" y="681"/>
                    </a:lnTo>
                    <a:lnTo>
                      <a:pt x="13057" y="700"/>
                    </a:lnTo>
                    <a:lnTo>
                      <a:pt x="13059" y="721"/>
                    </a:lnTo>
                    <a:lnTo>
                      <a:pt x="13062" y="740"/>
                    </a:lnTo>
                    <a:lnTo>
                      <a:pt x="13066" y="760"/>
                    </a:lnTo>
                    <a:lnTo>
                      <a:pt x="13071" y="779"/>
                    </a:lnTo>
                    <a:lnTo>
                      <a:pt x="13078" y="799"/>
                    </a:lnTo>
                    <a:lnTo>
                      <a:pt x="13085" y="816"/>
                    </a:lnTo>
                    <a:lnTo>
                      <a:pt x="13094" y="833"/>
                    </a:lnTo>
                    <a:lnTo>
                      <a:pt x="13099" y="840"/>
                    </a:lnTo>
                    <a:lnTo>
                      <a:pt x="13106" y="847"/>
                    </a:lnTo>
                    <a:lnTo>
                      <a:pt x="13111" y="853"/>
                    </a:lnTo>
                    <a:lnTo>
                      <a:pt x="13118" y="860"/>
                    </a:lnTo>
                    <a:lnTo>
                      <a:pt x="13125" y="865"/>
                    </a:lnTo>
                    <a:lnTo>
                      <a:pt x="13133" y="870"/>
                    </a:lnTo>
                    <a:lnTo>
                      <a:pt x="13140" y="874"/>
                    </a:lnTo>
                    <a:lnTo>
                      <a:pt x="13149" y="878"/>
                    </a:lnTo>
                    <a:lnTo>
                      <a:pt x="13159" y="880"/>
                    </a:lnTo>
                    <a:lnTo>
                      <a:pt x="13169" y="883"/>
                    </a:lnTo>
                    <a:lnTo>
                      <a:pt x="13178" y="884"/>
                    </a:lnTo>
                    <a:lnTo>
                      <a:pt x="13190" y="885"/>
                    </a:lnTo>
                    <a:lnTo>
                      <a:pt x="13200" y="884"/>
                    </a:lnTo>
                    <a:lnTo>
                      <a:pt x="13211" y="883"/>
                    </a:lnTo>
                    <a:lnTo>
                      <a:pt x="13221" y="880"/>
                    </a:lnTo>
                    <a:lnTo>
                      <a:pt x="13229" y="877"/>
                    </a:lnTo>
                    <a:lnTo>
                      <a:pt x="13239" y="873"/>
                    </a:lnTo>
                    <a:lnTo>
                      <a:pt x="13247" y="869"/>
                    </a:lnTo>
                    <a:lnTo>
                      <a:pt x="13255" y="863"/>
                    </a:lnTo>
                    <a:lnTo>
                      <a:pt x="13263" y="857"/>
                    </a:lnTo>
                    <a:lnTo>
                      <a:pt x="13270" y="850"/>
                    </a:lnTo>
                    <a:lnTo>
                      <a:pt x="13277" y="842"/>
                    </a:lnTo>
                    <a:lnTo>
                      <a:pt x="13284" y="835"/>
                    </a:lnTo>
                    <a:lnTo>
                      <a:pt x="13289" y="826"/>
                    </a:lnTo>
                    <a:lnTo>
                      <a:pt x="13300" y="808"/>
                    </a:lnTo>
                    <a:lnTo>
                      <a:pt x="13310" y="788"/>
                    </a:lnTo>
                    <a:lnTo>
                      <a:pt x="13318" y="768"/>
                    </a:lnTo>
                    <a:lnTo>
                      <a:pt x="13325" y="747"/>
                    </a:lnTo>
                    <a:lnTo>
                      <a:pt x="13331" y="725"/>
                    </a:lnTo>
                    <a:lnTo>
                      <a:pt x="13336" y="703"/>
                    </a:lnTo>
                    <a:lnTo>
                      <a:pt x="13339" y="682"/>
                    </a:lnTo>
                    <a:lnTo>
                      <a:pt x="13341" y="661"/>
                    </a:lnTo>
                    <a:lnTo>
                      <a:pt x="13342" y="643"/>
                    </a:lnTo>
                    <a:lnTo>
                      <a:pt x="13343" y="624"/>
                    </a:lnTo>
                    <a:lnTo>
                      <a:pt x="13342" y="607"/>
                    </a:lnTo>
                    <a:lnTo>
                      <a:pt x="13341" y="587"/>
                    </a:lnTo>
                    <a:lnTo>
                      <a:pt x="13340" y="566"/>
                    </a:lnTo>
                    <a:lnTo>
                      <a:pt x="13337" y="545"/>
                    </a:lnTo>
                    <a:lnTo>
                      <a:pt x="13333" y="522"/>
                    </a:lnTo>
                    <a:lnTo>
                      <a:pt x="13328" y="500"/>
                    </a:lnTo>
                    <a:lnTo>
                      <a:pt x="13322" y="479"/>
                    </a:lnTo>
                    <a:lnTo>
                      <a:pt x="13314" y="458"/>
                    </a:lnTo>
                    <a:lnTo>
                      <a:pt x="13305" y="437"/>
                    </a:lnTo>
                    <a:lnTo>
                      <a:pt x="13295" y="419"/>
                    </a:lnTo>
                    <a:lnTo>
                      <a:pt x="13288" y="410"/>
                    </a:lnTo>
                    <a:lnTo>
                      <a:pt x="13283" y="403"/>
                    </a:lnTo>
                    <a:lnTo>
                      <a:pt x="13275" y="395"/>
                    </a:lnTo>
                    <a:lnTo>
                      <a:pt x="13268" y="388"/>
                    </a:lnTo>
                    <a:lnTo>
                      <a:pt x="13261" y="382"/>
                    </a:lnTo>
                    <a:lnTo>
                      <a:pt x="13252" y="376"/>
                    </a:lnTo>
                    <a:lnTo>
                      <a:pt x="13244" y="371"/>
                    </a:lnTo>
                    <a:lnTo>
                      <a:pt x="13235" y="367"/>
                    </a:lnTo>
                    <a:lnTo>
                      <a:pt x="13225" y="364"/>
                    </a:lnTo>
                    <a:lnTo>
                      <a:pt x="13214" y="361"/>
                    </a:lnTo>
                    <a:lnTo>
                      <a:pt x="13203" y="360"/>
                    </a:lnTo>
                    <a:lnTo>
                      <a:pt x="13193" y="359"/>
                    </a:lnTo>
                    <a:close/>
                    <a:moveTo>
                      <a:pt x="13344" y="947"/>
                    </a:moveTo>
                    <a:lnTo>
                      <a:pt x="13344" y="836"/>
                    </a:lnTo>
                    <a:lnTo>
                      <a:pt x="13341" y="836"/>
                    </a:lnTo>
                    <a:lnTo>
                      <a:pt x="13337" y="850"/>
                    </a:lnTo>
                    <a:lnTo>
                      <a:pt x="13331" y="863"/>
                    </a:lnTo>
                    <a:lnTo>
                      <a:pt x="13324" y="876"/>
                    </a:lnTo>
                    <a:lnTo>
                      <a:pt x="13316" y="888"/>
                    </a:lnTo>
                    <a:lnTo>
                      <a:pt x="13308" y="899"/>
                    </a:lnTo>
                    <a:lnTo>
                      <a:pt x="13299" y="910"/>
                    </a:lnTo>
                    <a:lnTo>
                      <a:pt x="13288" y="918"/>
                    </a:lnTo>
                    <a:lnTo>
                      <a:pt x="13277" y="927"/>
                    </a:lnTo>
                    <a:lnTo>
                      <a:pt x="13266" y="936"/>
                    </a:lnTo>
                    <a:lnTo>
                      <a:pt x="13254" y="942"/>
                    </a:lnTo>
                    <a:lnTo>
                      <a:pt x="13241" y="948"/>
                    </a:lnTo>
                    <a:lnTo>
                      <a:pt x="13228" y="953"/>
                    </a:lnTo>
                    <a:lnTo>
                      <a:pt x="13214" y="958"/>
                    </a:lnTo>
                    <a:lnTo>
                      <a:pt x="13200" y="960"/>
                    </a:lnTo>
                    <a:lnTo>
                      <a:pt x="13186" y="962"/>
                    </a:lnTo>
                    <a:lnTo>
                      <a:pt x="13172" y="962"/>
                    </a:lnTo>
                    <a:lnTo>
                      <a:pt x="13155" y="962"/>
                    </a:lnTo>
                    <a:lnTo>
                      <a:pt x="13138" y="960"/>
                    </a:lnTo>
                    <a:lnTo>
                      <a:pt x="13123" y="958"/>
                    </a:lnTo>
                    <a:lnTo>
                      <a:pt x="13109" y="954"/>
                    </a:lnTo>
                    <a:lnTo>
                      <a:pt x="13095" y="950"/>
                    </a:lnTo>
                    <a:lnTo>
                      <a:pt x="13082" y="945"/>
                    </a:lnTo>
                    <a:lnTo>
                      <a:pt x="13070" y="938"/>
                    </a:lnTo>
                    <a:lnTo>
                      <a:pt x="13058" y="931"/>
                    </a:lnTo>
                    <a:lnTo>
                      <a:pt x="13047" y="924"/>
                    </a:lnTo>
                    <a:lnTo>
                      <a:pt x="13037" y="915"/>
                    </a:lnTo>
                    <a:lnTo>
                      <a:pt x="13028" y="907"/>
                    </a:lnTo>
                    <a:lnTo>
                      <a:pt x="13019" y="897"/>
                    </a:lnTo>
                    <a:lnTo>
                      <a:pt x="13011" y="886"/>
                    </a:lnTo>
                    <a:lnTo>
                      <a:pt x="13004" y="875"/>
                    </a:lnTo>
                    <a:lnTo>
                      <a:pt x="12996" y="863"/>
                    </a:lnTo>
                    <a:lnTo>
                      <a:pt x="12991" y="851"/>
                    </a:lnTo>
                    <a:lnTo>
                      <a:pt x="12984" y="839"/>
                    </a:lnTo>
                    <a:lnTo>
                      <a:pt x="12979" y="826"/>
                    </a:lnTo>
                    <a:lnTo>
                      <a:pt x="12974" y="813"/>
                    </a:lnTo>
                    <a:lnTo>
                      <a:pt x="12970" y="800"/>
                    </a:lnTo>
                    <a:lnTo>
                      <a:pt x="12964" y="772"/>
                    </a:lnTo>
                    <a:lnTo>
                      <a:pt x="12958" y="744"/>
                    </a:lnTo>
                    <a:lnTo>
                      <a:pt x="12954" y="714"/>
                    </a:lnTo>
                    <a:lnTo>
                      <a:pt x="12951" y="685"/>
                    </a:lnTo>
                    <a:lnTo>
                      <a:pt x="12949" y="656"/>
                    </a:lnTo>
                    <a:lnTo>
                      <a:pt x="12949" y="627"/>
                    </a:lnTo>
                    <a:lnTo>
                      <a:pt x="12949" y="600"/>
                    </a:lnTo>
                    <a:lnTo>
                      <a:pt x="12952" y="572"/>
                    </a:lnTo>
                    <a:lnTo>
                      <a:pt x="12954" y="543"/>
                    </a:lnTo>
                    <a:lnTo>
                      <a:pt x="12959" y="513"/>
                    </a:lnTo>
                    <a:lnTo>
                      <a:pt x="12965" y="484"/>
                    </a:lnTo>
                    <a:lnTo>
                      <a:pt x="12972" y="456"/>
                    </a:lnTo>
                    <a:lnTo>
                      <a:pt x="12977" y="442"/>
                    </a:lnTo>
                    <a:lnTo>
                      <a:pt x="12982" y="428"/>
                    </a:lnTo>
                    <a:lnTo>
                      <a:pt x="12987" y="415"/>
                    </a:lnTo>
                    <a:lnTo>
                      <a:pt x="12993" y="402"/>
                    </a:lnTo>
                    <a:lnTo>
                      <a:pt x="12999" y="389"/>
                    </a:lnTo>
                    <a:lnTo>
                      <a:pt x="13007" y="377"/>
                    </a:lnTo>
                    <a:lnTo>
                      <a:pt x="13015" y="365"/>
                    </a:lnTo>
                    <a:lnTo>
                      <a:pt x="13022" y="354"/>
                    </a:lnTo>
                    <a:lnTo>
                      <a:pt x="13031" y="343"/>
                    </a:lnTo>
                    <a:lnTo>
                      <a:pt x="13041" y="333"/>
                    </a:lnTo>
                    <a:lnTo>
                      <a:pt x="13050" y="323"/>
                    </a:lnTo>
                    <a:lnTo>
                      <a:pt x="13061" y="316"/>
                    </a:lnTo>
                    <a:lnTo>
                      <a:pt x="13072" y="308"/>
                    </a:lnTo>
                    <a:lnTo>
                      <a:pt x="13084" y="301"/>
                    </a:lnTo>
                    <a:lnTo>
                      <a:pt x="13097" y="295"/>
                    </a:lnTo>
                    <a:lnTo>
                      <a:pt x="13110" y="290"/>
                    </a:lnTo>
                    <a:lnTo>
                      <a:pt x="13124" y="287"/>
                    </a:lnTo>
                    <a:lnTo>
                      <a:pt x="13138" y="283"/>
                    </a:lnTo>
                    <a:lnTo>
                      <a:pt x="13155" y="282"/>
                    </a:lnTo>
                    <a:lnTo>
                      <a:pt x="13171" y="281"/>
                    </a:lnTo>
                    <a:lnTo>
                      <a:pt x="13186" y="282"/>
                    </a:lnTo>
                    <a:lnTo>
                      <a:pt x="13201" y="283"/>
                    </a:lnTo>
                    <a:lnTo>
                      <a:pt x="13215" y="285"/>
                    </a:lnTo>
                    <a:lnTo>
                      <a:pt x="13229" y="289"/>
                    </a:lnTo>
                    <a:lnTo>
                      <a:pt x="13242" y="293"/>
                    </a:lnTo>
                    <a:lnTo>
                      <a:pt x="13254" y="298"/>
                    </a:lnTo>
                    <a:lnTo>
                      <a:pt x="13266" y="305"/>
                    </a:lnTo>
                    <a:lnTo>
                      <a:pt x="13277" y="313"/>
                    </a:lnTo>
                    <a:lnTo>
                      <a:pt x="13288" y="320"/>
                    </a:lnTo>
                    <a:lnTo>
                      <a:pt x="13298" y="330"/>
                    </a:lnTo>
                    <a:lnTo>
                      <a:pt x="13306" y="340"/>
                    </a:lnTo>
                    <a:lnTo>
                      <a:pt x="13315" y="351"/>
                    </a:lnTo>
                    <a:lnTo>
                      <a:pt x="13323" y="363"/>
                    </a:lnTo>
                    <a:lnTo>
                      <a:pt x="13329" y="376"/>
                    </a:lnTo>
                    <a:lnTo>
                      <a:pt x="13336" y="389"/>
                    </a:lnTo>
                    <a:lnTo>
                      <a:pt x="13341" y="403"/>
                    </a:lnTo>
                    <a:lnTo>
                      <a:pt x="13344" y="403"/>
                    </a:lnTo>
                    <a:lnTo>
                      <a:pt x="13344" y="4"/>
                    </a:lnTo>
                    <a:lnTo>
                      <a:pt x="13437" y="4"/>
                    </a:lnTo>
                    <a:lnTo>
                      <a:pt x="13437" y="947"/>
                    </a:lnTo>
                    <a:lnTo>
                      <a:pt x="13344" y="947"/>
                    </a:lnTo>
                    <a:close/>
                    <a:moveTo>
                      <a:pt x="12639" y="359"/>
                    </a:moveTo>
                    <a:lnTo>
                      <a:pt x="12625" y="360"/>
                    </a:lnTo>
                    <a:lnTo>
                      <a:pt x="12612" y="361"/>
                    </a:lnTo>
                    <a:lnTo>
                      <a:pt x="12599" y="365"/>
                    </a:lnTo>
                    <a:lnTo>
                      <a:pt x="12587" y="369"/>
                    </a:lnTo>
                    <a:lnTo>
                      <a:pt x="12576" y="373"/>
                    </a:lnTo>
                    <a:lnTo>
                      <a:pt x="12565" y="380"/>
                    </a:lnTo>
                    <a:lnTo>
                      <a:pt x="12557" y="386"/>
                    </a:lnTo>
                    <a:lnTo>
                      <a:pt x="12547" y="394"/>
                    </a:lnTo>
                    <a:lnTo>
                      <a:pt x="12539" y="403"/>
                    </a:lnTo>
                    <a:lnTo>
                      <a:pt x="12532" y="412"/>
                    </a:lnTo>
                    <a:lnTo>
                      <a:pt x="12525" y="422"/>
                    </a:lnTo>
                    <a:lnTo>
                      <a:pt x="12519" y="433"/>
                    </a:lnTo>
                    <a:lnTo>
                      <a:pt x="12513" y="445"/>
                    </a:lnTo>
                    <a:lnTo>
                      <a:pt x="12509" y="457"/>
                    </a:lnTo>
                    <a:lnTo>
                      <a:pt x="12506" y="469"/>
                    </a:lnTo>
                    <a:lnTo>
                      <a:pt x="12502" y="482"/>
                    </a:lnTo>
                    <a:lnTo>
                      <a:pt x="12764" y="482"/>
                    </a:lnTo>
                    <a:lnTo>
                      <a:pt x="12763" y="469"/>
                    </a:lnTo>
                    <a:lnTo>
                      <a:pt x="12761" y="457"/>
                    </a:lnTo>
                    <a:lnTo>
                      <a:pt x="12759" y="445"/>
                    </a:lnTo>
                    <a:lnTo>
                      <a:pt x="12754" y="433"/>
                    </a:lnTo>
                    <a:lnTo>
                      <a:pt x="12749" y="422"/>
                    </a:lnTo>
                    <a:lnTo>
                      <a:pt x="12743" y="412"/>
                    </a:lnTo>
                    <a:lnTo>
                      <a:pt x="12736" y="403"/>
                    </a:lnTo>
                    <a:lnTo>
                      <a:pt x="12728" y="394"/>
                    </a:lnTo>
                    <a:lnTo>
                      <a:pt x="12719" y="386"/>
                    </a:lnTo>
                    <a:lnTo>
                      <a:pt x="12710" y="380"/>
                    </a:lnTo>
                    <a:lnTo>
                      <a:pt x="12700" y="373"/>
                    </a:lnTo>
                    <a:lnTo>
                      <a:pt x="12688" y="369"/>
                    </a:lnTo>
                    <a:lnTo>
                      <a:pt x="12677" y="365"/>
                    </a:lnTo>
                    <a:lnTo>
                      <a:pt x="12665" y="361"/>
                    </a:lnTo>
                    <a:lnTo>
                      <a:pt x="12652" y="360"/>
                    </a:lnTo>
                    <a:lnTo>
                      <a:pt x="12639" y="359"/>
                    </a:lnTo>
                    <a:close/>
                    <a:moveTo>
                      <a:pt x="12496" y="560"/>
                    </a:moveTo>
                    <a:lnTo>
                      <a:pt x="12496" y="598"/>
                    </a:lnTo>
                    <a:lnTo>
                      <a:pt x="12496" y="625"/>
                    </a:lnTo>
                    <a:lnTo>
                      <a:pt x="12499" y="651"/>
                    </a:lnTo>
                    <a:lnTo>
                      <a:pt x="12504" y="677"/>
                    </a:lnTo>
                    <a:lnTo>
                      <a:pt x="12509" y="703"/>
                    </a:lnTo>
                    <a:lnTo>
                      <a:pt x="12517" y="727"/>
                    </a:lnTo>
                    <a:lnTo>
                      <a:pt x="12526" y="751"/>
                    </a:lnTo>
                    <a:lnTo>
                      <a:pt x="12532" y="763"/>
                    </a:lnTo>
                    <a:lnTo>
                      <a:pt x="12538" y="774"/>
                    </a:lnTo>
                    <a:lnTo>
                      <a:pt x="12545" y="785"/>
                    </a:lnTo>
                    <a:lnTo>
                      <a:pt x="12551" y="795"/>
                    </a:lnTo>
                    <a:lnTo>
                      <a:pt x="12559" y="804"/>
                    </a:lnTo>
                    <a:lnTo>
                      <a:pt x="12566" y="814"/>
                    </a:lnTo>
                    <a:lnTo>
                      <a:pt x="12574" y="823"/>
                    </a:lnTo>
                    <a:lnTo>
                      <a:pt x="12583" y="832"/>
                    </a:lnTo>
                    <a:lnTo>
                      <a:pt x="12592" y="839"/>
                    </a:lnTo>
                    <a:lnTo>
                      <a:pt x="12602" y="847"/>
                    </a:lnTo>
                    <a:lnTo>
                      <a:pt x="12612" y="853"/>
                    </a:lnTo>
                    <a:lnTo>
                      <a:pt x="12623" y="860"/>
                    </a:lnTo>
                    <a:lnTo>
                      <a:pt x="12634" y="865"/>
                    </a:lnTo>
                    <a:lnTo>
                      <a:pt x="12646" y="871"/>
                    </a:lnTo>
                    <a:lnTo>
                      <a:pt x="12658" y="874"/>
                    </a:lnTo>
                    <a:lnTo>
                      <a:pt x="12671" y="878"/>
                    </a:lnTo>
                    <a:lnTo>
                      <a:pt x="12684" y="880"/>
                    </a:lnTo>
                    <a:lnTo>
                      <a:pt x="12698" y="883"/>
                    </a:lnTo>
                    <a:lnTo>
                      <a:pt x="12712" y="884"/>
                    </a:lnTo>
                    <a:lnTo>
                      <a:pt x="12727" y="885"/>
                    </a:lnTo>
                    <a:lnTo>
                      <a:pt x="12743" y="884"/>
                    </a:lnTo>
                    <a:lnTo>
                      <a:pt x="12760" y="883"/>
                    </a:lnTo>
                    <a:lnTo>
                      <a:pt x="12776" y="882"/>
                    </a:lnTo>
                    <a:lnTo>
                      <a:pt x="12791" y="879"/>
                    </a:lnTo>
                    <a:lnTo>
                      <a:pt x="12823" y="874"/>
                    </a:lnTo>
                    <a:lnTo>
                      <a:pt x="12855" y="866"/>
                    </a:lnTo>
                    <a:lnTo>
                      <a:pt x="12855" y="943"/>
                    </a:lnTo>
                    <a:lnTo>
                      <a:pt x="12837" y="948"/>
                    </a:lnTo>
                    <a:lnTo>
                      <a:pt x="12818" y="952"/>
                    </a:lnTo>
                    <a:lnTo>
                      <a:pt x="12800" y="955"/>
                    </a:lnTo>
                    <a:lnTo>
                      <a:pt x="12781" y="959"/>
                    </a:lnTo>
                    <a:lnTo>
                      <a:pt x="12763" y="960"/>
                    </a:lnTo>
                    <a:lnTo>
                      <a:pt x="12744" y="962"/>
                    </a:lnTo>
                    <a:lnTo>
                      <a:pt x="12725" y="962"/>
                    </a:lnTo>
                    <a:lnTo>
                      <a:pt x="12706" y="962"/>
                    </a:lnTo>
                    <a:lnTo>
                      <a:pt x="12686" y="962"/>
                    </a:lnTo>
                    <a:lnTo>
                      <a:pt x="12665" y="961"/>
                    </a:lnTo>
                    <a:lnTo>
                      <a:pt x="12646" y="959"/>
                    </a:lnTo>
                    <a:lnTo>
                      <a:pt x="12627" y="955"/>
                    </a:lnTo>
                    <a:lnTo>
                      <a:pt x="12610" y="951"/>
                    </a:lnTo>
                    <a:lnTo>
                      <a:pt x="12592" y="947"/>
                    </a:lnTo>
                    <a:lnTo>
                      <a:pt x="12577" y="941"/>
                    </a:lnTo>
                    <a:lnTo>
                      <a:pt x="12561" y="935"/>
                    </a:lnTo>
                    <a:lnTo>
                      <a:pt x="12547" y="928"/>
                    </a:lnTo>
                    <a:lnTo>
                      <a:pt x="12533" y="921"/>
                    </a:lnTo>
                    <a:lnTo>
                      <a:pt x="12519" y="912"/>
                    </a:lnTo>
                    <a:lnTo>
                      <a:pt x="12507" y="903"/>
                    </a:lnTo>
                    <a:lnTo>
                      <a:pt x="12495" y="893"/>
                    </a:lnTo>
                    <a:lnTo>
                      <a:pt x="12483" y="883"/>
                    </a:lnTo>
                    <a:lnTo>
                      <a:pt x="12473" y="872"/>
                    </a:lnTo>
                    <a:lnTo>
                      <a:pt x="12463" y="860"/>
                    </a:lnTo>
                    <a:lnTo>
                      <a:pt x="12454" y="848"/>
                    </a:lnTo>
                    <a:lnTo>
                      <a:pt x="12445" y="835"/>
                    </a:lnTo>
                    <a:lnTo>
                      <a:pt x="12437" y="821"/>
                    </a:lnTo>
                    <a:lnTo>
                      <a:pt x="12430" y="807"/>
                    </a:lnTo>
                    <a:lnTo>
                      <a:pt x="12423" y="793"/>
                    </a:lnTo>
                    <a:lnTo>
                      <a:pt x="12417" y="777"/>
                    </a:lnTo>
                    <a:lnTo>
                      <a:pt x="12411" y="762"/>
                    </a:lnTo>
                    <a:lnTo>
                      <a:pt x="12407" y="746"/>
                    </a:lnTo>
                    <a:lnTo>
                      <a:pt x="12403" y="728"/>
                    </a:lnTo>
                    <a:lnTo>
                      <a:pt x="12399" y="711"/>
                    </a:lnTo>
                    <a:lnTo>
                      <a:pt x="12396" y="694"/>
                    </a:lnTo>
                    <a:lnTo>
                      <a:pt x="12393" y="676"/>
                    </a:lnTo>
                    <a:lnTo>
                      <a:pt x="12392" y="658"/>
                    </a:lnTo>
                    <a:lnTo>
                      <a:pt x="12390" y="638"/>
                    </a:lnTo>
                    <a:lnTo>
                      <a:pt x="12390" y="620"/>
                    </a:lnTo>
                    <a:lnTo>
                      <a:pt x="12389" y="600"/>
                    </a:lnTo>
                    <a:lnTo>
                      <a:pt x="12390" y="569"/>
                    </a:lnTo>
                    <a:lnTo>
                      <a:pt x="12392" y="537"/>
                    </a:lnTo>
                    <a:lnTo>
                      <a:pt x="12396" y="508"/>
                    </a:lnTo>
                    <a:lnTo>
                      <a:pt x="12402" y="479"/>
                    </a:lnTo>
                    <a:lnTo>
                      <a:pt x="12405" y="465"/>
                    </a:lnTo>
                    <a:lnTo>
                      <a:pt x="12409" y="450"/>
                    </a:lnTo>
                    <a:lnTo>
                      <a:pt x="12413" y="437"/>
                    </a:lnTo>
                    <a:lnTo>
                      <a:pt x="12419" y="424"/>
                    </a:lnTo>
                    <a:lnTo>
                      <a:pt x="12424" y="412"/>
                    </a:lnTo>
                    <a:lnTo>
                      <a:pt x="12431" y="399"/>
                    </a:lnTo>
                    <a:lnTo>
                      <a:pt x="12437" y="389"/>
                    </a:lnTo>
                    <a:lnTo>
                      <a:pt x="12444" y="377"/>
                    </a:lnTo>
                    <a:lnTo>
                      <a:pt x="12453" y="366"/>
                    </a:lnTo>
                    <a:lnTo>
                      <a:pt x="12460" y="356"/>
                    </a:lnTo>
                    <a:lnTo>
                      <a:pt x="12469" y="346"/>
                    </a:lnTo>
                    <a:lnTo>
                      <a:pt x="12479" y="338"/>
                    </a:lnTo>
                    <a:lnTo>
                      <a:pt x="12488" y="329"/>
                    </a:lnTo>
                    <a:lnTo>
                      <a:pt x="12499" y="321"/>
                    </a:lnTo>
                    <a:lnTo>
                      <a:pt x="12511" y="314"/>
                    </a:lnTo>
                    <a:lnTo>
                      <a:pt x="12523" y="307"/>
                    </a:lnTo>
                    <a:lnTo>
                      <a:pt x="12535" y="302"/>
                    </a:lnTo>
                    <a:lnTo>
                      <a:pt x="12549" y="296"/>
                    </a:lnTo>
                    <a:lnTo>
                      <a:pt x="12562" y="292"/>
                    </a:lnTo>
                    <a:lnTo>
                      <a:pt x="12577" y="288"/>
                    </a:lnTo>
                    <a:lnTo>
                      <a:pt x="12592" y="285"/>
                    </a:lnTo>
                    <a:lnTo>
                      <a:pt x="12609" y="283"/>
                    </a:lnTo>
                    <a:lnTo>
                      <a:pt x="12626" y="282"/>
                    </a:lnTo>
                    <a:lnTo>
                      <a:pt x="12643" y="281"/>
                    </a:lnTo>
                    <a:lnTo>
                      <a:pt x="12658" y="281"/>
                    </a:lnTo>
                    <a:lnTo>
                      <a:pt x="12671" y="282"/>
                    </a:lnTo>
                    <a:lnTo>
                      <a:pt x="12684" y="284"/>
                    </a:lnTo>
                    <a:lnTo>
                      <a:pt x="12697" y="285"/>
                    </a:lnTo>
                    <a:lnTo>
                      <a:pt x="12709" y="289"/>
                    </a:lnTo>
                    <a:lnTo>
                      <a:pt x="12721" y="292"/>
                    </a:lnTo>
                    <a:lnTo>
                      <a:pt x="12731" y="295"/>
                    </a:lnTo>
                    <a:lnTo>
                      <a:pt x="12742" y="300"/>
                    </a:lnTo>
                    <a:lnTo>
                      <a:pt x="12753" y="305"/>
                    </a:lnTo>
                    <a:lnTo>
                      <a:pt x="12763" y="309"/>
                    </a:lnTo>
                    <a:lnTo>
                      <a:pt x="12773" y="316"/>
                    </a:lnTo>
                    <a:lnTo>
                      <a:pt x="12781" y="321"/>
                    </a:lnTo>
                    <a:lnTo>
                      <a:pt x="12790" y="329"/>
                    </a:lnTo>
                    <a:lnTo>
                      <a:pt x="12799" y="335"/>
                    </a:lnTo>
                    <a:lnTo>
                      <a:pt x="12806" y="343"/>
                    </a:lnTo>
                    <a:lnTo>
                      <a:pt x="12814" y="352"/>
                    </a:lnTo>
                    <a:lnTo>
                      <a:pt x="12820" y="359"/>
                    </a:lnTo>
                    <a:lnTo>
                      <a:pt x="12827" y="368"/>
                    </a:lnTo>
                    <a:lnTo>
                      <a:pt x="12832" y="378"/>
                    </a:lnTo>
                    <a:lnTo>
                      <a:pt x="12838" y="388"/>
                    </a:lnTo>
                    <a:lnTo>
                      <a:pt x="12847" y="408"/>
                    </a:lnTo>
                    <a:lnTo>
                      <a:pt x="12856" y="430"/>
                    </a:lnTo>
                    <a:lnTo>
                      <a:pt x="12862" y="453"/>
                    </a:lnTo>
                    <a:lnTo>
                      <a:pt x="12866" y="477"/>
                    </a:lnTo>
                    <a:lnTo>
                      <a:pt x="12869" y="503"/>
                    </a:lnTo>
                    <a:lnTo>
                      <a:pt x="12870" y="529"/>
                    </a:lnTo>
                    <a:lnTo>
                      <a:pt x="12870" y="560"/>
                    </a:lnTo>
                    <a:lnTo>
                      <a:pt x="12496" y="560"/>
                    </a:lnTo>
                    <a:close/>
                    <a:moveTo>
                      <a:pt x="12132" y="677"/>
                    </a:moveTo>
                    <a:lnTo>
                      <a:pt x="12132" y="947"/>
                    </a:lnTo>
                    <a:lnTo>
                      <a:pt x="12040" y="947"/>
                    </a:lnTo>
                    <a:lnTo>
                      <a:pt x="12040" y="296"/>
                    </a:lnTo>
                    <a:lnTo>
                      <a:pt x="12132" y="296"/>
                    </a:lnTo>
                    <a:lnTo>
                      <a:pt x="12132" y="422"/>
                    </a:lnTo>
                    <a:lnTo>
                      <a:pt x="12136" y="422"/>
                    </a:lnTo>
                    <a:lnTo>
                      <a:pt x="12143" y="405"/>
                    </a:lnTo>
                    <a:lnTo>
                      <a:pt x="12152" y="389"/>
                    </a:lnTo>
                    <a:lnTo>
                      <a:pt x="12162" y="374"/>
                    </a:lnTo>
                    <a:lnTo>
                      <a:pt x="12171" y="360"/>
                    </a:lnTo>
                    <a:lnTo>
                      <a:pt x="12183" y="347"/>
                    </a:lnTo>
                    <a:lnTo>
                      <a:pt x="12194" y="336"/>
                    </a:lnTo>
                    <a:lnTo>
                      <a:pt x="12207" y="326"/>
                    </a:lnTo>
                    <a:lnTo>
                      <a:pt x="12220" y="316"/>
                    </a:lnTo>
                    <a:lnTo>
                      <a:pt x="12234" y="308"/>
                    </a:lnTo>
                    <a:lnTo>
                      <a:pt x="12249" y="301"/>
                    </a:lnTo>
                    <a:lnTo>
                      <a:pt x="12265" y="295"/>
                    </a:lnTo>
                    <a:lnTo>
                      <a:pt x="12281" y="290"/>
                    </a:lnTo>
                    <a:lnTo>
                      <a:pt x="12297" y="287"/>
                    </a:lnTo>
                    <a:lnTo>
                      <a:pt x="12315" y="283"/>
                    </a:lnTo>
                    <a:lnTo>
                      <a:pt x="12333" y="282"/>
                    </a:lnTo>
                    <a:lnTo>
                      <a:pt x="12353" y="281"/>
                    </a:lnTo>
                    <a:lnTo>
                      <a:pt x="12353" y="381"/>
                    </a:lnTo>
                    <a:lnTo>
                      <a:pt x="12338" y="382"/>
                    </a:lnTo>
                    <a:lnTo>
                      <a:pt x="12322" y="383"/>
                    </a:lnTo>
                    <a:lnTo>
                      <a:pt x="12308" y="385"/>
                    </a:lnTo>
                    <a:lnTo>
                      <a:pt x="12295" y="389"/>
                    </a:lnTo>
                    <a:lnTo>
                      <a:pt x="12282" y="392"/>
                    </a:lnTo>
                    <a:lnTo>
                      <a:pt x="12270" y="396"/>
                    </a:lnTo>
                    <a:lnTo>
                      <a:pt x="12258" y="402"/>
                    </a:lnTo>
                    <a:lnTo>
                      <a:pt x="12247" y="407"/>
                    </a:lnTo>
                    <a:lnTo>
                      <a:pt x="12237" y="415"/>
                    </a:lnTo>
                    <a:lnTo>
                      <a:pt x="12227" y="421"/>
                    </a:lnTo>
                    <a:lnTo>
                      <a:pt x="12218" y="429"/>
                    </a:lnTo>
                    <a:lnTo>
                      <a:pt x="12209" y="437"/>
                    </a:lnTo>
                    <a:lnTo>
                      <a:pt x="12201" y="446"/>
                    </a:lnTo>
                    <a:lnTo>
                      <a:pt x="12193" y="456"/>
                    </a:lnTo>
                    <a:lnTo>
                      <a:pt x="12187" y="466"/>
                    </a:lnTo>
                    <a:lnTo>
                      <a:pt x="12179" y="477"/>
                    </a:lnTo>
                    <a:lnTo>
                      <a:pt x="12174" y="487"/>
                    </a:lnTo>
                    <a:lnTo>
                      <a:pt x="12168" y="498"/>
                    </a:lnTo>
                    <a:lnTo>
                      <a:pt x="12163" y="510"/>
                    </a:lnTo>
                    <a:lnTo>
                      <a:pt x="12157" y="521"/>
                    </a:lnTo>
                    <a:lnTo>
                      <a:pt x="12150" y="546"/>
                    </a:lnTo>
                    <a:lnTo>
                      <a:pt x="12143" y="571"/>
                    </a:lnTo>
                    <a:lnTo>
                      <a:pt x="12139" y="598"/>
                    </a:lnTo>
                    <a:lnTo>
                      <a:pt x="12136" y="624"/>
                    </a:lnTo>
                    <a:lnTo>
                      <a:pt x="12134" y="651"/>
                    </a:lnTo>
                    <a:lnTo>
                      <a:pt x="12132" y="677"/>
                    </a:lnTo>
                    <a:close/>
                    <a:moveTo>
                      <a:pt x="11690" y="359"/>
                    </a:moveTo>
                    <a:lnTo>
                      <a:pt x="11676" y="360"/>
                    </a:lnTo>
                    <a:lnTo>
                      <a:pt x="11663" y="361"/>
                    </a:lnTo>
                    <a:lnTo>
                      <a:pt x="11650" y="365"/>
                    </a:lnTo>
                    <a:lnTo>
                      <a:pt x="11638" y="369"/>
                    </a:lnTo>
                    <a:lnTo>
                      <a:pt x="11627" y="373"/>
                    </a:lnTo>
                    <a:lnTo>
                      <a:pt x="11616" y="380"/>
                    </a:lnTo>
                    <a:lnTo>
                      <a:pt x="11606" y="386"/>
                    </a:lnTo>
                    <a:lnTo>
                      <a:pt x="11597" y="394"/>
                    </a:lnTo>
                    <a:lnTo>
                      <a:pt x="11589" y="403"/>
                    </a:lnTo>
                    <a:lnTo>
                      <a:pt x="11582" y="412"/>
                    </a:lnTo>
                    <a:lnTo>
                      <a:pt x="11575" y="422"/>
                    </a:lnTo>
                    <a:lnTo>
                      <a:pt x="11569" y="433"/>
                    </a:lnTo>
                    <a:lnTo>
                      <a:pt x="11564" y="445"/>
                    </a:lnTo>
                    <a:lnTo>
                      <a:pt x="11560" y="457"/>
                    </a:lnTo>
                    <a:lnTo>
                      <a:pt x="11555" y="469"/>
                    </a:lnTo>
                    <a:lnTo>
                      <a:pt x="11553" y="482"/>
                    </a:lnTo>
                    <a:lnTo>
                      <a:pt x="11813" y="482"/>
                    </a:lnTo>
                    <a:lnTo>
                      <a:pt x="11813" y="469"/>
                    </a:lnTo>
                    <a:lnTo>
                      <a:pt x="11811" y="457"/>
                    </a:lnTo>
                    <a:lnTo>
                      <a:pt x="11808" y="445"/>
                    </a:lnTo>
                    <a:lnTo>
                      <a:pt x="11805" y="433"/>
                    </a:lnTo>
                    <a:lnTo>
                      <a:pt x="11799" y="422"/>
                    </a:lnTo>
                    <a:lnTo>
                      <a:pt x="11793" y="412"/>
                    </a:lnTo>
                    <a:lnTo>
                      <a:pt x="11786" y="403"/>
                    </a:lnTo>
                    <a:lnTo>
                      <a:pt x="11779" y="394"/>
                    </a:lnTo>
                    <a:lnTo>
                      <a:pt x="11770" y="386"/>
                    </a:lnTo>
                    <a:lnTo>
                      <a:pt x="11760" y="380"/>
                    </a:lnTo>
                    <a:lnTo>
                      <a:pt x="11749" y="373"/>
                    </a:lnTo>
                    <a:lnTo>
                      <a:pt x="11739" y="369"/>
                    </a:lnTo>
                    <a:lnTo>
                      <a:pt x="11728" y="365"/>
                    </a:lnTo>
                    <a:lnTo>
                      <a:pt x="11715" y="361"/>
                    </a:lnTo>
                    <a:lnTo>
                      <a:pt x="11703" y="360"/>
                    </a:lnTo>
                    <a:lnTo>
                      <a:pt x="11690" y="359"/>
                    </a:lnTo>
                    <a:close/>
                    <a:moveTo>
                      <a:pt x="11545" y="560"/>
                    </a:moveTo>
                    <a:lnTo>
                      <a:pt x="11545" y="598"/>
                    </a:lnTo>
                    <a:lnTo>
                      <a:pt x="11546" y="625"/>
                    </a:lnTo>
                    <a:lnTo>
                      <a:pt x="11550" y="651"/>
                    </a:lnTo>
                    <a:lnTo>
                      <a:pt x="11553" y="677"/>
                    </a:lnTo>
                    <a:lnTo>
                      <a:pt x="11560" y="703"/>
                    </a:lnTo>
                    <a:lnTo>
                      <a:pt x="11567" y="727"/>
                    </a:lnTo>
                    <a:lnTo>
                      <a:pt x="11577" y="751"/>
                    </a:lnTo>
                    <a:lnTo>
                      <a:pt x="11582" y="763"/>
                    </a:lnTo>
                    <a:lnTo>
                      <a:pt x="11588" y="774"/>
                    </a:lnTo>
                    <a:lnTo>
                      <a:pt x="11594" y="785"/>
                    </a:lnTo>
                    <a:lnTo>
                      <a:pt x="11602" y="795"/>
                    </a:lnTo>
                    <a:lnTo>
                      <a:pt x="11608" y="804"/>
                    </a:lnTo>
                    <a:lnTo>
                      <a:pt x="11617" y="814"/>
                    </a:lnTo>
                    <a:lnTo>
                      <a:pt x="11625" y="823"/>
                    </a:lnTo>
                    <a:lnTo>
                      <a:pt x="11633" y="832"/>
                    </a:lnTo>
                    <a:lnTo>
                      <a:pt x="11643" y="839"/>
                    </a:lnTo>
                    <a:lnTo>
                      <a:pt x="11653" y="847"/>
                    </a:lnTo>
                    <a:lnTo>
                      <a:pt x="11663" y="853"/>
                    </a:lnTo>
                    <a:lnTo>
                      <a:pt x="11673" y="860"/>
                    </a:lnTo>
                    <a:lnTo>
                      <a:pt x="11684" y="865"/>
                    </a:lnTo>
                    <a:lnTo>
                      <a:pt x="11696" y="871"/>
                    </a:lnTo>
                    <a:lnTo>
                      <a:pt x="11708" y="874"/>
                    </a:lnTo>
                    <a:lnTo>
                      <a:pt x="11721" y="878"/>
                    </a:lnTo>
                    <a:lnTo>
                      <a:pt x="11734" y="880"/>
                    </a:lnTo>
                    <a:lnTo>
                      <a:pt x="11748" y="883"/>
                    </a:lnTo>
                    <a:lnTo>
                      <a:pt x="11762" y="884"/>
                    </a:lnTo>
                    <a:lnTo>
                      <a:pt x="11777" y="885"/>
                    </a:lnTo>
                    <a:lnTo>
                      <a:pt x="11794" y="884"/>
                    </a:lnTo>
                    <a:lnTo>
                      <a:pt x="11810" y="883"/>
                    </a:lnTo>
                    <a:lnTo>
                      <a:pt x="11825" y="882"/>
                    </a:lnTo>
                    <a:lnTo>
                      <a:pt x="11842" y="879"/>
                    </a:lnTo>
                    <a:lnTo>
                      <a:pt x="11873" y="874"/>
                    </a:lnTo>
                    <a:lnTo>
                      <a:pt x="11906" y="866"/>
                    </a:lnTo>
                    <a:lnTo>
                      <a:pt x="11906" y="943"/>
                    </a:lnTo>
                    <a:lnTo>
                      <a:pt x="11887" y="948"/>
                    </a:lnTo>
                    <a:lnTo>
                      <a:pt x="11869" y="952"/>
                    </a:lnTo>
                    <a:lnTo>
                      <a:pt x="11850" y="955"/>
                    </a:lnTo>
                    <a:lnTo>
                      <a:pt x="11832" y="959"/>
                    </a:lnTo>
                    <a:lnTo>
                      <a:pt x="11813" y="960"/>
                    </a:lnTo>
                    <a:lnTo>
                      <a:pt x="11794" y="962"/>
                    </a:lnTo>
                    <a:lnTo>
                      <a:pt x="11775" y="962"/>
                    </a:lnTo>
                    <a:lnTo>
                      <a:pt x="11756" y="962"/>
                    </a:lnTo>
                    <a:lnTo>
                      <a:pt x="11735" y="962"/>
                    </a:lnTo>
                    <a:lnTo>
                      <a:pt x="11716" y="961"/>
                    </a:lnTo>
                    <a:lnTo>
                      <a:pt x="11696" y="959"/>
                    </a:lnTo>
                    <a:lnTo>
                      <a:pt x="11678" y="955"/>
                    </a:lnTo>
                    <a:lnTo>
                      <a:pt x="11660" y="951"/>
                    </a:lnTo>
                    <a:lnTo>
                      <a:pt x="11643" y="947"/>
                    </a:lnTo>
                    <a:lnTo>
                      <a:pt x="11627" y="941"/>
                    </a:lnTo>
                    <a:lnTo>
                      <a:pt x="11612" y="935"/>
                    </a:lnTo>
                    <a:lnTo>
                      <a:pt x="11597" y="928"/>
                    </a:lnTo>
                    <a:lnTo>
                      <a:pt x="11583" y="921"/>
                    </a:lnTo>
                    <a:lnTo>
                      <a:pt x="11569" y="912"/>
                    </a:lnTo>
                    <a:lnTo>
                      <a:pt x="11557" y="903"/>
                    </a:lnTo>
                    <a:lnTo>
                      <a:pt x="11545" y="893"/>
                    </a:lnTo>
                    <a:lnTo>
                      <a:pt x="11533" y="883"/>
                    </a:lnTo>
                    <a:lnTo>
                      <a:pt x="11524" y="872"/>
                    </a:lnTo>
                    <a:lnTo>
                      <a:pt x="11513" y="860"/>
                    </a:lnTo>
                    <a:lnTo>
                      <a:pt x="11504" y="848"/>
                    </a:lnTo>
                    <a:lnTo>
                      <a:pt x="11495" y="835"/>
                    </a:lnTo>
                    <a:lnTo>
                      <a:pt x="11488" y="821"/>
                    </a:lnTo>
                    <a:lnTo>
                      <a:pt x="11480" y="807"/>
                    </a:lnTo>
                    <a:lnTo>
                      <a:pt x="11474" y="793"/>
                    </a:lnTo>
                    <a:lnTo>
                      <a:pt x="11467" y="777"/>
                    </a:lnTo>
                    <a:lnTo>
                      <a:pt x="11462" y="762"/>
                    </a:lnTo>
                    <a:lnTo>
                      <a:pt x="11458" y="746"/>
                    </a:lnTo>
                    <a:lnTo>
                      <a:pt x="11453" y="728"/>
                    </a:lnTo>
                    <a:lnTo>
                      <a:pt x="11449" y="711"/>
                    </a:lnTo>
                    <a:lnTo>
                      <a:pt x="11447" y="694"/>
                    </a:lnTo>
                    <a:lnTo>
                      <a:pt x="11443" y="676"/>
                    </a:lnTo>
                    <a:lnTo>
                      <a:pt x="11442" y="658"/>
                    </a:lnTo>
                    <a:lnTo>
                      <a:pt x="11440" y="638"/>
                    </a:lnTo>
                    <a:lnTo>
                      <a:pt x="11440" y="620"/>
                    </a:lnTo>
                    <a:lnTo>
                      <a:pt x="11439" y="600"/>
                    </a:lnTo>
                    <a:lnTo>
                      <a:pt x="11440" y="569"/>
                    </a:lnTo>
                    <a:lnTo>
                      <a:pt x="11442" y="537"/>
                    </a:lnTo>
                    <a:lnTo>
                      <a:pt x="11447" y="508"/>
                    </a:lnTo>
                    <a:lnTo>
                      <a:pt x="11452" y="479"/>
                    </a:lnTo>
                    <a:lnTo>
                      <a:pt x="11455" y="465"/>
                    </a:lnTo>
                    <a:lnTo>
                      <a:pt x="11460" y="450"/>
                    </a:lnTo>
                    <a:lnTo>
                      <a:pt x="11464" y="437"/>
                    </a:lnTo>
                    <a:lnTo>
                      <a:pt x="11469" y="424"/>
                    </a:lnTo>
                    <a:lnTo>
                      <a:pt x="11475" y="412"/>
                    </a:lnTo>
                    <a:lnTo>
                      <a:pt x="11481" y="399"/>
                    </a:lnTo>
                    <a:lnTo>
                      <a:pt x="11488" y="389"/>
                    </a:lnTo>
                    <a:lnTo>
                      <a:pt x="11494" y="377"/>
                    </a:lnTo>
                    <a:lnTo>
                      <a:pt x="11502" y="366"/>
                    </a:lnTo>
                    <a:lnTo>
                      <a:pt x="11511" y="356"/>
                    </a:lnTo>
                    <a:lnTo>
                      <a:pt x="11519" y="346"/>
                    </a:lnTo>
                    <a:lnTo>
                      <a:pt x="11529" y="338"/>
                    </a:lnTo>
                    <a:lnTo>
                      <a:pt x="11539" y="329"/>
                    </a:lnTo>
                    <a:lnTo>
                      <a:pt x="11550" y="321"/>
                    </a:lnTo>
                    <a:lnTo>
                      <a:pt x="11561" y="314"/>
                    </a:lnTo>
                    <a:lnTo>
                      <a:pt x="11573" y="307"/>
                    </a:lnTo>
                    <a:lnTo>
                      <a:pt x="11586" y="302"/>
                    </a:lnTo>
                    <a:lnTo>
                      <a:pt x="11599" y="296"/>
                    </a:lnTo>
                    <a:lnTo>
                      <a:pt x="11613" y="292"/>
                    </a:lnTo>
                    <a:lnTo>
                      <a:pt x="11628" y="288"/>
                    </a:lnTo>
                    <a:lnTo>
                      <a:pt x="11643" y="285"/>
                    </a:lnTo>
                    <a:lnTo>
                      <a:pt x="11659" y="283"/>
                    </a:lnTo>
                    <a:lnTo>
                      <a:pt x="11676" y="282"/>
                    </a:lnTo>
                    <a:lnTo>
                      <a:pt x="11693" y="281"/>
                    </a:lnTo>
                    <a:lnTo>
                      <a:pt x="11707" y="281"/>
                    </a:lnTo>
                    <a:lnTo>
                      <a:pt x="11721" y="282"/>
                    </a:lnTo>
                    <a:lnTo>
                      <a:pt x="11734" y="284"/>
                    </a:lnTo>
                    <a:lnTo>
                      <a:pt x="11747" y="285"/>
                    </a:lnTo>
                    <a:lnTo>
                      <a:pt x="11759" y="289"/>
                    </a:lnTo>
                    <a:lnTo>
                      <a:pt x="11771" y="292"/>
                    </a:lnTo>
                    <a:lnTo>
                      <a:pt x="11782" y="295"/>
                    </a:lnTo>
                    <a:lnTo>
                      <a:pt x="11793" y="300"/>
                    </a:lnTo>
                    <a:lnTo>
                      <a:pt x="11804" y="305"/>
                    </a:lnTo>
                    <a:lnTo>
                      <a:pt x="11813" y="309"/>
                    </a:lnTo>
                    <a:lnTo>
                      <a:pt x="11823" y="316"/>
                    </a:lnTo>
                    <a:lnTo>
                      <a:pt x="11832" y="321"/>
                    </a:lnTo>
                    <a:lnTo>
                      <a:pt x="11841" y="329"/>
                    </a:lnTo>
                    <a:lnTo>
                      <a:pt x="11849" y="335"/>
                    </a:lnTo>
                    <a:lnTo>
                      <a:pt x="11857" y="343"/>
                    </a:lnTo>
                    <a:lnTo>
                      <a:pt x="11863" y="352"/>
                    </a:lnTo>
                    <a:lnTo>
                      <a:pt x="11871" y="359"/>
                    </a:lnTo>
                    <a:lnTo>
                      <a:pt x="11877" y="368"/>
                    </a:lnTo>
                    <a:lnTo>
                      <a:pt x="11883" y="378"/>
                    </a:lnTo>
                    <a:lnTo>
                      <a:pt x="11888" y="388"/>
                    </a:lnTo>
                    <a:lnTo>
                      <a:pt x="11898" y="408"/>
                    </a:lnTo>
                    <a:lnTo>
                      <a:pt x="11907" y="430"/>
                    </a:lnTo>
                    <a:lnTo>
                      <a:pt x="11912" y="453"/>
                    </a:lnTo>
                    <a:lnTo>
                      <a:pt x="11917" y="477"/>
                    </a:lnTo>
                    <a:lnTo>
                      <a:pt x="11920" y="503"/>
                    </a:lnTo>
                    <a:lnTo>
                      <a:pt x="11921" y="529"/>
                    </a:lnTo>
                    <a:lnTo>
                      <a:pt x="11921" y="560"/>
                    </a:lnTo>
                    <a:lnTo>
                      <a:pt x="11545" y="560"/>
                    </a:lnTo>
                    <a:close/>
                    <a:moveTo>
                      <a:pt x="11199" y="947"/>
                    </a:moveTo>
                    <a:lnTo>
                      <a:pt x="11105" y="947"/>
                    </a:lnTo>
                    <a:lnTo>
                      <a:pt x="10859" y="296"/>
                    </a:lnTo>
                    <a:lnTo>
                      <a:pt x="10958" y="296"/>
                    </a:lnTo>
                    <a:lnTo>
                      <a:pt x="11150" y="811"/>
                    </a:lnTo>
                    <a:lnTo>
                      <a:pt x="11153" y="811"/>
                    </a:lnTo>
                    <a:lnTo>
                      <a:pt x="11320" y="296"/>
                    </a:lnTo>
                    <a:lnTo>
                      <a:pt x="11420" y="296"/>
                    </a:lnTo>
                    <a:lnTo>
                      <a:pt x="11199" y="947"/>
                    </a:lnTo>
                    <a:close/>
                    <a:moveTo>
                      <a:pt x="10693" y="947"/>
                    </a:moveTo>
                    <a:lnTo>
                      <a:pt x="10693" y="296"/>
                    </a:lnTo>
                    <a:lnTo>
                      <a:pt x="10785" y="296"/>
                    </a:lnTo>
                    <a:lnTo>
                      <a:pt x="10785" y="947"/>
                    </a:lnTo>
                    <a:lnTo>
                      <a:pt x="10693" y="947"/>
                    </a:lnTo>
                    <a:close/>
                    <a:moveTo>
                      <a:pt x="10677" y="127"/>
                    </a:moveTo>
                    <a:lnTo>
                      <a:pt x="10677" y="4"/>
                    </a:lnTo>
                    <a:lnTo>
                      <a:pt x="10800" y="4"/>
                    </a:lnTo>
                    <a:lnTo>
                      <a:pt x="10800" y="127"/>
                    </a:lnTo>
                    <a:lnTo>
                      <a:pt x="10677" y="127"/>
                    </a:lnTo>
                    <a:close/>
                    <a:moveTo>
                      <a:pt x="10434" y="947"/>
                    </a:moveTo>
                    <a:lnTo>
                      <a:pt x="10434" y="4"/>
                    </a:lnTo>
                    <a:lnTo>
                      <a:pt x="10527" y="4"/>
                    </a:lnTo>
                    <a:lnTo>
                      <a:pt x="10527" y="947"/>
                    </a:lnTo>
                    <a:lnTo>
                      <a:pt x="10434" y="947"/>
                    </a:lnTo>
                    <a:close/>
                    <a:moveTo>
                      <a:pt x="10082" y="359"/>
                    </a:moveTo>
                    <a:lnTo>
                      <a:pt x="10068" y="360"/>
                    </a:lnTo>
                    <a:lnTo>
                      <a:pt x="10055" y="361"/>
                    </a:lnTo>
                    <a:lnTo>
                      <a:pt x="10043" y="365"/>
                    </a:lnTo>
                    <a:lnTo>
                      <a:pt x="10031" y="369"/>
                    </a:lnTo>
                    <a:lnTo>
                      <a:pt x="10019" y="373"/>
                    </a:lnTo>
                    <a:lnTo>
                      <a:pt x="10009" y="380"/>
                    </a:lnTo>
                    <a:lnTo>
                      <a:pt x="9999" y="386"/>
                    </a:lnTo>
                    <a:lnTo>
                      <a:pt x="9991" y="394"/>
                    </a:lnTo>
                    <a:lnTo>
                      <a:pt x="9982" y="403"/>
                    </a:lnTo>
                    <a:lnTo>
                      <a:pt x="9974" y="412"/>
                    </a:lnTo>
                    <a:lnTo>
                      <a:pt x="9968" y="422"/>
                    </a:lnTo>
                    <a:lnTo>
                      <a:pt x="9961" y="433"/>
                    </a:lnTo>
                    <a:lnTo>
                      <a:pt x="9957" y="445"/>
                    </a:lnTo>
                    <a:lnTo>
                      <a:pt x="9951" y="457"/>
                    </a:lnTo>
                    <a:lnTo>
                      <a:pt x="9948" y="469"/>
                    </a:lnTo>
                    <a:lnTo>
                      <a:pt x="9945" y="482"/>
                    </a:lnTo>
                    <a:lnTo>
                      <a:pt x="10206" y="482"/>
                    </a:lnTo>
                    <a:lnTo>
                      <a:pt x="10205" y="469"/>
                    </a:lnTo>
                    <a:lnTo>
                      <a:pt x="10204" y="457"/>
                    </a:lnTo>
                    <a:lnTo>
                      <a:pt x="10201" y="445"/>
                    </a:lnTo>
                    <a:lnTo>
                      <a:pt x="10197" y="433"/>
                    </a:lnTo>
                    <a:lnTo>
                      <a:pt x="10192" y="422"/>
                    </a:lnTo>
                    <a:lnTo>
                      <a:pt x="10186" y="412"/>
                    </a:lnTo>
                    <a:lnTo>
                      <a:pt x="10178" y="403"/>
                    </a:lnTo>
                    <a:lnTo>
                      <a:pt x="10171" y="394"/>
                    </a:lnTo>
                    <a:lnTo>
                      <a:pt x="10162" y="386"/>
                    </a:lnTo>
                    <a:lnTo>
                      <a:pt x="10152" y="380"/>
                    </a:lnTo>
                    <a:lnTo>
                      <a:pt x="10142" y="373"/>
                    </a:lnTo>
                    <a:lnTo>
                      <a:pt x="10132" y="369"/>
                    </a:lnTo>
                    <a:lnTo>
                      <a:pt x="10120" y="365"/>
                    </a:lnTo>
                    <a:lnTo>
                      <a:pt x="10108" y="361"/>
                    </a:lnTo>
                    <a:lnTo>
                      <a:pt x="10095" y="360"/>
                    </a:lnTo>
                    <a:lnTo>
                      <a:pt x="10082" y="359"/>
                    </a:lnTo>
                    <a:close/>
                    <a:moveTo>
                      <a:pt x="9938" y="560"/>
                    </a:moveTo>
                    <a:lnTo>
                      <a:pt x="9938" y="598"/>
                    </a:lnTo>
                    <a:lnTo>
                      <a:pt x="9940" y="625"/>
                    </a:lnTo>
                    <a:lnTo>
                      <a:pt x="9942" y="651"/>
                    </a:lnTo>
                    <a:lnTo>
                      <a:pt x="9946" y="677"/>
                    </a:lnTo>
                    <a:lnTo>
                      <a:pt x="9953" y="703"/>
                    </a:lnTo>
                    <a:lnTo>
                      <a:pt x="9960" y="727"/>
                    </a:lnTo>
                    <a:lnTo>
                      <a:pt x="9970" y="751"/>
                    </a:lnTo>
                    <a:lnTo>
                      <a:pt x="9975" y="763"/>
                    </a:lnTo>
                    <a:lnTo>
                      <a:pt x="9981" y="774"/>
                    </a:lnTo>
                    <a:lnTo>
                      <a:pt x="9987" y="785"/>
                    </a:lnTo>
                    <a:lnTo>
                      <a:pt x="9994" y="795"/>
                    </a:lnTo>
                    <a:lnTo>
                      <a:pt x="10001" y="804"/>
                    </a:lnTo>
                    <a:lnTo>
                      <a:pt x="10009" y="814"/>
                    </a:lnTo>
                    <a:lnTo>
                      <a:pt x="10018" y="823"/>
                    </a:lnTo>
                    <a:lnTo>
                      <a:pt x="10026" y="832"/>
                    </a:lnTo>
                    <a:lnTo>
                      <a:pt x="10035" y="839"/>
                    </a:lnTo>
                    <a:lnTo>
                      <a:pt x="10045" y="847"/>
                    </a:lnTo>
                    <a:lnTo>
                      <a:pt x="10056" y="853"/>
                    </a:lnTo>
                    <a:lnTo>
                      <a:pt x="10066" y="860"/>
                    </a:lnTo>
                    <a:lnTo>
                      <a:pt x="10077" y="865"/>
                    </a:lnTo>
                    <a:lnTo>
                      <a:pt x="10089" y="871"/>
                    </a:lnTo>
                    <a:lnTo>
                      <a:pt x="10101" y="874"/>
                    </a:lnTo>
                    <a:lnTo>
                      <a:pt x="10114" y="878"/>
                    </a:lnTo>
                    <a:lnTo>
                      <a:pt x="10127" y="880"/>
                    </a:lnTo>
                    <a:lnTo>
                      <a:pt x="10140" y="883"/>
                    </a:lnTo>
                    <a:lnTo>
                      <a:pt x="10154" y="884"/>
                    </a:lnTo>
                    <a:lnTo>
                      <a:pt x="10170" y="885"/>
                    </a:lnTo>
                    <a:lnTo>
                      <a:pt x="10186" y="884"/>
                    </a:lnTo>
                    <a:lnTo>
                      <a:pt x="10202" y="883"/>
                    </a:lnTo>
                    <a:lnTo>
                      <a:pt x="10218" y="882"/>
                    </a:lnTo>
                    <a:lnTo>
                      <a:pt x="10235" y="879"/>
                    </a:lnTo>
                    <a:lnTo>
                      <a:pt x="10266" y="874"/>
                    </a:lnTo>
                    <a:lnTo>
                      <a:pt x="10298" y="866"/>
                    </a:lnTo>
                    <a:lnTo>
                      <a:pt x="10298" y="943"/>
                    </a:lnTo>
                    <a:lnTo>
                      <a:pt x="10280" y="948"/>
                    </a:lnTo>
                    <a:lnTo>
                      <a:pt x="10262" y="952"/>
                    </a:lnTo>
                    <a:lnTo>
                      <a:pt x="10243" y="955"/>
                    </a:lnTo>
                    <a:lnTo>
                      <a:pt x="10225" y="959"/>
                    </a:lnTo>
                    <a:lnTo>
                      <a:pt x="10205" y="960"/>
                    </a:lnTo>
                    <a:lnTo>
                      <a:pt x="10187" y="962"/>
                    </a:lnTo>
                    <a:lnTo>
                      <a:pt x="10167" y="962"/>
                    </a:lnTo>
                    <a:lnTo>
                      <a:pt x="10149" y="962"/>
                    </a:lnTo>
                    <a:lnTo>
                      <a:pt x="10128" y="962"/>
                    </a:lnTo>
                    <a:lnTo>
                      <a:pt x="10108" y="961"/>
                    </a:lnTo>
                    <a:lnTo>
                      <a:pt x="10089" y="959"/>
                    </a:lnTo>
                    <a:lnTo>
                      <a:pt x="10071" y="955"/>
                    </a:lnTo>
                    <a:lnTo>
                      <a:pt x="10052" y="951"/>
                    </a:lnTo>
                    <a:lnTo>
                      <a:pt x="10036" y="947"/>
                    </a:lnTo>
                    <a:lnTo>
                      <a:pt x="10020" y="941"/>
                    </a:lnTo>
                    <a:lnTo>
                      <a:pt x="10005" y="935"/>
                    </a:lnTo>
                    <a:lnTo>
                      <a:pt x="9989" y="928"/>
                    </a:lnTo>
                    <a:lnTo>
                      <a:pt x="9975" y="921"/>
                    </a:lnTo>
                    <a:lnTo>
                      <a:pt x="9962" y="912"/>
                    </a:lnTo>
                    <a:lnTo>
                      <a:pt x="9949" y="903"/>
                    </a:lnTo>
                    <a:lnTo>
                      <a:pt x="9937" y="893"/>
                    </a:lnTo>
                    <a:lnTo>
                      <a:pt x="9926" y="883"/>
                    </a:lnTo>
                    <a:lnTo>
                      <a:pt x="9916" y="872"/>
                    </a:lnTo>
                    <a:lnTo>
                      <a:pt x="9906" y="860"/>
                    </a:lnTo>
                    <a:lnTo>
                      <a:pt x="9896" y="848"/>
                    </a:lnTo>
                    <a:lnTo>
                      <a:pt x="9889" y="835"/>
                    </a:lnTo>
                    <a:lnTo>
                      <a:pt x="9880" y="821"/>
                    </a:lnTo>
                    <a:lnTo>
                      <a:pt x="9872" y="807"/>
                    </a:lnTo>
                    <a:lnTo>
                      <a:pt x="9866" y="793"/>
                    </a:lnTo>
                    <a:lnTo>
                      <a:pt x="9860" y="777"/>
                    </a:lnTo>
                    <a:lnTo>
                      <a:pt x="9855" y="762"/>
                    </a:lnTo>
                    <a:lnTo>
                      <a:pt x="9849" y="746"/>
                    </a:lnTo>
                    <a:lnTo>
                      <a:pt x="9845" y="728"/>
                    </a:lnTo>
                    <a:lnTo>
                      <a:pt x="9842" y="711"/>
                    </a:lnTo>
                    <a:lnTo>
                      <a:pt x="9839" y="694"/>
                    </a:lnTo>
                    <a:lnTo>
                      <a:pt x="9836" y="676"/>
                    </a:lnTo>
                    <a:lnTo>
                      <a:pt x="9834" y="658"/>
                    </a:lnTo>
                    <a:lnTo>
                      <a:pt x="9833" y="638"/>
                    </a:lnTo>
                    <a:lnTo>
                      <a:pt x="9832" y="620"/>
                    </a:lnTo>
                    <a:lnTo>
                      <a:pt x="9832" y="600"/>
                    </a:lnTo>
                    <a:lnTo>
                      <a:pt x="9832" y="569"/>
                    </a:lnTo>
                    <a:lnTo>
                      <a:pt x="9835" y="537"/>
                    </a:lnTo>
                    <a:lnTo>
                      <a:pt x="9839" y="508"/>
                    </a:lnTo>
                    <a:lnTo>
                      <a:pt x="9845" y="479"/>
                    </a:lnTo>
                    <a:lnTo>
                      <a:pt x="9848" y="465"/>
                    </a:lnTo>
                    <a:lnTo>
                      <a:pt x="9853" y="450"/>
                    </a:lnTo>
                    <a:lnTo>
                      <a:pt x="9857" y="437"/>
                    </a:lnTo>
                    <a:lnTo>
                      <a:pt x="9861" y="424"/>
                    </a:lnTo>
                    <a:lnTo>
                      <a:pt x="9868" y="412"/>
                    </a:lnTo>
                    <a:lnTo>
                      <a:pt x="9873" y="399"/>
                    </a:lnTo>
                    <a:lnTo>
                      <a:pt x="9880" y="389"/>
                    </a:lnTo>
                    <a:lnTo>
                      <a:pt x="9887" y="377"/>
                    </a:lnTo>
                    <a:lnTo>
                      <a:pt x="9895" y="366"/>
                    </a:lnTo>
                    <a:lnTo>
                      <a:pt x="9904" y="356"/>
                    </a:lnTo>
                    <a:lnTo>
                      <a:pt x="9912" y="346"/>
                    </a:lnTo>
                    <a:lnTo>
                      <a:pt x="9921" y="338"/>
                    </a:lnTo>
                    <a:lnTo>
                      <a:pt x="9932" y="329"/>
                    </a:lnTo>
                    <a:lnTo>
                      <a:pt x="9943" y="321"/>
                    </a:lnTo>
                    <a:lnTo>
                      <a:pt x="9954" y="314"/>
                    </a:lnTo>
                    <a:lnTo>
                      <a:pt x="9966" y="307"/>
                    </a:lnTo>
                    <a:lnTo>
                      <a:pt x="9979" y="302"/>
                    </a:lnTo>
                    <a:lnTo>
                      <a:pt x="9992" y="296"/>
                    </a:lnTo>
                    <a:lnTo>
                      <a:pt x="10006" y="292"/>
                    </a:lnTo>
                    <a:lnTo>
                      <a:pt x="10020" y="288"/>
                    </a:lnTo>
                    <a:lnTo>
                      <a:pt x="10036" y="285"/>
                    </a:lnTo>
                    <a:lnTo>
                      <a:pt x="10051" y="283"/>
                    </a:lnTo>
                    <a:lnTo>
                      <a:pt x="10069" y="282"/>
                    </a:lnTo>
                    <a:lnTo>
                      <a:pt x="10086" y="281"/>
                    </a:lnTo>
                    <a:lnTo>
                      <a:pt x="10100" y="281"/>
                    </a:lnTo>
                    <a:lnTo>
                      <a:pt x="10113" y="282"/>
                    </a:lnTo>
                    <a:lnTo>
                      <a:pt x="10127" y="284"/>
                    </a:lnTo>
                    <a:lnTo>
                      <a:pt x="10139" y="285"/>
                    </a:lnTo>
                    <a:lnTo>
                      <a:pt x="10151" y="289"/>
                    </a:lnTo>
                    <a:lnTo>
                      <a:pt x="10163" y="292"/>
                    </a:lnTo>
                    <a:lnTo>
                      <a:pt x="10175" y="295"/>
                    </a:lnTo>
                    <a:lnTo>
                      <a:pt x="10186" y="300"/>
                    </a:lnTo>
                    <a:lnTo>
                      <a:pt x="10196" y="305"/>
                    </a:lnTo>
                    <a:lnTo>
                      <a:pt x="10205" y="309"/>
                    </a:lnTo>
                    <a:lnTo>
                      <a:pt x="10215" y="316"/>
                    </a:lnTo>
                    <a:lnTo>
                      <a:pt x="10225" y="321"/>
                    </a:lnTo>
                    <a:lnTo>
                      <a:pt x="10234" y="329"/>
                    </a:lnTo>
                    <a:lnTo>
                      <a:pt x="10241" y="335"/>
                    </a:lnTo>
                    <a:lnTo>
                      <a:pt x="10249" y="343"/>
                    </a:lnTo>
                    <a:lnTo>
                      <a:pt x="10256" y="352"/>
                    </a:lnTo>
                    <a:lnTo>
                      <a:pt x="10263" y="359"/>
                    </a:lnTo>
                    <a:lnTo>
                      <a:pt x="10269" y="368"/>
                    </a:lnTo>
                    <a:lnTo>
                      <a:pt x="10276" y="378"/>
                    </a:lnTo>
                    <a:lnTo>
                      <a:pt x="10281" y="388"/>
                    </a:lnTo>
                    <a:lnTo>
                      <a:pt x="10291" y="408"/>
                    </a:lnTo>
                    <a:lnTo>
                      <a:pt x="10299" y="430"/>
                    </a:lnTo>
                    <a:lnTo>
                      <a:pt x="10305" y="453"/>
                    </a:lnTo>
                    <a:lnTo>
                      <a:pt x="10310" y="477"/>
                    </a:lnTo>
                    <a:lnTo>
                      <a:pt x="10312" y="503"/>
                    </a:lnTo>
                    <a:lnTo>
                      <a:pt x="10313" y="529"/>
                    </a:lnTo>
                    <a:lnTo>
                      <a:pt x="10313" y="560"/>
                    </a:lnTo>
                    <a:lnTo>
                      <a:pt x="9938" y="560"/>
                    </a:lnTo>
                    <a:close/>
                    <a:moveTo>
                      <a:pt x="9470" y="113"/>
                    </a:moveTo>
                    <a:lnTo>
                      <a:pt x="9451" y="107"/>
                    </a:lnTo>
                    <a:lnTo>
                      <a:pt x="9433" y="102"/>
                    </a:lnTo>
                    <a:lnTo>
                      <a:pt x="9413" y="99"/>
                    </a:lnTo>
                    <a:lnTo>
                      <a:pt x="9394" y="97"/>
                    </a:lnTo>
                    <a:lnTo>
                      <a:pt x="9355" y="93"/>
                    </a:lnTo>
                    <a:lnTo>
                      <a:pt x="9316" y="92"/>
                    </a:lnTo>
                    <a:lnTo>
                      <a:pt x="9255" y="92"/>
                    </a:lnTo>
                    <a:lnTo>
                      <a:pt x="9255" y="859"/>
                    </a:lnTo>
                    <a:lnTo>
                      <a:pt x="9328" y="859"/>
                    </a:lnTo>
                    <a:lnTo>
                      <a:pt x="9348" y="858"/>
                    </a:lnTo>
                    <a:lnTo>
                      <a:pt x="9369" y="858"/>
                    </a:lnTo>
                    <a:lnTo>
                      <a:pt x="9388" y="855"/>
                    </a:lnTo>
                    <a:lnTo>
                      <a:pt x="9409" y="853"/>
                    </a:lnTo>
                    <a:lnTo>
                      <a:pt x="9430" y="850"/>
                    </a:lnTo>
                    <a:lnTo>
                      <a:pt x="9449" y="846"/>
                    </a:lnTo>
                    <a:lnTo>
                      <a:pt x="9469" y="840"/>
                    </a:lnTo>
                    <a:lnTo>
                      <a:pt x="9488" y="833"/>
                    </a:lnTo>
                    <a:lnTo>
                      <a:pt x="9500" y="826"/>
                    </a:lnTo>
                    <a:lnTo>
                      <a:pt x="9511" y="820"/>
                    </a:lnTo>
                    <a:lnTo>
                      <a:pt x="9522" y="813"/>
                    </a:lnTo>
                    <a:lnTo>
                      <a:pt x="9532" y="804"/>
                    </a:lnTo>
                    <a:lnTo>
                      <a:pt x="9541" y="797"/>
                    </a:lnTo>
                    <a:lnTo>
                      <a:pt x="9550" y="788"/>
                    </a:lnTo>
                    <a:lnTo>
                      <a:pt x="9558" y="778"/>
                    </a:lnTo>
                    <a:lnTo>
                      <a:pt x="9565" y="769"/>
                    </a:lnTo>
                    <a:lnTo>
                      <a:pt x="9573" y="759"/>
                    </a:lnTo>
                    <a:lnTo>
                      <a:pt x="9579" y="748"/>
                    </a:lnTo>
                    <a:lnTo>
                      <a:pt x="9585" y="737"/>
                    </a:lnTo>
                    <a:lnTo>
                      <a:pt x="9591" y="725"/>
                    </a:lnTo>
                    <a:lnTo>
                      <a:pt x="9601" y="702"/>
                    </a:lnTo>
                    <a:lnTo>
                      <a:pt x="9609" y="677"/>
                    </a:lnTo>
                    <a:lnTo>
                      <a:pt x="9615" y="652"/>
                    </a:lnTo>
                    <a:lnTo>
                      <a:pt x="9621" y="626"/>
                    </a:lnTo>
                    <a:lnTo>
                      <a:pt x="9624" y="600"/>
                    </a:lnTo>
                    <a:lnTo>
                      <a:pt x="9627" y="574"/>
                    </a:lnTo>
                    <a:lnTo>
                      <a:pt x="9629" y="548"/>
                    </a:lnTo>
                    <a:lnTo>
                      <a:pt x="9630" y="523"/>
                    </a:lnTo>
                    <a:lnTo>
                      <a:pt x="9631" y="498"/>
                    </a:lnTo>
                    <a:lnTo>
                      <a:pt x="9631" y="474"/>
                    </a:lnTo>
                    <a:lnTo>
                      <a:pt x="9631" y="448"/>
                    </a:lnTo>
                    <a:lnTo>
                      <a:pt x="9630" y="422"/>
                    </a:lnTo>
                    <a:lnTo>
                      <a:pt x="9629" y="396"/>
                    </a:lnTo>
                    <a:lnTo>
                      <a:pt x="9627" y="369"/>
                    </a:lnTo>
                    <a:lnTo>
                      <a:pt x="9624" y="342"/>
                    </a:lnTo>
                    <a:lnTo>
                      <a:pt x="9619" y="315"/>
                    </a:lnTo>
                    <a:lnTo>
                      <a:pt x="9613" y="289"/>
                    </a:lnTo>
                    <a:lnTo>
                      <a:pt x="9605" y="264"/>
                    </a:lnTo>
                    <a:lnTo>
                      <a:pt x="9601" y="251"/>
                    </a:lnTo>
                    <a:lnTo>
                      <a:pt x="9597" y="239"/>
                    </a:lnTo>
                    <a:lnTo>
                      <a:pt x="9591" y="227"/>
                    </a:lnTo>
                    <a:lnTo>
                      <a:pt x="9586" y="215"/>
                    </a:lnTo>
                    <a:lnTo>
                      <a:pt x="9579" y="204"/>
                    </a:lnTo>
                    <a:lnTo>
                      <a:pt x="9573" y="193"/>
                    </a:lnTo>
                    <a:lnTo>
                      <a:pt x="9565" y="182"/>
                    </a:lnTo>
                    <a:lnTo>
                      <a:pt x="9558" y="173"/>
                    </a:lnTo>
                    <a:lnTo>
                      <a:pt x="9549" y="163"/>
                    </a:lnTo>
                    <a:lnTo>
                      <a:pt x="9539" y="154"/>
                    </a:lnTo>
                    <a:lnTo>
                      <a:pt x="9529" y="145"/>
                    </a:lnTo>
                    <a:lnTo>
                      <a:pt x="9520" y="138"/>
                    </a:lnTo>
                    <a:lnTo>
                      <a:pt x="9508" y="131"/>
                    </a:lnTo>
                    <a:lnTo>
                      <a:pt x="9496" y="125"/>
                    </a:lnTo>
                    <a:lnTo>
                      <a:pt x="9484" y="118"/>
                    </a:lnTo>
                    <a:lnTo>
                      <a:pt x="9470" y="113"/>
                    </a:lnTo>
                    <a:close/>
                    <a:moveTo>
                      <a:pt x="9523" y="922"/>
                    </a:moveTo>
                    <a:lnTo>
                      <a:pt x="9499" y="928"/>
                    </a:lnTo>
                    <a:lnTo>
                      <a:pt x="9475" y="935"/>
                    </a:lnTo>
                    <a:lnTo>
                      <a:pt x="9450" y="939"/>
                    </a:lnTo>
                    <a:lnTo>
                      <a:pt x="9426" y="942"/>
                    </a:lnTo>
                    <a:lnTo>
                      <a:pt x="9401" y="945"/>
                    </a:lnTo>
                    <a:lnTo>
                      <a:pt x="9376" y="947"/>
                    </a:lnTo>
                    <a:lnTo>
                      <a:pt x="9351" y="947"/>
                    </a:lnTo>
                    <a:lnTo>
                      <a:pt x="9326" y="947"/>
                    </a:lnTo>
                    <a:lnTo>
                      <a:pt x="9149" y="947"/>
                    </a:lnTo>
                    <a:lnTo>
                      <a:pt x="9149" y="4"/>
                    </a:lnTo>
                    <a:lnTo>
                      <a:pt x="9360" y="4"/>
                    </a:lnTo>
                    <a:lnTo>
                      <a:pt x="9388" y="4"/>
                    </a:lnTo>
                    <a:lnTo>
                      <a:pt x="9414" y="6"/>
                    </a:lnTo>
                    <a:lnTo>
                      <a:pt x="9440" y="9"/>
                    </a:lnTo>
                    <a:lnTo>
                      <a:pt x="9464" y="13"/>
                    </a:lnTo>
                    <a:lnTo>
                      <a:pt x="9487" y="17"/>
                    </a:lnTo>
                    <a:lnTo>
                      <a:pt x="9509" y="24"/>
                    </a:lnTo>
                    <a:lnTo>
                      <a:pt x="9529" y="30"/>
                    </a:lnTo>
                    <a:lnTo>
                      <a:pt x="9549" y="39"/>
                    </a:lnTo>
                    <a:lnTo>
                      <a:pt x="9567" y="48"/>
                    </a:lnTo>
                    <a:lnTo>
                      <a:pt x="9585" y="57"/>
                    </a:lnTo>
                    <a:lnTo>
                      <a:pt x="9601" y="68"/>
                    </a:lnTo>
                    <a:lnTo>
                      <a:pt x="9616" y="80"/>
                    </a:lnTo>
                    <a:lnTo>
                      <a:pt x="9630" y="93"/>
                    </a:lnTo>
                    <a:lnTo>
                      <a:pt x="9643" y="106"/>
                    </a:lnTo>
                    <a:lnTo>
                      <a:pt x="9656" y="121"/>
                    </a:lnTo>
                    <a:lnTo>
                      <a:pt x="9667" y="136"/>
                    </a:lnTo>
                    <a:lnTo>
                      <a:pt x="9678" y="152"/>
                    </a:lnTo>
                    <a:lnTo>
                      <a:pt x="9688" y="169"/>
                    </a:lnTo>
                    <a:lnTo>
                      <a:pt x="9696" y="187"/>
                    </a:lnTo>
                    <a:lnTo>
                      <a:pt x="9705" y="205"/>
                    </a:lnTo>
                    <a:lnTo>
                      <a:pt x="9712" y="224"/>
                    </a:lnTo>
                    <a:lnTo>
                      <a:pt x="9718" y="243"/>
                    </a:lnTo>
                    <a:lnTo>
                      <a:pt x="9725" y="264"/>
                    </a:lnTo>
                    <a:lnTo>
                      <a:pt x="9729" y="284"/>
                    </a:lnTo>
                    <a:lnTo>
                      <a:pt x="9733" y="306"/>
                    </a:lnTo>
                    <a:lnTo>
                      <a:pt x="9738" y="329"/>
                    </a:lnTo>
                    <a:lnTo>
                      <a:pt x="9741" y="351"/>
                    </a:lnTo>
                    <a:lnTo>
                      <a:pt x="9743" y="374"/>
                    </a:lnTo>
                    <a:lnTo>
                      <a:pt x="9745" y="398"/>
                    </a:lnTo>
                    <a:lnTo>
                      <a:pt x="9746" y="422"/>
                    </a:lnTo>
                    <a:lnTo>
                      <a:pt x="9747" y="447"/>
                    </a:lnTo>
                    <a:lnTo>
                      <a:pt x="9747" y="472"/>
                    </a:lnTo>
                    <a:lnTo>
                      <a:pt x="9746" y="507"/>
                    </a:lnTo>
                    <a:lnTo>
                      <a:pt x="9745" y="541"/>
                    </a:lnTo>
                    <a:lnTo>
                      <a:pt x="9743" y="575"/>
                    </a:lnTo>
                    <a:lnTo>
                      <a:pt x="9739" y="609"/>
                    </a:lnTo>
                    <a:lnTo>
                      <a:pt x="9733" y="643"/>
                    </a:lnTo>
                    <a:lnTo>
                      <a:pt x="9727" y="676"/>
                    </a:lnTo>
                    <a:lnTo>
                      <a:pt x="9723" y="693"/>
                    </a:lnTo>
                    <a:lnTo>
                      <a:pt x="9718" y="709"/>
                    </a:lnTo>
                    <a:lnTo>
                      <a:pt x="9713" y="724"/>
                    </a:lnTo>
                    <a:lnTo>
                      <a:pt x="9707" y="739"/>
                    </a:lnTo>
                    <a:lnTo>
                      <a:pt x="9701" y="755"/>
                    </a:lnTo>
                    <a:lnTo>
                      <a:pt x="9693" y="770"/>
                    </a:lnTo>
                    <a:lnTo>
                      <a:pt x="9687" y="784"/>
                    </a:lnTo>
                    <a:lnTo>
                      <a:pt x="9678" y="798"/>
                    </a:lnTo>
                    <a:lnTo>
                      <a:pt x="9669" y="811"/>
                    </a:lnTo>
                    <a:lnTo>
                      <a:pt x="9660" y="824"/>
                    </a:lnTo>
                    <a:lnTo>
                      <a:pt x="9650" y="837"/>
                    </a:lnTo>
                    <a:lnTo>
                      <a:pt x="9639" y="849"/>
                    </a:lnTo>
                    <a:lnTo>
                      <a:pt x="9627" y="860"/>
                    </a:lnTo>
                    <a:lnTo>
                      <a:pt x="9615" y="871"/>
                    </a:lnTo>
                    <a:lnTo>
                      <a:pt x="9602" y="882"/>
                    </a:lnTo>
                    <a:lnTo>
                      <a:pt x="9588" y="890"/>
                    </a:lnTo>
                    <a:lnTo>
                      <a:pt x="9573" y="899"/>
                    </a:lnTo>
                    <a:lnTo>
                      <a:pt x="9558" y="908"/>
                    </a:lnTo>
                    <a:lnTo>
                      <a:pt x="9540" y="915"/>
                    </a:lnTo>
                    <a:lnTo>
                      <a:pt x="9523" y="922"/>
                    </a:lnTo>
                    <a:close/>
                    <a:moveTo>
                      <a:pt x="8639" y="947"/>
                    </a:moveTo>
                    <a:lnTo>
                      <a:pt x="8639" y="811"/>
                    </a:lnTo>
                    <a:lnTo>
                      <a:pt x="8775" y="811"/>
                    </a:lnTo>
                    <a:lnTo>
                      <a:pt x="8775" y="947"/>
                    </a:lnTo>
                    <a:lnTo>
                      <a:pt x="8639" y="947"/>
                    </a:lnTo>
                    <a:close/>
                    <a:moveTo>
                      <a:pt x="8333" y="359"/>
                    </a:moveTo>
                    <a:lnTo>
                      <a:pt x="8318" y="360"/>
                    </a:lnTo>
                    <a:lnTo>
                      <a:pt x="8305" y="361"/>
                    </a:lnTo>
                    <a:lnTo>
                      <a:pt x="8292" y="365"/>
                    </a:lnTo>
                    <a:lnTo>
                      <a:pt x="8282" y="369"/>
                    </a:lnTo>
                    <a:lnTo>
                      <a:pt x="8270" y="373"/>
                    </a:lnTo>
                    <a:lnTo>
                      <a:pt x="8260" y="380"/>
                    </a:lnTo>
                    <a:lnTo>
                      <a:pt x="8250" y="386"/>
                    </a:lnTo>
                    <a:lnTo>
                      <a:pt x="8241" y="394"/>
                    </a:lnTo>
                    <a:lnTo>
                      <a:pt x="8233" y="403"/>
                    </a:lnTo>
                    <a:lnTo>
                      <a:pt x="8225" y="412"/>
                    </a:lnTo>
                    <a:lnTo>
                      <a:pt x="8219" y="422"/>
                    </a:lnTo>
                    <a:lnTo>
                      <a:pt x="8212" y="433"/>
                    </a:lnTo>
                    <a:lnTo>
                      <a:pt x="8207" y="445"/>
                    </a:lnTo>
                    <a:lnTo>
                      <a:pt x="8202" y="457"/>
                    </a:lnTo>
                    <a:lnTo>
                      <a:pt x="8199" y="469"/>
                    </a:lnTo>
                    <a:lnTo>
                      <a:pt x="8196" y="482"/>
                    </a:lnTo>
                    <a:lnTo>
                      <a:pt x="8457" y="482"/>
                    </a:lnTo>
                    <a:lnTo>
                      <a:pt x="8456" y="469"/>
                    </a:lnTo>
                    <a:lnTo>
                      <a:pt x="8455" y="457"/>
                    </a:lnTo>
                    <a:lnTo>
                      <a:pt x="8452" y="445"/>
                    </a:lnTo>
                    <a:lnTo>
                      <a:pt x="8448" y="433"/>
                    </a:lnTo>
                    <a:lnTo>
                      <a:pt x="8442" y="422"/>
                    </a:lnTo>
                    <a:lnTo>
                      <a:pt x="8437" y="412"/>
                    </a:lnTo>
                    <a:lnTo>
                      <a:pt x="8429" y="403"/>
                    </a:lnTo>
                    <a:lnTo>
                      <a:pt x="8422" y="394"/>
                    </a:lnTo>
                    <a:lnTo>
                      <a:pt x="8413" y="386"/>
                    </a:lnTo>
                    <a:lnTo>
                      <a:pt x="8403" y="380"/>
                    </a:lnTo>
                    <a:lnTo>
                      <a:pt x="8393" y="373"/>
                    </a:lnTo>
                    <a:lnTo>
                      <a:pt x="8382" y="369"/>
                    </a:lnTo>
                    <a:lnTo>
                      <a:pt x="8371" y="365"/>
                    </a:lnTo>
                    <a:lnTo>
                      <a:pt x="8359" y="361"/>
                    </a:lnTo>
                    <a:lnTo>
                      <a:pt x="8346" y="360"/>
                    </a:lnTo>
                    <a:lnTo>
                      <a:pt x="8333" y="359"/>
                    </a:lnTo>
                    <a:close/>
                    <a:moveTo>
                      <a:pt x="8189" y="560"/>
                    </a:moveTo>
                    <a:lnTo>
                      <a:pt x="8189" y="598"/>
                    </a:lnTo>
                    <a:lnTo>
                      <a:pt x="8190" y="625"/>
                    </a:lnTo>
                    <a:lnTo>
                      <a:pt x="8193" y="651"/>
                    </a:lnTo>
                    <a:lnTo>
                      <a:pt x="8197" y="677"/>
                    </a:lnTo>
                    <a:lnTo>
                      <a:pt x="8202" y="703"/>
                    </a:lnTo>
                    <a:lnTo>
                      <a:pt x="8211" y="727"/>
                    </a:lnTo>
                    <a:lnTo>
                      <a:pt x="8220" y="751"/>
                    </a:lnTo>
                    <a:lnTo>
                      <a:pt x="8225" y="763"/>
                    </a:lnTo>
                    <a:lnTo>
                      <a:pt x="8232" y="774"/>
                    </a:lnTo>
                    <a:lnTo>
                      <a:pt x="8238" y="785"/>
                    </a:lnTo>
                    <a:lnTo>
                      <a:pt x="8245" y="795"/>
                    </a:lnTo>
                    <a:lnTo>
                      <a:pt x="8252" y="804"/>
                    </a:lnTo>
                    <a:lnTo>
                      <a:pt x="8260" y="814"/>
                    </a:lnTo>
                    <a:lnTo>
                      <a:pt x="8269" y="823"/>
                    </a:lnTo>
                    <a:lnTo>
                      <a:pt x="8277" y="832"/>
                    </a:lnTo>
                    <a:lnTo>
                      <a:pt x="8286" y="839"/>
                    </a:lnTo>
                    <a:lnTo>
                      <a:pt x="8296" y="847"/>
                    </a:lnTo>
                    <a:lnTo>
                      <a:pt x="8306" y="853"/>
                    </a:lnTo>
                    <a:lnTo>
                      <a:pt x="8316" y="860"/>
                    </a:lnTo>
                    <a:lnTo>
                      <a:pt x="8328" y="865"/>
                    </a:lnTo>
                    <a:lnTo>
                      <a:pt x="8339" y="871"/>
                    </a:lnTo>
                    <a:lnTo>
                      <a:pt x="8352" y="874"/>
                    </a:lnTo>
                    <a:lnTo>
                      <a:pt x="8364" y="878"/>
                    </a:lnTo>
                    <a:lnTo>
                      <a:pt x="8378" y="880"/>
                    </a:lnTo>
                    <a:lnTo>
                      <a:pt x="8391" y="883"/>
                    </a:lnTo>
                    <a:lnTo>
                      <a:pt x="8405" y="884"/>
                    </a:lnTo>
                    <a:lnTo>
                      <a:pt x="8420" y="885"/>
                    </a:lnTo>
                    <a:lnTo>
                      <a:pt x="8437" y="884"/>
                    </a:lnTo>
                    <a:lnTo>
                      <a:pt x="8453" y="883"/>
                    </a:lnTo>
                    <a:lnTo>
                      <a:pt x="8469" y="882"/>
                    </a:lnTo>
                    <a:lnTo>
                      <a:pt x="8486" y="879"/>
                    </a:lnTo>
                    <a:lnTo>
                      <a:pt x="8517" y="874"/>
                    </a:lnTo>
                    <a:lnTo>
                      <a:pt x="8548" y="866"/>
                    </a:lnTo>
                    <a:lnTo>
                      <a:pt x="8548" y="943"/>
                    </a:lnTo>
                    <a:lnTo>
                      <a:pt x="8531" y="948"/>
                    </a:lnTo>
                    <a:lnTo>
                      <a:pt x="8513" y="952"/>
                    </a:lnTo>
                    <a:lnTo>
                      <a:pt x="8494" y="955"/>
                    </a:lnTo>
                    <a:lnTo>
                      <a:pt x="8475" y="959"/>
                    </a:lnTo>
                    <a:lnTo>
                      <a:pt x="8456" y="960"/>
                    </a:lnTo>
                    <a:lnTo>
                      <a:pt x="8438" y="962"/>
                    </a:lnTo>
                    <a:lnTo>
                      <a:pt x="8418" y="962"/>
                    </a:lnTo>
                    <a:lnTo>
                      <a:pt x="8400" y="962"/>
                    </a:lnTo>
                    <a:lnTo>
                      <a:pt x="8379" y="962"/>
                    </a:lnTo>
                    <a:lnTo>
                      <a:pt x="8359" y="961"/>
                    </a:lnTo>
                    <a:lnTo>
                      <a:pt x="8340" y="959"/>
                    </a:lnTo>
                    <a:lnTo>
                      <a:pt x="8322" y="955"/>
                    </a:lnTo>
                    <a:lnTo>
                      <a:pt x="8303" y="951"/>
                    </a:lnTo>
                    <a:lnTo>
                      <a:pt x="8287" y="947"/>
                    </a:lnTo>
                    <a:lnTo>
                      <a:pt x="8271" y="941"/>
                    </a:lnTo>
                    <a:lnTo>
                      <a:pt x="8256" y="935"/>
                    </a:lnTo>
                    <a:lnTo>
                      <a:pt x="8240" y="928"/>
                    </a:lnTo>
                    <a:lnTo>
                      <a:pt x="8226" y="921"/>
                    </a:lnTo>
                    <a:lnTo>
                      <a:pt x="8213" y="912"/>
                    </a:lnTo>
                    <a:lnTo>
                      <a:pt x="8200" y="903"/>
                    </a:lnTo>
                    <a:lnTo>
                      <a:pt x="8188" y="893"/>
                    </a:lnTo>
                    <a:lnTo>
                      <a:pt x="8177" y="883"/>
                    </a:lnTo>
                    <a:lnTo>
                      <a:pt x="8167" y="872"/>
                    </a:lnTo>
                    <a:lnTo>
                      <a:pt x="8157" y="860"/>
                    </a:lnTo>
                    <a:lnTo>
                      <a:pt x="8147" y="848"/>
                    </a:lnTo>
                    <a:lnTo>
                      <a:pt x="8138" y="835"/>
                    </a:lnTo>
                    <a:lnTo>
                      <a:pt x="8131" y="821"/>
                    </a:lnTo>
                    <a:lnTo>
                      <a:pt x="8123" y="807"/>
                    </a:lnTo>
                    <a:lnTo>
                      <a:pt x="8117" y="793"/>
                    </a:lnTo>
                    <a:lnTo>
                      <a:pt x="8111" y="777"/>
                    </a:lnTo>
                    <a:lnTo>
                      <a:pt x="8106" y="762"/>
                    </a:lnTo>
                    <a:lnTo>
                      <a:pt x="8100" y="746"/>
                    </a:lnTo>
                    <a:lnTo>
                      <a:pt x="8096" y="728"/>
                    </a:lnTo>
                    <a:lnTo>
                      <a:pt x="8093" y="711"/>
                    </a:lnTo>
                    <a:lnTo>
                      <a:pt x="8089" y="694"/>
                    </a:lnTo>
                    <a:lnTo>
                      <a:pt x="8087" y="676"/>
                    </a:lnTo>
                    <a:lnTo>
                      <a:pt x="8085" y="658"/>
                    </a:lnTo>
                    <a:lnTo>
                      <a:pt x="8084" y="638"/>
                    </a:lnTo>
                    <a:lnTo>
                      <a:pt x="8083" y="620"/>
                    </a:lnTo>
                    <a:lnTo>
                      <a:pt x="8083" y="600"/>
                    </a:lnTo>
                    <a:lnTo>
                      <a:pt x="8083" y="569"/>
                    </a:lnTo>
                    <a:lnTo>
                      <a:pt x="8086" y="537"/>
                    </a:lnTo>
                    <a:lnTo>
                      <a:pt x="8089" y="508"/>
                    </a:lnTo>
                    <a:lnTo>
                      <a:pt x="8096" y="479"/>
                    </a:lnTo>
                    <a:lnTo>
                      <a:pt x="8099" y="465"/>
                    </a:lnTo>
                    <a:lnTo>
                      <a:pt x="8104" y="450"/>
                    </a:lnTo>
                    <a:lnTo>
                      <a:pt x="8108" y="437"/>
                    </a:lnTo>
                    <a:lnTo>
                      <a:pt x="8112" y="424"/>
                    </a:lnTo>
                    <a:lnTo>
                      <a:pt x="8118" y="412"/>
                    </a:lnTo>
                    <a:lnTo>
                      <a:pt x="8124" y="399"/>
                    </a:lnTo>
                    <a:lnTo>
                      <a:pt x="8131" y="389"/>
                    </a:lnTo>
                    <a:lnTo>
                      <a:pt x="8138" y="377"/>
                    </a:lnTo>
                    <a:lnTo>
                      <a:pt x="8146" y="366"/>
                    </a:lnTo>
                    <a:lnTo>
                      <a:pt x="8154" y="356"/>
                    </a:lnTo>
                    <a:lnTo>
                      <a:pt x="8163" y="346"/>
                    </a:lnTo>
                    <a:lnTo>
                      <a:pt x="8172" y="338"/>
                    </a:lnTo>
                    <a:lnTo>
                      <a:pt x="8183" y="329"/>
                    </a:lnTo>
                    <a:lnTo>
                      <a:pt x="8193" y="321"/>
                    </a:lnTo>
                    <a:lnTo>
                      <a:pt x="8205" y="314"/>
                    </a:lnTo>
                    <a:lnTo>
                      <a:pt x="8216" y="307"/>
                    </a:lnTo>
                    <a:lnTo>
                      <a:pt x="8229" y="302"/>
                    </a:lnTo>
                    <a:lnTo>
                      <a:pt x="8242" y="296"/>
                    </a:lnTo>
                    <a:lnTo>
                      <a:pt x="8257" y="292"/>
                    </a:lnTo>
                    <a:lnTo>
                      <a:pt x="8271" y="288"/>
                    </a:lnTo>
                    <a:lnTo>
                      <a:pt x="8286" y="285"/>
                    </a:lnTo>
                    <a:lnTo>
                      <a:pt x="8302" y="283"/>
                    </a:lnTo>
                    <a:lnTo>
                      <a:pt x="8320" y="282"/>
                    </a:lnTo>
                    <a:lnTo>
                      <a:pt x="8337" y="281"/>
                    </a:lnTo>
                    <a:lnTo>
                      <a:pt x="8351" y="281"/>
                    </a:lnTo>
                    <a:lnTo>
                      <a:pt x="8364" y="282"/>
                    </a:lnTo>
                    <a:lnTo>
                      <a:pt x="8377" y="284"/>
                    </a:lnTo>
                    <a:lnTo>
                      <a:pt x="8390" y="285"/>
                    </a:lnTo>
                    <a:lnTo>
                      <a:pt x="8402" y="289"/>
                    </a:lnTo>
                    <a:lnTo>
                      <a:pt x="8414" y="292"/>
                    </a:lnTo>
                    <a:lnTo>
                      <a:pt x="8426" y="295"/>
                    </a:lnTo>
                    <a:lnTo>
                      <a:pt x="8437" y="300"/>
                    </a:lnTo>
                    <a:lnTo>
                      <a:pt x="8446" y="305"/>
                    </a:lnTo>
                    <a:lnTo>
                      <a:pt x="8456" y="309"/>
                    </a:lnTo>
                    <a:lnTo>
                      <a:pt x="8466" y="316"/>
                    </a:lnTo>
                    <a:lnTo>
                      <a:pt x="8476" y="321"/>
                    </a:lnTo>
                    <a:lnTo>
                      <a:pt x="8484" y="329"/>
                    </a:lnTo>
                    <a:lnTo>
                      <a:pt x="8492" y="335"/>
                    </a:lnTo>
                    <a:lnTo>
                      <a:pt x="8500" y="343"/>
                    </a:lnTo>
                    <a:lnTo>
                      <a:pt x="8507" y="352"/>
                    </a:lnTo>
                    <a:lnTo>
                      <a:pt x="8514" y="359"/>
                    </a:lnTo>
                    <a:lnTo>
                      <a:pt x="8520" y="368"/>
                    </a:lnTo>
                    <a:lnTo>
                      <a:pt x="8527" y="378"/>
                    </a:lnTo>
                    <a:lnTo>
                      <a:pt x="8532" y="388"/>
                    </a:lnTo>
                    <a:lnTo>
                      <a:pt x="8542" y="408"/>
                    </a:lnTo>
                    <a:lnTo>
                      <a:pt x="8550" y="430"/>
                    </a:lnTo>
                    <a:lnTo>
                      <a:pt x="8556" y="453"/>
                    </a:lnTo>
                    <a:lnTo>
                      <a:pt x="8560" y="477"/>
                    </a:lnTo>
                    <a:lnTo>
                      <a:pt x="8563" y="503"/>
                    </a:lnTo>
                    <a:lnTo>
                      <a:pt x="8564" y="529"/>
                    </a:lnTo>
                    <a:lnTo>
                      <a:pt x="8564" y="560"/>
                    </a:lnTo>
                    <a:lnTo>
                      <a:pt x="8189" y="560"/>
                    </a:lnTo>
                    <a:close/>
                    <a:moveTo>
                      <a:pt x="7932" y="495"/>
                    </a:moveTo>
                    <a:lnTo>
                      <a:pt x="7932" y="481"/>
                    </a:lnTo>
                    <a:lnTo>
                      <a:pt x="7931" y="467"/>
                    </a:lnTo>
                    <a:lnTo>
                      <a:pt x="7929" y="454"/>
                    </a:lnTo>
                    <a:lnTo>
                      <a:pt x="7926" y="442"/>
                    </a:lnTo>
                    <a:lnTo>
                      <a:pt x="7922" y="430"/>
                    </a:lnTo>
                    <a:lnTo>
                      <a:pt x="7917" y="419"/>
                    </a:lnTo>
                    <a:lnTo>
                      <a:pt x="7912" y="408"/>
                    </a:lnTo>
                    <a:lnTo>
                      <a:pt x="7905" y="398"/>
                    </a:lnTo>
                    <a:lnTo>
                      <a:pt x="7897" y="390"/>
                    </a:lnTo>
                    <a:lnTo>
                      <a:pt x="7890" y="382"/>
                    </a:lnTo>
                    <a:lnTo>
                      <a:pt x="7880" y="376"/>
                    </a:lnTo>
                    <a:lnTo>
                      <a:pt x="7869" y="370"/>
                    </a:lnTo>
                    <a:lnTo>
                      <a:pt x="7857" y="366"/>
                    </a:lnTo>
                    <a:lnTo>
                      <a:pt x="7845" y="363"/>
                    </a:lnTo>
                    <a:lnTo>
                      <a:pt x="7831" y="360"/>
                    </a:lnTo>
                    <a:lnTo>
                      <a:pt x="7816" y="359"/>
                    </a:lnTo>
                    <a:lnTo>
                      <a:pt x="7805" y="359"/>
                    </a:lnTo>
                    <a:lnTo>
                      <a:pt x="7794" y="360"/>
                    </a:lnTo>
                    <a:lnTo>
                      <a:pt x="7785" y="363"/>
                    </a:lnTo>
                    <a:lnTo>
                      <a:pt x="7775" y="365"/>
                    </a:lnTo>
                    <a:lnTo>
                      <a:pt x="7766" y="368"/>
                    </a:lnTo>
                    <a:lnTo>
                      <a:pt x="7757" y="372"/>
                    </a:lnTo>
                    <a:lnTo>
                      <a:pt x="7750" y="377"/>
                    </a:lnTo>
                    <a:lnTo>
                      <a:pt x="7742" y="381"/>
                    </a:lnTo>
                    <a:lnTo>
                      <a:pt x="7735" y="386"/>
                    </a:lnTo>
                    <a:lnTo>
                      <a:pt x="7727" y="393"/>
                    </a:lnTo>
                    <a:lnTo>
                      <a:pt x="7721" y="398"/>
                    </a:lnTo>
                    <a:lnTo>
                      <a:pt x="7715" y="406"/>
                    </a:lnTo>
                    <a:lnTo>
                      <a:pt x="7704" y="420"/>
                    </a:lnTo>
                    <a:lnTo>
                      <a:pt x="7695" y="436"/>
                    </a:lnTo>
                    <a:lnTo>
                      <a:pt x="7686" y="454"/>
                    </a:lnTo>
                    <a:lnTo>
                      <a:pt x="7679" y="472"/>
                    </a:lnTo>
                    <a:lnTo>
                      <a:pt x="7674" y="491"/>
                    </a:lnTo>
                    <a:lnTo>
                      <a:pt x="7670" y="510"/>
                    </a:lnTo>
                    <a:lnTo>
                      <a:pt x="7666" y="530"/>
                    </a:lnTo>
                    <a:lnTo>
                      <a:pt x="7663" y="548"/>
                    </a:lnTo>
                    <a:lnTo>
                      <a:pt x="7662" y="568"/>
                    </a:lnTo>
                    <a:lnTo>
                      <a:pt x="7662" y="586"/>
                    </a:lnTo>
                    <a:lnTo>
                      <a:pt x="7663" y="618"/>
                    </a:lnTo>
                    <a:lnTo>
                      <a:pt x="7665" y="647"/>
                    </a:lnTo>
                    <a:lnTo>
                      <a:pt x="7670" y="676"/>
                    </a:lnTo>
                    <a:lnTo>
                      <a:pt x="7676" y="703"/>
                    </a:lnTo>
                    <a:lnTo>
                      <a:pt x="7680" y="718"/>
                    </a:lnTo>
                    <a:lnTo>
                      <a:pt x="7685" y="730"/>
                    </a:lnTo>
                    <a:lnTo>
                      <a:pt x="7689" y="743"/>
                    </a:lnTo>
                    <a:lnTo>
                      <a:pt x="7695" y="755"/>
                    </a:lnTo>
                    <a:lnTo>
                      <a:pt x="7701" y="766"/>
                    </a:lnTo>
                    <a:lnTo>
                      <a:pt x="7708" y="777"/>
                    </a:lnTo>
                    <a:lnTo>
                      <a:pt x="7714" y="788"/>
                    </a:lnTo>
                    <a:lnTo>
                      <a:pt x="7722" y="798"/>
                    </a:lnTo>
                    <a:lnTo>
                      <a:pt x="7729" y="808"/>
                    </a:lnTo>
                    <a:lnTo>
                      <a:pt x="7738" y="817"/>
                    </a:lnTo>
                    <a:lnTo>
                      <a:pt x="7748" y="826"/>
                    </a:lnTo>
                    <a:lnTo>
                      <a:pt x="7757" y="835"/>
                    </a:lnTo>
                    <a:lnTo>
                      <a:pt x="7767" y="842"/>
                    </a:lnTo>
                    <a:lnTo>
                      <a:pt x="7778" y="849"/>
                    </a:lnTo>
                    <a:lnTo>
                      <a:pt x="7790" y="855"/>
                    </a:lnTo>
                    <a:lnTo>
                      <a:pt x="7802" y="861"/>
                    </a:lnTo>
                    <a:lnTo>
                      <a:pt x="7814" y="866"/>
                    </a:lnTo>
                    <a:lnTo>
                      <a:pt x="7828" y="872"/>
                    </a:lnTo>
                    <a:lnTo>
                      <a:pt x="7841" y="875"/>
                    </a:lnTo>
                    <a:lnTo>
                      <a:pt x="7856" y="878"/>
                    </a:lnTo>
                    <a:lnTo>
                      <a:pt x="7871" y="882"/>
                    </a:lnTo>
                    <a:lnTo>
                      <a:pt x="7887" y="883"/>
                    </a:lnTo>
                    <a:lnTo>
                      <a:pt x="7903" y="884"/>
                    </a:lnTo>
                    <a:lnTo>
                      <a:pt x="7920" y="885"/>
                    </a:lnTo>
                    <a:lnTo>
                      <a:pt x="7946" y="884"/>
                    </a:lnTo>
                    <a:lnTo>
                      <a:pt x="7973" y="882"/>
                    </a:lnTo>
                    <a:lnTo>
                      <a:pt x="7986" y="879"/>
                    </a:lnTo>
                    <a:lnTo>
                      <a:pt x="7999" y="877"/>
                    </a:lnTo>
                    <a:lnTo>
                      <a:pt x="8012" y="874"/>
                    </a:lnTo>
                    <a:lnTo>
                      <a:pt x="8025" y="871"/>
                    </a:lnTo>
                    <a:lnTo>
                      <a:pt x="8025" y="945"/>
                    </a:lnTo>
                    <a:lnTo>
                      <a:pt x="8008" y="949"/>
                    </a:lnTo>
                    <a:lnTo>
                      <a:pt x="7992" y="953"/>
                    </a:lnTo>
                    <a:lnTo>
                      <a:pt x="7976" y="956"/>
                    </a:lnTo>
                    <a:lnTo>
                      <a:pt x="7958" y="959"/>
                    </a:lnTo>
                    <a:lnTo>
                      <a:pt x="7925" y="962"/>
                    </a:lnTo>
                    <a:lnTo>
                      <a:pt x="7890" y="962"/>
                    </a:lnTo>
                    <a:lnTo>
                      <a:pt x="7869" y="962"/>
                    </a:lnTo>
                    <a:lnTo>
                      <a:pt x="7849" y="961"/>
                    </a:lnTo>
                    <a:lnTo>
                      <a:pt x="7830" y="959"/>
                    </a:lnTo>
                    <a:lnTo>
                      <a:pt x="7811" y="955"/>
                    </a:lnTo>
                    <a:lnTo>
                      <a:pt x="7793" y="952"/>
                    </a:lnTo>
                    <a:lnTo>
                      <a:pt x="7776" y="948"/>
                    </a:lnTo>
                    <a:lnTo>
                      <a:pt x="7759" y="943"/>
                    </a:lnTo>
                    <a:lnTo>
                      <a:pt x="7743" y="937"/>
                    </a:lnTo>
                    <a:lnTo>
                      <a:pt x="7727" y="930"/>
                    </a:lnTo>
                    <a:lnTo>
                      <a:pt x="7713" y="924"/>
                    </a:lnTo>
                    <a:lnTo>
                      <a:pt x="7699" y="915"/>
                    </a:lnTo>
                    <a:lnTo>
                      <a:pt x="7686" y="908"/>
                    </a:lnTo>
                    <a:lnTo>
                      <a:pt x="7673" y="898"/>
                    </a:lnTo>
                    <a:lnTo>
                      <a:pt x="7661" y="888"/>
                    </a:lnTo>
                    <a:lnTo>
                      <a:pt x="7649" y="877"/>
                    </a:lnTo>
                    <a:lnTo>
                      <a:pt x="7638" y="866"/>
                    </a:lnTo>
                    <a:lnTo>
                      <a:pt x="7628" y="854"/>
                    </a:lnTo>
                    <a:lnTo>
                      <a:pt x="7619" y="841"/>
                    </a:lnTo>
                    <a:lnTo>
                      <a:pt x="7610" y="828"/>
                    </a:lnTo>
                    <a:lnTo>
                      <a:pt x="7602" y="815"/>
                    </a:lnTo>
                    <a:lnTo>
                      <a:pt x="7595" y="800"/>
                    </a:lnTo>
                    <a:lnTo>
                      <a:pt x="7587" y="786"/>
                    </a:lnTo>
                    <a:lnTo>
                      <a:pt x="7582" y="770"/>
                    </a:lnTo>
                    <a:lnTo>
                      <a:pt x="7576" y="755"/>
                    </a:lnTo>
                    <a:lnTo>
                      <a:pt x="7571" y="737"/>
                    </a:lnTo>
                    <a:lnTo>
                      <a:pt x="7566" y="721"/>
                    </a:lnTo>
                    <a:lnTo>
                      <a:pt x="7563" y="702"/>
                    </a:lnTo>
                    <a:lnTo>
                      <a:pt x="7560" y="685"/>
                    </a:lnTo>
                    <a:lnTo>
                      <a:pt x="7558" y="665"/>
                    </a:lnTo>
                    <a:lnTo>
                      <a:pt x="7557" y="647"/>
                    </a:lnTo>
                    <a:lnTo>
                      <a:pt x="7556" y="627"/>
                    </a:lnTo>
                    <a:lnTo>
                      <a:pt x="7555" y="607"/>
                    </a:lnTo>
                    <a:lnTo>
                      <a:pt x="7556" y="574"/>
                    </a:lnTo>
                    <a:lnTo>
                      <a:pt x="7558" y="542"/>
                    </a:lnTo>
                    <a:lnTo>
                      <a:pt x="7562" y="510"/>
                    </a:lnTo>
                    <a:lnTo>
                      <a:pt x="7569" y="481"/>
                    </a:lnTo>
                    <a:lnTo>
                      <a:pt x="7572" y="467"/>
                    </a:lnTo>
                    <a:lnTo>
                      <a:pt x="7576" y="453"/>
                    </a:lnTo>
                    <a:lnTo>
                      <a:pt x="7581" y="439"/>
                    </a:lnTo>
                    <a:lnTo>
                      <a:pt x="7586" y="426"/>
                    </a:lnTo>
                    <a:lnTo>
                      <a:pt x="7593" y="412"/>
                    </a:lnTo>
                    <a:lnTo>
                      <a:pt x="7598" y="401"/>
                    </a:lnTo>
                    <a:lnTo>
                      <a:pt x="7606" y="389"/>
                    </a:lnTo>
                    <a:lnTo>
                      <a:pt x="7613" y="378"/>
                    </a:lnTo>
                    <a:lnTo>
                      <a:pt x="7621" y="367"/>
                    </a:lnTo>
                    <a:lnTo>
                      <a:pt x="7629" y="356"/>
                    </a:lnTo>
                    <a:lnTo>
                      <a:pt x="7639" y="346"/>
                    </a:lnTo>
                    <a:lnTo>
                      <a:pt x="7649" y="338"/>
                    </a:lnTo>
                    <a:lnTo>
                      <a:pt x="7659" y="329"/>
                    </a:lnTo>
                    <a:lnTo>
                      <a:pt x="7671" y="321"/>
                    </a:lnTo>
                    <a:lnTo>
                      <a:pt x="7683" y="314"/>
                    </a:lnTo>
                    <a:lnTo>
                      <a:pt x="7695" y="307"/>
                    </a:lnTo>
                    <a:lnTo>
                      <a:pt x="7708" y="302"/>
                    </a:lnTo>
                    <a:lnTo>
                      <a:pt x="7722" y="296"/>
                    </a:lnTo>
                    <a:lnTo>
                      <a:pt x="7736" y="292"/>
                    </a:lnTo>
                    <a:lnTo>
                      <a:pt x="7752" y="288"/>
                    </a:lnTo>
                    <a:lnTo>
                      <a:pt x="7767" y="285"/>
                    </a:lnTo>
                    <a:lnTo>
                      <a:pt x="7785" y="283"/>
                    </a:lnTo>
                    <a:lnTo>
                      <a:pt x="7802" y="282"/>
                    </a:lnTo>
                    <a:lnTo>
                      <a:pt x="7820" y="281"/>
                    </a:lnTo>
                    <a:lnTo>
                      <a:pt x="7845" y="282"/>
                    </a:lnTo>
                    <a:lnTo>
                      <a:pt x="7869" y="284"/>
                    </a:lnTo>
                    <a:lnTo>
                      <a:pt x="7892" y="289"/>
                    </a:lnTo>
                    <a:lnTo>
                      <a:pt x="7914" y="295"/>
                    </a:lnTo>
                    <a:lnTo>
                      <a:pt x="7933" y="303"/>
                    </a:lnTo>
                    <a:lnTo>
                      <a:pt x="7952" y="312"/>
                    </a:lnTo>
                    <a:lnTo>
                      <a:pt x="7960" y="317"/>
                    </a:lnTo>
                    <a:lnTo>
                      <a:pt x="7968" y="322"/>
                    </a:lnTo>
                    <a:lnTo>
                      <a:pt x="7976" y="329"/>
                    </a:lnTo>
                    <a:lnTo>
                      <a:pt x="7983" y="335"/>
                    </a:lnTo>
                    <a:lnTo>
                      <a:pt x="7991" y="342"/>
                    </a:lnTo>
                    <a:lnTo>
                      <a:pt x="7997" y="350"/>
                    </a:lnTo>
                    <a:lnTo>
                      <a:pt x="8003" y="357"/>
                    </a:lnTo>
                    <a:lnTo>
                      <a:pt x="8009" y="365"/>
                    </a:lnTo>
                    <a:lnTo>
                      <a:pt x="8015" y="373"/>
                    </a:lnTo>
                    <a:lnTo>
                      <a:pt x="8019" y="383"/>
                    </a:lnTo>
                    <a:lnTo>
                      <a:pt x="8023" y="392"/>
                    </a:lnTo>
                    <a:lnTo>
                      <a:pt x="8028" y="402"/>
                    </a:lnTo>
                    <a:lnTo>
                      <a:pt x="8031" y="412"/>
                    </a:lnTo>
                    <a:lnTo>
                      <a:pt x="8034" y="422"/>
                    </a:lnTo>
                    <a:lnTo>
                      <a:pt x="8036" y="434"/>
                    </a:lnTo>
                    <a:lnTo>
                      <a:pt x="8038" y="445"/>
                    </a:lnTo>
                    <a:lnTo>
                      <a:pt x="8042" y="469"/>
                    </a:lnTo>
                    <a:lnTo>
                      <a:pt x="8043" y="495"/>
                    </a:lnTo>
                    <a:lnTo>
                      <a:pt x="7932" y="495"/>
                    </a:lnTo>
                    <a:close/>
                    <a:moveTo>
                      <a:pt x="7349" y="947"/>
                    </a:moveTo>
                    <a:lnTo>
                      <a:pt x="7349" y="586"/>
                    </a:lnTo>
                    <a:lnTo>
                      <a:pt x="7349" y="556"/>
                    </a:lnTo>
                    <a:lnTo>
                      <a:pt x="7349" y="522"/>
                    </a:lnTo>
                    <a:lnTo>
                      <a:pt x="7348" y="505"/>
                    </a:lnTo>
                    <a:lnTo>
                      <a:pt x="7347" y="486"/>
                    </a:lnTo>
                    <a:lnTo>
                      <a:pt x="7344" y="469"/>
                    </a:lnTo>
                    <a:lnTo>
                      <a:pt x="7341" y="453"/>
                    </a:lnTo>
                    <a:lnTo>
                      <a:pt x="7336" y="436"/>
                    </a:lnTo>
                    <a:lnTo>
                      <a:pt x="7330" y="422"/>
                    </a:lnTo>
                    <a:lnTo>
                      <a:pt x="7327" y="415"/>
                    </a:lnTo>
                    <a:lnTo>
                      <a:pt x="7322" y="408"/>
                    </a:lnTo>
                    <a:lnTo>
                      <a:pt x="7318" y="403"/>
                    </a:lnTo>
                    <a:lnTo>
                      <a:pt x="7314" y="397"/>
                    </a:lnTo>
                    <a:lnTo>
                      <a:pt x="7308" y="392"/>
                    </a:lnTo>
                    <a:lnTo>
                      <a:pt x="7302" y="388"/>
                    </a:lnTo>
                    <a:lnTo>
                      <a:pt x="7295" y="383"/>
                    </a:lnTo>
                    <a:lnTo>
                      <a:pt x="7288" y="380"/>
                    </a:lnTo>
                    <a:lnTo>
                      <a:pt x="7280" y="378"/>
                    </a:lnTo>
                    <a:lnTo>
                      <a:pt x="7272" y="376"/>
                    </a:lnTo>
                    <a:lnTo>
                      <a:pt x="7263" y="374"/>
                    </a:lnTo>
                    <a:lnTo>
                      <a:pt x="7253" y="374"/>
                    </a:lnTo>
                    <a:lnTo>
                      <a:pt x="7241" y="374"/>
                    </a:lnTo>
                    <a:lnTo>
                      <a:pt x="7230" y="377"/>
                    </a:lnTo>
                    <a:lnTo>
                      <a:pt x="7219" y="379"/>
                    </a:lnTo>
                    <a:lnTo>
                      <a:pt x="7208" y="383"/>
                    </a:lnTo>
                    <a:lnTo>
                      <a:pt x="7198" y="388"/>
                    </a:lnTo>
                    <a:lnTo>
                      <a:pt x="7188" y="394"/>
                    </a:lnTo>
                    <a:lnTo>
                      <a:pt x="7179" y="401"/>
                    </a:lnTo>
                    <a:lnTo>
                      <a:pt x="7169" y="407"/>
                    </a:lnTo>
                    <a:lnTo>
                      <a:pt x="7161" y="416"/>
                    </a:lnTo>
                    <a:lnTo>
                      <a:pt x="7153" y="424"/>
                    </a:lnTo>
                    <a:lnTo>
                      <a:pt x="7145" y="434"/>
                    </a:lnTo>
                    <a:lnTo>
                      <a:pt x="7138" y="444"/>
                    </a:lnTo>
                    <a:lnTo>
                      <a:pt x="7125" y="466"/>
                    </a:lnTo>
                    <a:lnTo>
                      <a:pt x="7113" y="488"/>
                    </a:lnTo>
                    <a:lnTo>
                      <a:pt x="7102" y="512"/>
                    </a:lnTo>
                    <a:lnTo>
                      <a:pt x="7093" y="537"/>
                    </a:lnTo>
                    <a:lnTo>
                      <a:pt x="7086" y="563"/>
                    </a:lnTo>
                    <a:lnTo>
                      <a:pt x="7079" y="588"/>
                    </a:lnTo>
                    <a:lnTo>
                      <a:pt x="7075" y="613"/>
                    </a:lnTo>
                    <a:lnTo>
                      <a:pt x="7072" y="636"/>
                    </a:lnTo>
                    <a:lnTo>
                      <a:pt x="7070" y="659"/>
                    </a:lnTo>
                    <a:lnTo>
                      <a:pt x="7068" y="680"/>
                    </a:lnTo>
                    <a:lnTo>
                      <a:pt x="7068" y="947"/>
                    </a:lnTo>
                    <a:lnTo>
                      <a:pt x="6976" y="947"/>
                    </a:lnTo>
                    <a:lnTo>
                      <a:pt x="6976" y="296"/>
                    </a:lnTo>
                    <a:lnTo>
                      <a:pt x="7068" y="296"/>
                    </a:lnTo>
                    <a:lnTo>
                      <a:pt x="7068" y="447"/>
                    </a:lnTo>
                    <a:lnTo>
                      <a:pt x="7072" y="447"/>
                    </a:lnTo>
                    <a:lnTo>
                      <a:pt x="7078" y="429"/>
                    </a:lnTo>
                    <a:lnTo>
                      <a:pt x="7085" y="411"/>
                    </a:lnTo>
                    <a:lnTo>
                      <a:pt x="7092" y="394"/>
                    </a:lnTo>
                    <a:lnTo>
                      <a:pt x="7101" y="379"/>
                    </a:lnTo>
                    <a:lnTo>
                      <a:pt x="7111" y="364"/>
                    </a:lnTo>
                    <a:lnTo>
                      <a:pt x="7121" y="351"/>
                    </a:lnTo>
                    <a:lnTo>
                      <a:pt x="7131" y="338"/>
                    </a:lnTo>
                    <a:lnTo>
                      <a:pt x="7143" y="327"/>
                    </a:lnTo>
                    <a:lnTo>
                      <a:pt x="7156" y="316"/>
                    </a:lnTo>
                    <a:lnTo>
                      <a:pt x="7169" y="307"/>
                    </a:lnTo>
                    <a:lnTo>
                      <a:pt x="7185" y="300"/>
                    </a:lnTo>
                    <a:lnTo>
                      <a:pt x="7200" y="293"/>
                    </a:lnTo>
                    <a:lnTo>
                      <a:pt x="7217" y="288"/>
                    </a:lnTo>
                    <a:lnTo>
                      <a:pt x="7236" y="284"/>
                    </a:lnTo>
                    <a:lnTo>
                      <a:pt x="7255" y="282"/>
                    </a:lnTo>
                    <a:lnTo>
                      <a:pt x="7276" y="281"/>
                    </a:lnTo>
                    <a:lnTo>
                      <a:pt x="7285" y="281"/>
                    </a:lnTo>
                    <a:lnTo>
                      <a:pt x="7296" y="282"/>
                    </a:lnTo>
                    <a:lnTo>
                      <a:pt x="7306" y="283"/>
                    </a:lnTo>
                    <a:lnTo>
                      <a:pt x="7315" y="285"/>
                    </a:lnTo>
                    <a:lnTo>
                      <a:pt x="7325" y="288"/>
                    </a:lnTo>
                    <a:lnTo>
                      <a:pt x="7333" y="291"/>
                    </a:lnTo>
                    <a:lnTo>
                      <a:pt x="7342" y="294"/>
                    </a:lnTo>
                    <a:lnTo>
                      <a:pt x="7349" y="298"/>
                    </a:lnTo>
                    <a:lnTo>
                      <a:pt x="7365" y="307"/>
                    </a:lnTo>
                    <a:lnTo>
                      <a:pt x="7379" y="318"/>
                    </a:lnTo>
                    <a:lnTo>
                      <a:pt x="7391" y="330"/>
                    </a:lnTo>
                    <a:lnTo>
                      <a:pt x="7402" y="343"/>
                    </a:lnTo>
                    <a:lnTo>
                      <a:pt x="7411" y="358"/>
                    </a:lnTo>
                    <a:lnTo>
                      <a:pt x="7419" y="373"/>
                    </a:lnTo>
                    <a:lnTo>
                      <a:pt x="7427" y="391"/>
                    </a:lnTo>
                    <a:lnTo>
                      <a:pt x="7432" y="408"/>
                    </a:lnTo>
                    <a:lnTo>
                      <a:pt x="7436" y="426"/>
                    </a:lnTo>
                    <a:lnTo>
                      <a:pt x="7440" y="444"/>
                    </a:lnTo>
                    <a:lnTo>
                      <a:pt x="7442" y="464"/>
                    </a:lnTo>
                    <a:lnTo>
                      <a:pt x="7442" y="482"/>
                    </a:lnTo>
                    <a:lnTo>
                      <a:pt x="7442" y="947"/>
                    </a:lnTo>
                    <a:lnTo>
                      <a:pt x="7349" y="947"/>
                    </a:lnTo>
                    <a:close/>
                    <a:moveTo>
                      <a:pt x="6682" y="652"/>
                    </a:moveTo>
                    <a:lnTo>
                      <a:pt x="6666" y="652"/>
                    </a:lnTo>
                    <a:lnTo>
                      <a:pt x="6650" y="654"/>
                    </a:lnTo>
                    <a:lnTo>
                      <a:pt x="6632" y="656"/>
                    </a:lnTo>
                    <a:lnTo>
                      <a:pt x="6614" y="659"/>
                    </a:lnTo>
                    <a:lnTo>
                      <a:pt x="6596" y="663"/>
                    </a:lnTo>
                    <a:lnTo>
                      <a:pt x="6578" y="669"/>
                    </a:lnTo>
                    <a:lnTo>
                      <a:pt x="6561" y="674"/>
                    </a:lnTo>
                    <a:lnTo>
                      <a:pt x="6544" y="682"/>
                    </a:lnTo>
                    <a:lnTo>
                      <a:pt x="6529" y="690"/>
                    </a:lnTo>
                    <a:lnTo>
                      <a:pt x="6515" y="700"/>
                    </a:lnTo>
                    <a:lnTo>
                      <a:pt x="6507" y="706"/>
                    </a:lnTo>
                    <a:lnTo>
                      <a:pt x="6502" y="712"/>
                    </a:lnTo>
                    <a:lnTo>
                      <a:pt x="6496" y="718"/>
                    </a:lnTo>
                    <a:lnTo>
                      <a:pt x="6491" y="724"/>
                    </a:lnTo>
                    <a:lnTo>
                      <a:pt x="6486" y="732"/>
                    </a:lnTo>
                    <a:lnTo>
                      <a:pt x="6481" y="738"/>
                    </a:lnTo>
                    <a:lnTo>
                      <a:pt x="6478" y="746"/>
                    </a:lnTo>
                    <a:lnTo>
                      <a:pt x="6475" y="755"/>
                    </a:lnTo>
                    <a:lnTo>
                      <a:pt x="6473" y="763"/>
                    </a:lnTo>
                    <a:lnTo>
                      <a:pt x="6471" y="772"/>
                    </a:lnTo>
                    <a:lnTo>
                      <a:pt x="6469" y="781"/>
                    </a:lnTo>
                    <a:lnTo>
                      <a:pt x="6469" y="790"/>
                    </a:lnTo>
                    <a:lnTo>
                      <a:pt x="6469" y="800"/>
                    </a:lnTo>
                    <a:lnTo>
                      <a:pt x="6471" y="810"/>
                    </a:lnTo>
                    <a:lnTo>
                      <a:pt x="6473" y="819"/>
                    </a:lnTo>
                    <a:lnTo>
                      <a:pt x="6476" y="828"/>
                    </a:lnTo>
                    <a:lnTo>
                      <a:pt x="6479" y="836"/>
                    </a:lnTo>
                    <a:lnTo>
                      <a:pt x="6484" y="844"/>
                    </a:lnTo>
                    <a:lnTo>
                      <a:pt x="6489" y="851"/>
                    </a:lnTo>
                    <a:lnTo>
                      <a:pt x="6494" y="858"/>
                    </a:lnTo>
                    <a:lnTo>
                      <a:pt x="6501" y="864"/>
                    </a:lnTo>
                    <a:lnTo>
                      <a:pt x="6507" y="869"/>
                    </a:lnTo>
                    <a:lnTo>
                      <a:pt x="6515" y="874"/>
                    </a:lnTo>
                    <a:lnTo>
                      <a:pt x="6524" y="877"/>
                    </a:lnTo>
                    <a:lnTo>
                      <a:pt x="6531" y="880"/>
                    </a:lnTo>
                    <a:lnTo>
                      <a:pt x="6541" y="883"/>
                    </a:lnTo>
                    <a:lnTo>
                      <a:pt x="6551" y="884"/>
                    </a:lnTo>
                    <a:lnTo>
                      <a:pt x="6561" y="885"/>
                    </a:lnTo>
                    <a:lnTo>
                      <a:pt x="6573" y="884"/>
                    </a:lnTo>
                    <a:lnTo>
                      <a:pt x="6585" y="883"/>
                    </a:lnTo>
                    <a:lnTo>
                      <a:pt x="6596" y="880"/>
                    </a:lnTo>
                    <a:lnTo>
                      <a:pt x="6608" y="877"/>
                    </a:lnTo>
                    <a:lnTo>
                      <a:pt x="6619" y="873"/>
                    </a:lnTo>
                    <a:lnTo>
                      <a:pt x="6630" y="867"/>
                    </a:lnTo>
                    <a:lnTo>
                      <a:pt x="6641" y="862"/>
                    </a:lnTo>
                    <a:lnTo>
                      <a:pt x="6651" y="855"/>
                    </a:lnTo>
                    <a:lnTo>
                      <a:pt x="6660" y="849"/>
                    </a:lnTo>
                    <a:lnTo>
                      <a:pt x="6669" y="841"/>
                    </a:lnTo>
                    <a:lnTo>
                      <a:pt x="6678" y="833"/>
                    </a:lnTo>
                    <a:lnTo>
                      <a:pt x="6687" y="824"/>
                    </a:lnTo>
                    <a:lnTo>
                      <a:pt x="6694" y="814"/>
                    </a:lnTo>
                    <a:lnTo>
                      <a:pt x="6701" y="804"/>
                    </a:lnTo>
                    <a:lnTo>
                      <a:pt x="6707" y="794"/>
                    </a:lnTo>
                    <a:lnTo>
                      <a:pt x="6713" y="783"/>
                    </a:lnTo>
                    <a:lnTo>
                      <a:pt x="6720" y="765"/>
                    </a:lnTo>
                    <a:lnTo>
                      <a:pt x="6726" y="749"/>
                    </a:lnTo>
                    <a:lnTo>
                      <a:pt x="6730" y="734"/>
                    </a:lnTo>
                    <a:lnTo>
                      <a:pt x="6733" y="720"/>
                    </a:lnTo>
                    <a:lnTo>
                      <a:pt x="6735" y="705"/>
                    </a:lnTo>
                    <a:lnTo>
                      <a:pt x="6736" y="688"/>
                    </a:lnTo>
                    <a:lnTo>
                      <a:pt x="6736" y="671"/>
                    </a:lnTo>
                    <a:lnTo>
                      <a:pt x="6737" y="652"/>
                    </a:lnTo>
                    <a:lnTo>
                      <a:pt x="6682" y="652"/>
                    </a:lnTo>
                    <a:close/>
                    <a:moveTo>
                      <a:pt x="6740" y="947"/>
                    </a:moveTo>
                    <a:lnTo>
                      <a:pt x="6740" y="861"/>
                    </a:lnTo>
                    <a:lnTo>
                      <a:pt x="6737" y="861"/>
                    </a:lnTo>
                    <a:lnTo>
                      <a:pt x="6730" y="874"/>
                    </a:lnTo>
                    <a:lnTo>
                      <a:pt x="6721" y="885"/>
                    </a:lnTo>
                    <a:lnTo>
                      <a:pt x="6711" y="896"/>
                    </a:lnTo>
                    <a:lnTo>
                      <a:pt x="6701" y="905"/>
                    </a:lnTo>
                    <a:lnTo>
                      <a:pt x="6690" y="915"/>
                    </a:lnTo>
                    <a:lnTo>
                      <a:pt x="6677" y="923"/>
                    </a:lnTo>
                    <a:lnTo>
                      <a:pt x="6665" y="930"/>
                    </a:lnTo>
                    <a:lnTo>
                      <a:pt x="6651" y="937"/>
                    </a:lnTo>
                    <a:lnTo>
                      <a:pt x="6638" y="943"/>
                    </a:lnTo>
                    <a:lnTo>
                      <a:pt x="6622" y="948"/>
                    </a:lnTo>
                    <a:lnTo>
                      <a:pt x="6608" y="952"/>
                    </a:lnTo>
                    <a:lnTo>
                      <a:pt x="6594" y="956"/>
                    </a:lnTo>
                    <a:lnTo>
                      <a:pt x="6580" y="959"/>
                    </a:lnTo>
                    <a:lnTo>
                      <a:pt x="6565" y="961"/>
                    </a:lnTo>
                    <a:lnTo>
                      <a:pt x="6551" y="962"/>
                    </a:lnTo>
                    <a:lnTo>
                      <a:pt x="6538" y="962"/>
                    </a:lnTo>
                    <a:lnTo>
                      <a:pt x="6517" y="962"/>
                    </a:lnTo>
                    <a:lnTo>
                      <a:pt x="6498" y="959"/>
                    </a:lnTo>
                    <a:lnTo>
                      <a:pt x="6479" y="955"/>
                    </a:lnTo>
                    <a:lnTo>
                      <a:pt x="6463" y="950"/>
                    </a:lnTo>
                    <a:lnTo>
                      <a:pt x="6447" y="942"/>
                    </a:lnTo>
                    <a:lnTo>
                      <a:pt x="6433" y="934"/>
                    </a:lnTo>
                    <a:lnTo>
                      <a:pt x="6420" y="924"/>
                    </a:lnTo>
                    <a:lnTo>
                      <a:pt x="6408" y="913"/>
                    </a:lnTo>
                    <a:lnTo>
                      <a:pt x="6398" y="900"/>
                    </a:lnTo>
                    <a:lnTo>
                      <a:pt x="6388" y="887"/>
                    </a:lnTo>
                    <a:lnTo>
                      <a:pt x="6381" y="872"/>
                    </a:lnTo>
                    <a:lnTo>
                      <a:pt x="6374" y="855"/>
                    </a:lnTo>
                    <a:lnTo>
                      <a:pt x="6369" y="838"/>
                    </a:lnTo>
                    <a:lnTo>
                      <a:pt x="6365" y="820"/>
                    </a:lnTo>
                    <a:lnTo>
                      <a:pt x="6363" y="801"/>
                    </a:lnTo>
                    <a:lnTo>
                      <a:pt x="6362" y="781"/>
                    </a:lnTo>
                    <a:lnTo>
                      <a:pt x="6363" y="766"/>
                    </a:lnTo>
                    <a:lnTo>
                      <a:pt x="6364" y="753"/>
                    </a:lnTo>
                    <a:lnTo>
                      <a:pt x="6367" y="741"/>
                    </a:lnTo>
                    <a:lnTo>
                      <a:pt x="6371" y="728"/>
                    </a:lnTo>
                    <a:lnTo>
                      <a:pt x="6375" y="718"/>
                    </a:lnTo>
                    <a:lnTo>
                      <a:pt x="6381" y="707"/>
                    </a:lnTo>
                    <a:lnTo>
                      <a:pt x="6387" y="696"/>
                    </a:lnTo>
                    <a:lnTo>
                      <a:pt x="6394" y="686"/>
                    </a:lnTo>
                    <a:lnTo>
                      <a:pt x="6402" y="676"/>
                    </a:lnTo>
                    <a:lnTo>
                      <a:pt x="6410" y="668"/>
                    </a:lnTo>
                    <a:lnTo>
                      <a:pt x="6420" y="659"/>
                    </a:lnTo>
                    <a:lnTo>
                      <a:pt x="6429" y="651"/>
                    </a:lnTo>
                    <a:lnTo>
                      <a:pt x="6439" y="644"/>
                    </a:lnTo>
                    <a:lnTo>
                      <a:pt x="6450" y="636"/>
                    </a:lnTo>
                    <a:lnTo>
                      <a:pt x="6461" y="630"/>
                    </a:lnTo>
                    <a:lnTo>
                      <a:pt x="6473" y="623"/>
                    </a:lnTo>
                    <a:lnTo>
                      <a:pt x="6497" y="612"/>
                    </a:lnTo>
                    <a:lnTo>
                      <a:pt x="6522" y="602"/>
                    </a:lnTo>
                    <a:lnTo>
                      <a:pt x="6548" y="595"/>
                    </a:lnTo>
                    <a:lnTo>
                      <a:pt x="6574" y="588"/>
                    </a:lnTo>
                    <a:lnTo>
                      <a:pt x="6600" y="584"/>
                    </a:lnTo>
                    <a:lnTo>
                      <a:pt x="6625" y="581"/>
                    </a:lnTo>
                    <a:lnTo>
                      <a:pt x="6650" y="579"/>
                    </a:lnTo>
                    <a:lnTo>
                      <a:pt x="6672" y="578"/>
                    </a:lnTo>
                    <a:lnTo>
                      <a:pt x="6689" y="578"/>
                    </a:lnTo>
                    <a:lnTo>
                      <a:pt x="6705" y="578"/>
                    </a:lnTo>
                    <a:lnTo>
                      <a:pt x="6721" y="576"/>
                    </a:lnTo>
                    <a:lnTo>
                      <a:pt x="6737" y="574"/>
                    </a:lnTo>
                    <a:lnTo>
                      <a:pt x="6737" y="560"/>
                    </a:lnTo>
                    <a:lnTo>
                      <a:pt x="6737" y="523"/>
                    </a:lnTo>
                    <a:lnTo>
                      <a:pt x="6736" y="487"/>
                    </a:lnTo>
                    <a:lnTo>
                      <a:pt x="6734" y="471"/>
                    </a:lnTo>
                    <a:lnTo>
                      <a:pt x="6732" y="454"/>
                    </a:lnTo>
                    <a:lnTo>
                      <a:pt x="6729" y="439"/>
                    </a:lnTo>
                    <a:lnTo>
                      <a:pt x="6724" y="423"/>
                    </a:lnTo>
                    <a:lnTo>
                      <a:pt x="6718" y="409"/>
                    </a:lnTo>
                    <a:lnTo>
                      <a:pt x="6710" y="397"/>
                    </a:lnTo>
                    <a:lnTo>
                      <a:pt x="6705" y="392"/>
                    </a:lnTo>
                    <a:lnTo>
                      <a:pt x="6700" y="386"/>
                    </a:lnTo>
                    <a:lnTo>
                      <a:pt x="6694" y="381"/>
                    </a:lnTo>
                    <a:lnTo>
                      <a:pt x="6688" y="377"/>
                    </a:lnTo>
                    <a:lnTo>
                      <a:pt x="6681" y="373"/>
                    </a:lnTo>
                    <a:lnTo>
                      <a:pt x="6673" y="369"/>
                    </a:lnTo>
                    <a:lnTo>
                      <a:pt x="6666" y="367"/>
                    </a:lnTo>
                    <a:lnTo>
                      <a:pt x="6656" y="364"/>
                    </a:lnTo>
                    <a:lnTo>
                      <a:pt x="6647" y="363"/>
                    </a:lnTo>
                    <a:lnTo>
                      <a:pt x="6637" y="360"/>
                    </a:lnTo>
                    <a:lnTo>
                      <a:pt x="6626" y="359"/>
                    </a:lnTo>
                    <a:lnTo>
                      <a:pt x="6614" y="359"/>
                    </a:lnTo>
                    <a:lnTo>
                      <a:pt x="6600" y="359"/>
                    </a:lnTo>
                    <a:lnTo>
                      <a:pt x="6587" y="360"/>
                    </a:lnTo>
                    <a:lnTo>
                      <a:pt x="6574" y="363"/>
                    </a:lnTo>
                    <a:lnTo>
                      <a:pt x="6563" y="365"/>
                    </a:lnTo>
                    <a:lnTo>
                      <a:pt x="6551" y="368"/>
                    </a:lnTo>
                    <a:lnTo>
                      <a:pt x="6541" y="371"/>
                    </a:lnTo>
                    <a:lnTo>
                      <a:pt x="6531" y="377"/>
                    </a:lnTo>
                    <a:lnTo>
                      <a:pt x="6523" y="382"/>
                    </a:lnTo>
                    <a:lnTo>
                      <a:pt x="6515" y="389"/>
                    </a:lnTo>
                    <a:lnTo>
                      <a:pt x="6507" y="396"/>
                    </a:lnTo>
                    <a:lnTo>
                      <a:pt x="6501" y="405"/>
                    </a:lnTo>
                    <a:lnTo>
                      <a:pt x="6496" y="414"/>
                    </a:lnTo>
                    <a:lnTo>
                      <a:pt x="6490" y="424"/>
                    </a:lnTo>
                    <a:lnTo>
                      <a:pt x="6487" y="436"/>
                    </a:lnTo>
                    <a:lnTo>
                      <a:pt x="6484" y="449"/>
                    </a:lnTo>
                    <a:lnTo>
                      <a:pt x="6481" y="464"/>
                    </a:lnTo>
                    <a:lnTo>
                      <a:pt x="6377" y="464"/>
                    </a:lnTo>
                    <a:lnTo>
                      <a:pt x="6378" y="452"/>
                    </a:lnTo>
                    <a:lnTo>
                      <a:pt x="6379" y="440"/>
                    </a:lnTo>
                    <a:lnTo>
                      <a:pt x="6382" y="429"/>
                    </a:lnTo>
                    <a:lnTo>
                      <a:pt x="6384" y="418"/>
                    </a:lnTo>
                    <a:lnTo>
                      <a:pt x="6387" y="407"/>
                    </a:lnTo>
                    <a:lnTo>
                      <a:pt x="6390" y="397"/>
                    </a:lnTo>
                    <a:lnTo>
                      <a:pt x="6395" y="389"/>
                    </a:lnTo>
                    <a:lnTo>
                      <a:pt x="6399" y="379"/>
                    </a:lnTo>
                    <a:lnTo>
                      <a:pt x="6404" y="371"/>
                    </a:lnTo>
                    <a:lnTo>
                      <a:pt x="6410" y="363"/>
                    </a:lnTo>
                    <a:lnTo>
                      <a:pt x="6415" y="355"/>
                    </a:lnTo>
                    <a:lnTo>
                      <a:pt x="6422" y="348"/>
                    </a:lnTo>
                    <a:lnTo>
                      <a:pt x="6436" y="334"/>
                    </a:lnTo>
                    <a:lnTo>
                      <a:pt x="6452" y="323"/>
                    </a:lnTo>
                    <a:lnTo>
                      <a:pt x="6468" y="313"/>
                    </a:lnTo>
                    <a:lnTo>
                      <a:pt x="6487" y="304"/>
                    </a:lnTo>
                    <a:lnTo>
                      <a:pt x="6506" y="297"/>
                    </a:lnTo>
                    <a:lnTo>
                      <a:pt x="6526" y="291"/>
                    </a:lnTo>
                    <a:lnTo>
                      <a:pt x="6547" y="287"/>
                    </a:lnTo>
                    <a:lnTo>
                      <a:pt x="6568" y="283"/>
                    </a:lnTo>
                    <a:lnTo>
                      <a:pt x="6590" y="282"/>
                    </a:lnTo>
                    <a:lnTo>
                      <a:pt x="6612" y="281"/>
                    </a:lnTo>
                    <a:lnTo>
                      <a:pt x="6638" y="282"/>
                    </a:lnTo>
                    <a:lnTo>
                      <a:pt x="6663" y="284"/>
                    </a:lnTo>
                    <a:lnTo>
                      <a:pt x="6687" y="288"/>
                    </a:lnTo>
                    <a:lnTo>
                      <a:pt x="6707" y="293"/>
                    </a:lnTo>
                    <a:lnTo>
                      <a:pt x="6728" y="301"/>
                    </a:lnTo>
                    <a:lnTo>
                      <a:pt x="6745" y="309"/>
                    </a:lnTo>
                    <a:lnTo>
                      <a:pt x="6754" y="314"/>
                    </a:lnTo>
                    <a:lnTo>
                      <a:pt x="6761" y="319"/>
                    </a:lnTo>
                    <a:lnTo>
                      <a:pt x="6769" y="326"/>
                    </a:lnTo>
                    <a:lnTo>
                      <a:pt x="6775" y="331"/>
                    </a:lnTo>
                    <a:lnTo>
                      <a:pt x="6782" y="339"/>
                    </a:lnTo>
                    <a:lnTo>
                      <a:pt x="6788" y="345"/>
                    </a:lnTo>
                    <a:lnTo>
                      <a:pt x="6794" y="353"/>
                    </a:lnTo>
                    <a:lnTo>
                      <a:pt x="6799" y="360"/>
                    </a:lnTo>
                    <a:lnTo>
                      <a:pt x="6805" y="369"/>
                    </a:lnTo>
                    <a:lnTo>
                      <a:pt x="6809" y="378"/>
                    </a:lnTo>
                    <a:lnTo>
                      <a:pt x="6812" y="386"/>
                    </a:lnTo>
                    <a:lnTo>
                      <a:pt x="6817" y="396"/>
                    </a:lnTo>
                    <a:lnTo>
                      <a:pt x="6822" y="417"/>
                    </a:lnTo>
                    <a:lnTo>
                      <a:pt x="6826" y="440"/>
                    </a:lnTo>
                    <a:lnTo>
                      <a:pt x="6829" y="465"/>
                    </a:lnTo>
                    <a:lnTo>
                      <a:pt x="6830" y="491"/>
                    </a:lnTo>
                    <a:lnTo>
                      <a:pt x="6830" y="947"/>
                    </a:lnTo>
                    <a:lnTo>
                      <a:pt x="6740" y="947"/>
                    </a:lnTo>
                    <a:close/>
                    <a:moveTo>
                      <a:pt x="6160" y="947"/>
                    </a:moveTo>
                    <a:lnTo>
                      <a:pt x="6160" y="586"/>
                    </a:lnTo>
                    <a:lnTo>
                      <a:pt x="6160" y="556"/>
                    </a:lnTo>
                    <a:lnTo>
                      <a:pt x="6160" y="522"/>
                    </a:lnTo>
                    <a:lnTo>
                      <a:pt x="6159" y="505"/>
                    </a:lnTo>
                    <a:lnTo>
                      <a:pt x="6158" y="486"/>
                    </a:lnTo>
                    <a:lnTo>
                      <a:pt x="6156" y="469"/>
                    </a:lnTo>
                    <a:lnTo>
                      <a:pt x="6153" y="453"/>
                    </a:lnTo>
                    <a:lnTo>
                      <a:pt x="6147" y="436"/>
                    </a:lnTo>
                    <a:lnTo>
                      <a:pt x="6142" y="422"/>
                    </a:lnTo>
                    <a:lnTo>
                      <a:pt x="6137" y="415"/>
                    </a:lnTo>
                    <a:lnTo>
                      <a:pt x="6134" y="408"/>
                    </a:lnTo>
                    <a:lnTo>
                      <a:pt x="6129" y="403"/>
                    </a:lnTo>
                    <a:lnTo>
                      <a:pt x="6124" y="397"/>
                    </a:lnTo>
                    <a:lnTo>
                      <a:pt x="6119" y="392"/>
                    </a:lnTo>
                    <a:lnTo>
                      <a:pt x="6113" y="388"/>
                    </a:lnTo>
                    <a:lnTo>
                      <a:pt x="6106" y="383"/>
                    </a:lnTo>
                    <a:lnTo>
                      <a:pt x="6099" y="380"/>
                    </a:lnTo>
                    <a:lnTo>
                      <a:pt x="6091" y="378"/>
                    </a:lnTo>
                    <a:lnTo>
                      <a:pt x="6083" y="376"/>
                    </a:lnTo>
                    <a:lnTo>
                      <a:pt x="6073" y="374"/>
                    </a:lnTo>
                    <a:lnTo>
                      <a:pt x="6065" y="374"/>
                    </a:lnTo>
                    <a:lnTo>
                      <a:pt x="6053" y="374"/>
                    </a:lnTo>
                    <a:lnTo>
                      <a:pt x="6043" y="377"/>
                    </a:lnTo>
                    <a:lnTo>
                      <a:pt x="6032" y="380"/>
                    </a:lnTo>
                    <a:lnTo>
                      <a:pt x="6022" y="383"/>
                    </a:lnTo>
                    <a:lnTo>
                      <a:pt x="6014" y="389"/>
                    </a:lnTo>
                    <a:lnTo>
                      <a:pt x="6005" y="395"/>
                    </a:lnTo>
                    <a:lnTo>
                      <a:pt x="5996" y="402"/>
                    </a:lnTo>
                    <a:lnTo>
                      <a:pt x="5988" y="409"/>
                    </a:lnTo>
                    <a:lnTo>
                      <a:pt x="5980" y="418"/>
                    </a:lnTo>
                    <a:lnTo>
                      <a:pt x="5974" y="427"/>
                    </a:lnTo>
                    <a:lnTo>
                      <a:pt x="5966" y="436"/>
                    </a:lnTo>
                    <a:lnTo>
                      <a:pt x="5960" y="447"/>
                    </a:lnTo>
                    <a:lnTo>
                      <a:pt x="5949" y="469"/>
                    </a:lnTo>
                    <a:lnTo>
                      <a:pt x="5938" y="493"/>
                    </a:lnTo>
                    <a:lnTo>
                      <a:pt x="5929" y="518"/>
                    </a:lnTo>
                    <a:lnTo>
                      <a:pt x="5922" y="543"/>
                    </a:lnTo>
                    <a:lnTo>
                      <a:pt x="5915" y="569"/>
                    </a:lnTo>
                    <a:lnTo>
                      <a:pt x="5911" y="594"/>
                    </a:lnTo>
                    <a:lnTo>
                      <a:pt x="5906" y="618"/>
                    </a:lnTo>
                    <a:lnTo>
                      <a:pt x="5904" y="640"/>
                    </a:lnTo>
                    <a:lnTo>
                      <a:pt x="5902" y="661"/>
                    </a:lnTo>
                    <a:lnTo>
                      <a:pt x="5902" y="680"/>
                    </a:lnTo>
                    <a:lnTo>
                      <a:pt x="5902" y="947"/>
                    </a:lnTo>
                    <a:lnTo>
                      <a:pt x="5809" y="947"/>
                    </a:lnTo>
                    <a:lnTo>
                      <a:pt x="5809" y="586"/>
                    </a:lnTo>
                    <a:lnTo>
                      <a:pt x="5809" y="556"/>
                    </a:lnTo>
                    <a:lnTo>
                      <a:pt x="5809" y="522"/>
                    </a:lnTo>
                    <a:lnTo>
                      <a:pt x="5808" y="505"/>
                    </a:lnTo>
                    <a:lnTo>
                      <a:pt x="5807" y="486"/>
                    </a:lnTo>
                    <a:lnTo>
                      <a:pt x="5804" y="469"/>
                    </a:lnTo>
                    <a:lnTo>
                      <a:pt x="5801" y="453"/>
                    </a:lnTo>
                    <a:lnTo>
                      <a:pt x="5797" y="436"/>
                    </a:lnTo>
                    <a:lnTo>
                      <a:pt x="5790" y="422"/>
                    </a:lnTo>
                    <a:lnTo>
                      <a:pt x="5787" y="415"/>
                    </a:lnTo>
                    <a:lnTo>
                      <a:pt x="5783" y="408"/>
                    </a:lnTo>
                    <a:lnTo>
                      <a:pt x="5778" y="403"/>
                    </a:lnTo>
                    <a:lnTo>
                      <a:pt x="5773" y="397"/>
                    </a:lnTo>
                    <a:lnTo>
                      <a:pt x="5767" y="392"/>
                    </a:lnTo>
                    <a:lnTo>
                      <a:pt x="5762" y="388"/>
                    </a:lnTo>
                    <a:lnTo>
                      <a:pt x="5756" y="383"/>
                    </a:lnTo>
                    <a:lnTo>
                      <a:pt x="5748" y="380"/>
                    </a:lnTo>
                    <a:lnTo>
                      <a:pt x="5740" y="378"/>
                    </a:lnTo>
                    <a:lnTo>
                      <a:pt x="5732" y="376"/>
                    </a:lnTo>
                    <a:lnTo>
                      <a:pt x="5723" y="374"/>
                    </a:lnTo>
                    <a:lnTo>
                      <a:pt x="5713" y="374"/>
                    </a:lnTo>
                    <a:lnTo>
                      <a:pt x="5702" y="374"/>
                    </a:lnTo>
                    <a:lnTo>
                      <a:pt x="5691" y="377"/>
                    </a:lnTo>
                    <a:lnTo>
                      <a:pt x="5682" y="380"/>
                    </a:lnTo>
                    <a:lnTo>
                      <a:pt x="5672" y="383"/>
                    </a:lnTo>
                    <a:lnTo>
                      <a:pt x="5663" y="389"/>
                    </a:lnTo>
                    <a:lnTo>
                      <a:pt x="5654" y="395"/>
                    </a:lnTo>
                    <a:lnTo>
                      <a:pt x="5646" y="402"/>
                    </a:lnTo>
                    <a:lnTo>
                      <a:pt x="5637" y="409"/>
                    </a:lnTo>
                    <a:lnTo>
                      <a:pt x="5630" y="418"/>
                    </a:lnTo>
                    <a:lnTo>
                      <a:pt x="5623" y="427"/>
                    </a:lnTo>
                    <a:lnTo>
                      <a:pt x="5616" y="436"/>
                    </a:lnTo>
                    <a:lnTo>
                      <a:pt x="5609" y="447"/>
                    </a:lnTo>
                    <a:lnTo>
                      <a:pt x="5597" y="469"/>
                    </a:lnTo>
                    <a:lnTo>
                      <a:pt x="5587" y="493"/>
                    </a:lnTo>
                    <a:lnTo>
                      <a:pt x="5579" y="518"/>
                    </a:lnTo>
                    <a:lnTo>
                      <a:pt x="5571" y="543"/>
                    </a:lnTo>
                    <a:lnTo>
                      <a:pt x="5565" y="569"/>
                    </a:lnTo>
                    <a:lnTo>
                      <a:pt x="5559" y="594"/>
                    </a:lnTo>
                    <a:lnTo>
                      <a:pt x="5555" y="618"/>
                    </a:lnTo>
                    <a:lnTo>
                      <a:pt x="5553" y="640"/>
                    </a:lnTo>
                    <a:lnTo>
                      <a:pt x="5552" y="661"/>
                    </a:lnTo>
                    <a:lnTo>
                      <a:pt x="5550" y="680"/>
                    </a:lnTo>
                    <a:lnTo>
                      <a:pt x="5550" y="947"/>
                    </a:lnTo>
                    <a:lnTo>
                      <a:pt x="5457" y="947"/>
                    </a:lnTo>
                    <a:lnTo>
                      <a:pt x="5457" y="296"/>
                    </a:lnTo>
                    <a:lnTo>
                      <a:pt x="5550" y="296"/>
                    </a:lnTo>
                    <a:lnTo>
                      <a:pt x="5550" y="447"/>
                    </a:lnTo>
                    <a:lnTo>
                      <a:pt x="5554" y="447"/>
                    </a:lnTo>
                    <a:lnTo>
                      <a:pt x="5558" y="430"/>
                    </a:lnTo>
                    <a:lnTo>
                      <a:pt x="5565" y="412"/>
                    </a:lnTo>
                    <a:lnTo>
                      <a:pt x="5571" y="397"/>
                    </a:lnTo>
                    <a:lnTo>
                      <a:pt x="5578" y="382"/>
                    </a:lnTo>
                    <a:lnTo>
                      <a:pt x="5585" y="367"/>
                    </a:lnTo>
                    <a:lnTo>
                      <a:pt x="5594" y="354"/>
                    </a:lnTo>
                    <a:lnTo>
                      <a:pt x="5604" y="341"/>
                    </a:lnTo>
                    <a:lnTo>
                      <a:pt x="5614" y="329"/>
                    </a:lnTo>
                    <a:lnTo>
                      <a:pt x="5625" y="318"/>
                    </a:lnTo>
                    <a:lnTo>
                      <a:pt x="5637" y="309"/>
                    </a:lnTo>
                    <a:lnTo>
                      <a:pt x="5651" y="301"/>
                    </a:lnTo>
                    <a:lnTo>
                      <a:pt x="5665" y="294"/>
                    </a:lnTo>
                    <a:lnTo>
                      <a:pt x="5681" y="289"/>
                    </a:lnTo>
                    <a:lnTo>
                      <a:pt x="5698" y="284"/>
                    </a:lnTo>
                    <a:lnTo>
                      <a:pt x="5715" y="282"/>
                    </a:lnTo>
                    <a:lnTo>
                      <a:pt x="5735" y="281"/>
                    </a:lnTo>
                    <a:lnTo>
                      <a:pt x="5752" y="282"/>
                    </a:lnTo>
                    <a:lnTo>
                      <a:pt x="5770" y="283"/>
                    </a:lnTo>
                    <a:lnTo>
                      <a:pt x="5786" y="287"/>
                    </a:lnTo>
                    <a:lnTo>
                      <a:pt x="5801" y="291"/>
                    </a:lnTo>
                    <a:lnTo>
                      <a:pt x="5814" y="296"/>
                    </a:lnTo>
                    <a:lnTo>
                      <a:pt x="5828" y="303"/>
                    </a:lnTo>
                    <a:lnTo>
                      <a:pt x="5840" y="310"/>
                    </a:lnTo>
                    <a:lnTo>
                      <a:pt x="5851" y="319"/>
                    </a:lnTo>
                    <a:lnTo>
                      <a:pt x="5861" y="329"/>
                    </a:lnTo>
                    <a:lnTo>
                      <a:pt x="5869" y="341"/>
                    </a:lnTo>
                    <a:lnTo>
                      <a:pt x="5877" y="353"/>
                    </a:lnTo>
                    <a:lnTo>
                      <a:pt x="5885" y="366"/>
                    </a:lnTo>
                    <a:lnTo>
                      <a:pt x="5890" y="381"/>
                    </a:lnTo>
                    <a:lnTo>
                      <a:pt x="5894" y="396"/>
                    </a:lnTo>
                    <a:lnTo>
                      <a:pt x="5898" y="412"/>
                    </a:lnTo>
                    <a:lnTo>
                      <a:pt x="5899" y="430"/>
                    </a:lnTo>
                    <a:lnTo>
                      <a:pt x="5902" y="430"/>
                    </a:lnTo>
                    <a:lnTo>
                      <a:pt x="5907" y="415"/>
                    </a:lnTo>
                    <a:lnTo>
                      <a:pt x="5914" y="399"/>
                    </a:lnTo>
                    <a:lnTo>
                      <a:pt x="5922" y="385"/>
                    </a:lnTo>
                    <a:lnTo>
                      <a:pt x="5929" y="372"/>
                    </a:lnTo>
                    <a:lnTo>
                      <a:pt x="5938" y="359"/>
                    </a:lnTo>
                    <a:lnTo>
                      <a:pt x="5948" y="346"/>
                    </a:lnTo>
                    <a:lnTo>
                      <a:pt x="5958" y="335"/>
                    </a:lnTo>
                    <a:lnTo>
                      <a:pt x="5970" y="325"/>
                    </a:lnTo>
                    <a:lnTo>
                      <a:pt x="5982" y="315"/>
                    </a:lnTo>
                    <a:lnTo>
                      <a:pt x="5995" y="306"/>
                    </a:lnTo>
                    <a:lnTo>
                      <a:pt x="6008" y="298"/>
                    </a:lnTo>
                    <a:lnTo>
                      <a:pt x="6022" y="293"/>
                    </a:lnTo>
                    <a:lnTo>
                      <a:pt x="6038" y="288"/>
                    </a:lnTo>
                    <a:lnTo>
                      <a:pt x="6053" y="284"/>
                    </a:lnTo>
                    <a:lnTo>
                      <a:pt x="6069" y="282"/>
                    </a:lnTo>
                    <a:lnTo>
                      <a:pt x="6086" y="281"/>
                    </a:lnTo>
                    <a:lnTo>
                      <a:pt x="6097" y="281"/>
                    </a:lnTo>
                    <a:lnTo>
                      <a:pt x="6107" y="282"/>
                    </a:lnTo>
                    <a:lnTo>
                      <a:pt x="6117" y="283"/>
                    </a:lnTo>
                    <a:lnTo>
                      <a:pt x="6127" y="285"/>
                    </a:lnTo>
                    <a:lnTo>
                      <a:pt x="6135" y="288"/>
                    </a:lnTo>
                    <a:lnTo>
                      <a:pt x="6144" y="291"/>
                    </a:lnTo>
                    <a:lnTo>
                      <a:pt x="6153" y="294"/>
                    </a:lnTo>
                    <a:lnTo>
                      <a:pt x="6160" y="298"/>
                    </a:lnTo>
                    <a:lnTo>
                      <a:pt x="6175" y="307"/>
                    </a:lnTo>
                    <a:lnTo>
                      <a:pt x="6190" y="318"/>
                    </a:lnTo>
                    <a:lnTo>
                      <a:pt x="6201" y="330"/>
                    </a:lnTo>
                    <a:lnTo>
                      <a:pt x="6212" y="343"/>
                    </a:lnTo>
                    <a:lnTo>
                      <a:pt x="6222" y="358"/>
                    </a:lnTo>
                    <a:lnTo>
                      <a:pt x="6231" y="373"/>
                    </a:lnTo>
                    <a:lnTo>
                      <a:pt x="6237" y="391"/>
                    </a:lnTo>
                    <a:lnTo>
                      <a:pt x="6243" y="408"/>
                    </a:lnTo>
                    <a:lnTo>
                      <a:pt x="6247" y="426"/>
                    </a:lnTo>
                    <a:lnTo>
                      <a:pt x="6250" y="444"/>
                    </a:lnTo>
                    <a:lnTo>
                      <a:pt x="6252" y="464"/>
                    </a:lnTo>
                    <a:lnTo>
                      <a:pt x="6252" y="482"/>
                    </a:lnTo>
                    <a:lnTo>
                      <a:pt x="6252" y="947"/>
                    </a:lnTo>
                    <a:lnTo>
                      <a:pt x="6160" y="947"/>
                    </a:lnTo>
                    <a:close/>
                    <a:moveTo>
                      <a:pt x="5158" y="677"/>
                    </a:moveTo>
                    <a:lnTo>
                      <a:pt x="5158" y="947"/>
                    </a:lnTo>
                    <a:lnTo>
                      <a:pt x="5065" y="947"/>
                    </a:lnTo>
                    <a:lnTo>
                      <a:pt x="5065" y="296"/>
                    </a:lnTo>
                    <a:lnTo>
                      <a:pt x="5158" y="296"/>
                    </a:lnTo>
                    <a:lnTo>
                      <a:pt x="5158" y="422"/>
                    </a:lnTo>
                    <a:lnTo>
                      <a:pt x="5161" y="422"/>
                    </a:lnTo>
                    <a:lnTo>
                      <a:pt x="5168" y="405"/>
                    </a:lnTo>
                    <a:lnTo>
                      <a:pt x="5178" y="389"/>
                    </a:lnTo>
                    <a:lnTo>
                      <a:pt x="5187" y="374"/>
                    </a:lnTo>
                    <a:lnTo>
                      <a:pt x="5198" y="360"/>
                    </a:lnTo>
                    <a:lnTo>
                      <a:pt x="5209" y="347"/>
                    </a:lnTo>
                    <a:lnTo>
                      <a:pt x="5221" y="336"/>
                    </a:lnTo>
                    <a:lnTo>
                      <a:pt x="5233" y="326"/>
                    </a:lnTo>
                    <a:lnTo>
                      <a:pt x="5246" y="316"/>
                    </a:lnTo>
                    <a:lnTo>
                      <a:pt x="5260" y="308"/>
                    </a:lnTo>
                    <a:lnTo>
                      <a:pt x="5275" y="301"/>
                    </a:lnTo>
                    <a:lnTo>
                      <a:pt x="5290" y="295"/>
                    </a:lnTo>
                    <a:lnTo>
                      <a:pt x="5306" y="290"/>
                    </a:lnTo>
                    <a:lnTo>
                      <a:pt x="5323" y="287"/>
                    </a:lnTo>
                    <a:lnTo>
                      <a:pt x="5341" y="283"/>
                    </a:lnTo>
                    <a:lnTo>
                      <a:pt x="5359" y="282"/>
                    </a:lnTo>
                    <a:lnTo>
                      <a:pt x="5378" y="281"/>
                    </a:lnTo>
                    <a:lnTo>
                      <a:pt x="5378" y="381"/>
                    </a:lnTo>
                    <a:lnTo>
                      <a:pt x="5363" y="382"/>
                    </a:lnTo>
                    <a:lnTo>
                      <a:pt x="5348" y="383"/>
                    </a:lnTo>
                    <a:lnTo>
                      <a:pt x="5333" y="385"/>
                    </a:lnTo>
                    <a:lnTo>
                      <a:pt x="5320" y="389"/>
                    </a:lnTo>
                    <a:lnTo>
                      <a:pt x="5307" y="392"/>
                    </a:lnTo>
                    <a:lnTo>
                      <a:pt x="5295" y="396"/>
                    </a:lnTo>
                    <a:lnTo>
                      <a:pt x="5284" y="402"/>
                    </a:lnTo>
                    <a:lnTo>
                      <a:pt x="5273" y="407"/>
                    </a:lnTo>
                    <a:lnTo>
                      <a:pt x="5263" y="415"/>
                    </a:lnTo>
                    <a:lnTo>
                      <a:pt x="5253" y="421"/>
                    </a:lnTo>
                    <a:lnTo>
                      <a:pt x="5243" y="429"/>
                    </a:lnTo>
                    <a:lnTo>
                      <a:pt x="5235" y="437"/>
                    </a:lnTo>
                    <a:lnTo>
                      <a:pt x="5226" y="446"/>
                    </a:lnTo>
                    <a:lnTo>
                      <a:pt x="5218" y="456"/>
                    </a:lnTo>
                    <a:lnTo>
                      <a:pt x="5212" y="466"/>
                    </a:lnTo>
                    <a:lnTo>
                      <a:pt x="5205" y="477"/>
                    </a:lnTo>
                    <a:lnTo>
                      <a:pt x="5199" y="487"/>
                    </a:lnTo>
                    <a:lnTo>
                      <a:pt x="5193" y="498"/>
                    </a:lnTo>
                    <a:lnTo>
                      <a:pt x="5188" y="510"/>
                    </a:lnTo>
                    <a:lnTo>
                      <a:pt x="5184" y="521"/>
                    </a:lnTo>
                    <a:lnTo>
                      <a:pt x="5175" y="546"/>
                    </a:lnTo>
                    <a:lnTo>
                      <a:pt x="5168" y="571"/>
                    </a:lnTo>
                    <a:lnTo>
                      <a:pt x="5164" y="598"/>
                    </a:lnTo>
                    <a:lnTo>
                      <a:pt x="5161" y="624"/>
                    </a:lnTo>
                    <a:lnTo>
                      <a:pt x="5159" y="651"/>
                    </a:lnTo>
                    <a:lnTo>
                      <a:pt x="5158" y="677"/>
                    </a:lnTo>
                    <a:close/>
                    <a:moveTo>
                      <a:pt x="4683" y="359"/>
                    </a:moveTo>
                    <a:lnTo>
                      <a:pt x="4672" y="359"/>
                    </a:lnTo>
                    <a:lnTo>
                      <a:pt x="4660" y="361"/>
                    </a:lnTo>
                    <a:lnTo>
                      <a:pt x="4649" y="364"/>
                    </a:lnTo>
                    <a:lnTo>
                      <a:pt x="4638" y="367"/>
                    </a:lnTo>
                    <a:lnTo>
                      <a:pt x="4628" y="370"/>
                    </a:lnTo>
                    <a:lnTo>
                      <a:pt x="4619" y="374"/>
                    </a:lnTo>
                    <a:lnTo>
                      <a:pt x="4610" y="380"/>
                    </a:lnTo>
                    <a:lnTo>
                      <a:pt x="4602" y="385"/>
                    </a:lnTo>
                    <a:lnTo>
                      <a:pt x="4594" y="392"/>
                    </a:lnTo>
                    <a:lnTo>
                      <a:pt x="4587" y="399"/>
                    </a:lnTo>
                    <a:lnTo>
                      <a:pt x="4580" y="407"/>
                    </a:lnTo>
                    <a:lnTo>
                      <a:pt x="4574" y="415"/>
                    </a:lnTo>
                    <a:lnTo>
                      <a:pt x="4568" y="423"/>
                    </a:lnTo>
                    <a:lnTo>
                      <a:pt x="4563" y="432"/>
                    </a:lnTo>
                    <a:lnTo>
                      <a:pt x="4559" y="442"/>
                    </a:lnTo>
                    <a:lnTo>
                      <a:pt x="4554" y="452"/>
                    </a:lnTo>
                    <a:lnTo>
                      <a:pt x="4546" y="472"/>
                    </a:lnTo>
                    <a:lnTo>
                      <a:pt x="4540" y="493"/>
                    </a:lnTo>
                    <a:lnTo>
                      <a:pt x="4535" y="515"/>
                    </a:lnTo>
                    <a:lnTo>
                      <a:pt x="4532" y="537"/>
                    </a:lnTo>
                    <a:lnTo>
                      <a:pt x="4528" y="559"/>
                    </a:lnTo>
                    <a:lnTo>
                      <a:pt x="4526" y="581"/>
                    </a:lnTo>
                    <a:lnTo>
                      <a:pt x="4525" y="601"/>
                    </a:lnTo>
                    <a:lnTo>
                      <a:pt x="4525" y="622"/>
                    </a:lnTo>
                    <a:lnTo>
                      <a:pt x="4525" y="642"/>
                    </a:lnTo>
                    <a:lnTo>
                      <a:pt x="4526" y="663"/>
                    </a:lnTo>
                    <a:lnTo>
                      <a:pt x="4528" y="685"/>
                    </a:lnTo>
                    <a:lnTo>
                      <a:pt x="4532" y="707"/>
                    </a:lnTo>
                    <a:lnTo>
                      <a:pt x="4535" y="728"/>
                    </a:lnTo>
                    <a:lnTo>
                      <a:pt x="4540" y="750"/>
                    </a:lnTo>
                    <a:lnTo>
                      <a:pt x="4546" y="772"/>
                    </a:lnTo>
                    <a:lnTo>
                      <a:pt x="4554" y="793"/>
                    </a:lnTo>
                    <a:lnTo>
                      <a:pt x="4559" y="802"/>
                    </a:lnTo>
                    <a:lnTo>
                      <a:pt x="4563" y="811"/>
                    </a:lnTo>
                    <a:lnTo>
                      <a:pt x="4568" y="820"/>
                    </a:lnTo>
                    <a:lnTo>
                      <a:pt x="4574" y="828"/>
                    </a:lnTo>
                    <a:lnTo>
                      <a:pt x="4580" y="837"/>
                    </a:lnTo>
                    <a:lnTo>
                      <a:pt x="4587" y="845"/>
                    </a:lnTo>
                    <a:lnTo>
                      <a:pt x="4594" y="851"/>
                    </a:lnTo>
                    <a:lnTo>
                      <a:pt x="4602" y="858"/>
                    </a:lnTo>
                    <a:lnTo>
                      <a:pt x="4610" y="864"/>
                    </a:lnTo>
                    <a:lnTo>
                      <a:pt x="4619" y="869"/>
                    </a:lnTo>
                    <a:lnTo>
                      <a:pt x="4628" y="874"/>
                    </a:lnTo>
                    <a:lnTo>
                      <a:pt x="4638" y="877"/>
                    </a:lnTo>
                    <a:lnTo>
                      <a:pt x="4649" y="880"/>
                    </a:lnTo>
                    <a:lnTo>
                      <a:pt x="4660" y="883"/>
                    </a:lnTo>
                    <a:lnTo>
                      <a:pt x="4672" y="884"/>
                    </a:lnTo>
                    <a:lnTo>
                      <a:pt x="4683" y="885"/>
                    </a:lnTo>
                    <a:lnTo>
                      <a:pt x="4696" y="884"/>
                    </a:lnTo>
                    <a:lnTo>
                      <a:pt x="4708" y="883"/>
                    </a:lnTo>
                    <a:lnTo>
                      <a:pt x="4719" y="880"/>
                    </a:lnTo>
                    <a:lnTo>
                      <a:pt x="4730" y="877"/>
                    </a:lnTo>
                    <a:lnTo>
                      <a:pt x="4740" y="874"/>
                    </a:lnTo>
                    <a:lnTo>
                      <a:pt x="4750" y="870"/>
                    </a:lnTo>
                    <a:lnTo>
                      <a:pt x="4758" y="864"/>
                    </a:lnTo>
                    <a:lnTo>
                      <a:pt x="4767" y="858"/>
                    </a:lnTo>
                    <a:lnTo>
                      <a:pt x="4775" y="852"/>
                    </a:lnTo>
                    <a:lnTo>
                      <a:pt x="4782" y="845"/>
                    </a:lnTo>
                    <a:lnTo>
                      <a:pt x="4789" y="837"/>
                    </a:lnTo>
                    <a:lnTo>
                      <a:pt x="4795" y="829"/>
                    </a:lnTo>
                    <a:lnTo>
                      <a:pt x="4801" y="821"/>
                    </a:lnTo>
                    <a:lnTo>
                      <a:pt x="4806" y="812"/>
                    </a:lnTo>
                    <a:lnTo>
                      <a:pt x="4812" y="802"/>
                    </a:lnTo>
                    <a:lnTo>
                      <a:pt x="4816" y="793"/>
                    </a:lnTo>
                    <a:lnTo>
                      <a:pt x="4823" y="772"/>
                    </a:lnTo>
                    <a:lnTo>
                      <a:pt x="4830" y="751"/>
                    </a:lnTo>
                    <a:lnTo>
                      <a:pt x="4835" y="730"/>
                    </a:lnTo>
                    <a:lnTo>
                      <a:pt x="4839" y="707"/>
                    </a:lnTo>
                    <a:lnTo>
                      <a:pt x="4842" y="685"/>
                    </a:lnTo>
                    <a:lnTo>
                      <a:pt x="4844" y="663"/>
                    </a:lnTo>
                    <a:lnTo>
                      <a:pt x="4845" y="642"/>
                    </a:lnTo>
                    <a:lnTo>
                      <a:pt x="4845" y="622"/>
                    </a:lnTo>
                    <a:lnTo>
                      <a:pt x="4845" y="601"/>
                    </a:lnTo>
                    <a:lnTo>
                      <a:pt x="4844" y="581"/>
                    </a:lnTo>
                    <a:lnTo>
                      <a:pt x="4842" y="558"/>
                    </a:lnTo>
                    <a:lnTo>
                      <a:pt x="4839" y="536"/>
                    </a:lnTo>
                    <a:lnTo>
                      <a:pt x="4835" y="515"/>
                    </a:lnTo>
                    <a:lnTo>
                      <a:pt x="4830" y="493"/>
                    </a:lnTo>
                    <a:lnTo>
                      <a:pt x="4823" y="471"/>
                    </a:lnTo>
                    <a:lnTo>
                      <a:pt x="4815" y="452"/>
                    </a:lnTo>
                    <a:lnTo>
                      <a:pt x="4810" y="442"/>
                    </a:lnTo>
                    <a:lnTo>
                      <a:pt x="4805" y="432"/>
                    </a:lnTo>
                    <a:lnTo>
                      <a:pt x="4800" y="423"/>
                    </a:lnTo>
                    <a:lnTo>
                      <a:pt x="4794" y="415"/>
                    </a:lnTo>
                    <a:lnTo>
                      <a:pt x="4788" y="407"/>
                    </a:lnTo>
                    <a:lnTo>
                      <a:pt x="4781" y="399"/>
                    </a:lnTo>
                    <a:lnTo>
                      <a:pt x="4774" y="392"/>
                    </a:lnTo>
                    <a:lnTo>
                      <a:pt x="4766" y="385"/>
                    </a:lnTo>
                    <a:lnTo>
                      <a:pt x="4757" y="380"/>
                    </a:lnTo>
                    <a:lnTo>
                      <a:pt x="4749" y="374"/>
                    </a:lnTo>
                    <a:lnTo>
                      <a:pt x="4740" y="370"/>
                    </a:lnTo>
                    <a:lnTo>
                      <a:pt x="4729" y="366"/>
                    </a:lnTo>
                    <a:lnTo>
                      <a:pt x="4719" y="364"/>
                    </a:lnTo>
                    <a:lnTo>
                      <a:pt x="4707" y="361"/>
                    </a:lnTo>
                    <a:lnTo>
                      <a:pt x="4696" y="359"/>
                    </a:lnTo>
                    <a:lnTo>
                      <a:pt x="4683" y="359"/>
                    </a:lnTo>
                    <a:close/>
                    <a:moveTo>
                      <a:pt x="4683" y="962"/>
                    </a:moveTo>
                    <a:lnTo>
                      <a:pt x="4665" y="962"/>
                    </a:lnTo>
                    <a:lnTo>
                      <a:pt x="4648" y="961"/>
                    </a:lnTo>
                    <a:lnTo>
                      <a:pt x="4630" y="958"/>
                    </a:lnTo>
                    <a:lnTo>
                      <a:pt x="4615" y="955"/>
                    </a:lnTo>
                    <a:lnTo>
                      <a:pt x="4599" y="951"/>
                    </a:lnTo>
                    <a:lnTo>
                      <a:pt x="4585" y="946"/>
                    </a:lnTo>
                    <a:lnTo>
                      <a:pt x="4571" y="940"/>
                    </a:lnTo>
                    <a:lnTo>
                      <a:pt x="4558" y="934"/>
                    </a:lnTo>
                    <a:lnTo>
                      <a:pt x="4545" y="927"/>
                    </a:lnTo>
                    <a:lnTo>
                      <a:pt x="4534" y="918"/>
                    </a:lnTo>
                    <a:lnTo>
                      <a:pt x="4522" y="910"/>
                    </a:lnTo>
                    <a:lnTo>
                      <a:pt x="4512" y="901"/>
                    </a:lnTo>
                    <a:lnTo>
                      <a:pt x="4502" y="891"/>
                    </a:lnTo>
                    <a:lnTo>
                      <a:pt x="4493" y="880"/>
                    </a:lnTo>
                    <a:lnTo>
                      <a:pt x="4484" y="870"/>
                    </a:lnTo>
                    <a:lnTo>
                      <a:pt x="4476" y="859"/>
                    </a:lnTo>
                    <a:lnTo>
                      <a:pt x="4469" y="847"/>
                    </a:lnTo>
                    <a:lnTo>
                      <a:pt x="4462" y="834"/>
                    </a:lnTo>
                    <a:lnTo>
                      <a:pt x="4456" y="821"/>
                    </a:lnTo>
                    <a:lnTo>
                      <a:pt x="4449" y="808"/>
                    </a:lnTo>
                    <a:lnTo>
                      <a:pt x="4445" y="794"/>
                    </a:lnTo>
                    <a:lnTo>
                      <a:pt x="4439" y="779"/>
                    </a:lnTo>
                    <a:lnTo>
                      <a:pt x="4435" y="764"/>
                    </a:lnTo>
                    <a:lnTo>
                      <a:pt x="4432" y="750"/>
                    </a:lnTo>
                    <a:lnTo>
                      <a:pt x="4426" y="720"/>
                    </a:lnTo>
                    <a:lnTo>
                      <a:pt x="4422" y="688"/>
                    </a:lnTo>
                    <a:lnTo>
                      <a:pt x="4420" y="656"/>
                    </a:lnTo>
                    <a:lnTo>
                      <a:pt x="4419" y="623"/>
                    </a:lnTo>
                    <a:lnTo>
                      <a:pt x="4420" y="591"/>
                    </a:lnTo>
                    <a:lnTo>
                      <a:pt x="4422" y="558"/>
                    </a:lnTo>
                    <a:lnTo>
                      <a:pt x="4426" y="526"/>
                    </a:lnTo>
                    <a:lnTo>
                      <a:pt x="4432" y="496"/>
                    </a:lnTo>
                    <a:lnTo>
                      <a:pt x="4435" y="481"/>
                    </a:lnTo>
                    <a:lnTo>
                      <a:pt x="4439" y="467"/>
                    </a:lnTo>
                    <a:lnTo>
                      <a:pt x="4445" y="452"/>
                    </a:lnTo>
                    <a:lnTo>
                      <a:pt x="4449" y="439"/>
                    </a:lnTo>
                    <a:lnTo>
                      <a:pt x="4456" y="424"/>
                    </a:lnTo>
                    <a:lnTo>
                      <a:pt x="4462" y="411"/>
                    </a:lnTo>
                    <a:lnTo>
                      <a:pt x="4469" y="398"/>
                    </a:lnTo>
                    <a:lnTo>
                      <a:pt x="4476" y="386"/>
                    </a:lnTo>
                    <a:lnTo>
                      <a:pt x="4484" y="374"/>
                    </a:lnTo>
                    <a:lnTo>
                      <a:pt x="4493" y="364"/>
                    </a:lnTo>
                    <a:lnTo>
                      <a:pt x="4502" y="353"/>
                    </a:lnTo>
                    <a:lnTo>
                      <a:pt x="4512" y="343"/>
                    </a:lnTo>
                    <a:lnTo>
                      <a:pt x="4522" y="334"/>
                    </a:lnTo>
                    <a:lnTo>
                      <a:pt x="4534" y="326"/>
                    </a:lnTo>
                    <a:lnTo>
                      <a:pt x="4545" y="317"/>
                    </a:lnTo>
                    <a:lnTo>
                      <a:pt x="4558" y="310"/>
                    </a:lnTo>
                    <a:lnTo>
                      <a:pt x="4571" y="304"/>
                    </a:lnTo>
                    <a:lnTo>
                      <a:pt x="4585" y="297"/>
                    </a:lnTo>
                    <a:lnTo>
                      <a:pt x="4599" y="293"/>
                    </a:lnTo>
                    <a:lnTo>
                      <a:pt x="4615" y="289"/>
                    </a:lnTo>
                    <a:lnTo>
                      <a:pt x="4630" y="285"/>
                    </a:lnTo>
                    <a:lnTo>
                      <a:pt x="4648" y="283"/>
                    </a:lnTo>
                    <a:lnTo>
                      <a:pt x="4665" y="282"/>
                    </a:lnTo>
                    <a:lnTo>
                      <a:pt x="4683" y="281"/>
                    </a:lnTo>
                    <a:lnTo>
                      <a:pt x="4702" y="282"/>
                    </a:lnTo>
                    <a:lnTo>
                      <a:pt x="4720" y="283"/>
                    </a:lnTo>
                    <a:lnTo>
                      <a:pt x="4737" y="285"/>
                    </a:lnTo>
                    <a:lnTo>
                      <a:pt x="4753" y="289"/>
                    </a:lnTo>
                    <a:lnTo>
                      <a:pt x="4769" y="293"/>
                    </a:lnTo>
                    <a:lnTo>
                      <a:pt x="4783" y="297"/>
                    </a:lnTo>
                    <a:lnTo>
                      <a:pt x="4797" y="304"/>
                    </a:lnTo>
                    <a:lnTo>
                      <a:pt x="4810" y="309"/>
                    </a:lnTo>
                    <a:lnTo>
                      <a:pt x="4823" y="317"/>
                    </a:lnTo>
                    <a:lnTo>
                      <a:pt x="4835" y="325"/>
                    </a:lnTo>
                    <a:lnTo>
                      <a:pt x="4846" y="333"/>
                    </a:lnTo>
                    <a:lnTo>
                      <a:pt x="4857" y="343"/>
                    </a:lnTo>
                    <a:lnTo>
                      <a:pt x="4867" y="353"/>
                    </a:lnTo>
                    <a:lnTo>
                      <a:pt x="4877" y="364"/>
                    </a:lnTo>
                    <a:lnTo>
                      <a:pt x="4885" y="374"/>
                    </a:lnTo>
                    <a:lnTo>
                      <a:pt x="4894" y="386"/>
                    </a:lnTo>
                    <a:lnTo>
                      <a:pt x="4902" y="398"/>
                    </a:lnTo>
                    <a:lnTo>
                      <a:pt x="4908" y="410"/>
                    </a:lnTo>
                    <a:lnTo>
                      <a:pt x="4915" y="424"/>
                    </a:lnTo>
                    <a:lnTo>
                      <a:pt x="4920" y="437"/>
                    </a:lnTo>
                    <a:lnTo>
                      <a:pt x="4925" y="452"/>
                    </a:lnTo>
                    <a:lnTo>
                      <a:pt x="4930" y="466"/>
                    </a:lnTo>
                    <a:lnTo>
                      <a:pt x="4934" y="481"/>
                    </a:lnTo>
                    <a:lnTo>
                      <a:pt x="4938" y="495"/>
                    </a:lnTo>
                    <a:lnTo>
                      <a:pt x="4944" y="526"/>
                    </a:lnTo>
                    <a:lnTo>
                      <a:pt x="4948" y="558"/>
                    </a:lnTo>
                    <a:lnTo>
                      <a:pt x="4950" y="591"/>
                    </a:lnTo>
                    <a:lnTo>
                      <a:pt x="4951" y="623"/>
                    </a:lnTo>
                    <a:lnTo>
                      <a:pt x="4950" y="656"/>
                    </a:lnTo>
                    <a:lnTo>
                      <a:pt x="4948" y="688"/>
                    </a:lnTo>
                    <a:lnTo>
                      <a:pt x="4944" y="720"/>
                    </a:lnTo>
                    <a:lnTo>
                      <a:pt x="4938" y="750"/>
                    </a:lnTo>
                    <a:lnTo>
                      <a:pt x="4934" y="765"/>
                    </a:lnTo>
                    <a:lnTo>
                      <a:pt x="4930" y="779"/>
                    </a:lnTo>
                    <a:lnTo>
                      <a:pt x="4925" y="794"/>
                    </a:lnTo>
                    <a:lnTo>
                      <a:pt x="4920" y="808"/>
                    </a:lnTo>
                    <a:lnTo>
                      <a:pt x="4915" y="822"/>
                    </a:lnTo>
                    <a:lnTo>
                      <a:pt x="4908" y="834"/>
                    </a:lnTo>
                    <a:lnTo>
                      <a:pt x="4902" y="847"/>
                    </a:lnTo>
                    <a:lnTo>
                      <a:pt x="4894" y="859"/>
                    </a:lnTo>
                    <a:lnTo>
                      <a:pt x="4885" y="871"/>
                    </a:lnTo>
                    <a:lnTo>
                      <a:pt x="4877" y="882"/>
                    </a:lnTo>
                    <a:lnTo>
                      <a:pt x="4867" y="891"/>
                    </a:lnTo>
                    <a:lnTo>
                      <a:pt x="4857" y="901"/>
                    </a:lnTo>
                    <a:lnTo>
                      <a:pt x="4846" y="911"/>
                    </a:lnTo>
                    <a:lnTo>
                      <a:pt x="4835" y="920"/>
                    </a:lnTo>
                    <a:lnTo>
                      <a:pt x="4823" y="927"/>
                    </a:lnTo>
                    <a:lnTo>
                      <a:pt x="4810" y="934"/>
                    </a:lnTo>
                    <a:lnTo>
                      <a:pt x="4797" y="940"/>
                    </a:lnTo>
                    <a:lnTo>
                      <a:pt x="4783" y="946"/>
                    </a:lnTo>
                    <a:lnTo>
                      <a:pt x="4769" y="951"/>
                    </a:lnTo>
                    <a:lnTo>
                      <a:pt x="4753" y="955"/>
                    </a:lnTo>
                    <a:lnTo>
                      <a:pt x="4737" y="958"/>
                    </a:lnTo>
                    <a:lnTo>
                      <a:pt x="4720" y="961"/>
                    </a:lnTo>
                    <a:lnTo>
                      <a:pt x="4702" y="962"/>
                    </a:lnTo>
                    <a:lnTo>
                      <a:pt x="4683" y="962"/>
                    </a:lnTo>
                    <a:close/>
                    <a:moveTo>
                      <a:pt x="4340" y="77"/>
                    </a:moveTo>
                    <a:lnTo>
                      <a:pt x="4325" y="78"/>
                    </a:lnTo>
                    <a:lnTo>
                      <a:pt x="4313" y="79"/>
                    </a:lnTo>
                    <a:lnTo>
                      <a:pt x="4302" y="80"/>
                    </a:lnTo>
                    <a:lnTo>
                      <a:pt x="4291" y="82"/>
                    </a:lnTo>
                    <a:lnTo>
                      <a:pt x="4281" y="85"/>
                    </a:lnTo>
                    <a:lnTo>
                      <a:pt x="4272" y="88"/>
                    </a:lnTo>
                    <a:lnTo>
                      <a:pt x="4264" y="92"/>
                    </a:lnTo>
                    <a:lnTo>
                      <a:pt x="4256" y="95"/>
                    </a:lnTo>
                    <a:lnTo>
                      <a:pt x="4248" y="101"/>
                    </a:lnTo>
                    <a:lnTo>
                      <a:pt x="4242" y="105"/>
                    </a:lnTo>
                    <a:lnTo>
                      <a:pt x="4236" y="112"/>
                    </a:lnTo>
                    <a:lnTo>
                      <a:pt x="4231" y="117"/>
                    </a:lnTo>
                    <a:lnTo>
                      <a:pt x="4227" y="124"/>
                    </a:lnTo>
                    <a:lnTo>
                      <a:pt x="4222" y="130"/>
                    </a:lnTo>
                    <a:lnTo>
                      <a:pt x="4219" y="138"/>
                    </a:lnTo>
                    <a:lnTo>
                      <a:pt x="4216" y="145"/>
                    </a:lnTo>
                    <a:lnTo>
                      <a:pt x="4210" y="161"/>
                    </a:lnTo>
                    <a:lnTo>
                      <a:pt x="4207" y="178"/>
                    </a:lnTo>
                    <a:lnTo>
                      <a:pt x="4205" y="196"/>
                    </a:lnTo>
                    <a:lnTo>
                      <a:pt x="4203" y="215"/>
                    </a:lnTo>
                    <a:lnTo>
                      <a:pt x="4203" y="255"/>
                    </a:lnTo>
                    <a:lnTo>
                      <a:pt x="4203" y="296"/>
                    </a:lnTo>
                    <a:lnTo>
                      <a:pt x="4389" y="296"/>
                    </a:lnTo>
                    <a:lnTo>
                      <a:pt x="4389" y="374"/>
                    </a:lnTo>
                    <a:lnTo>
                      <a:pt x="4203" y="374"/>
                    </a:lnTo>
                    <a:lnTo>
                      <a:pt x="4203" y="947"/>
                    </a:lnTo>
                    <a:lnTo>
                      <a:pt x="4109" y="947"/>
                    </a:lnTo>
                    <a:lnTo>
                      <a:pt x="4109" y="374"/>
                    </a:lnTo>
                    <a:lnTo>
                      <a:pt x="4001" y="374"/>
                    </a:lnTo>
                    <a:lnTo>
                      <a:pt x="4001" y="296"/>
                    </a:lnTo>
                    <a:lnTo>
                      <a:pt x="4109" y="296"/>
                    </a:lnTo>
                    <a:lnTo>
                      <a:pt x="4109" y="206"/>
                    </a:lnTo>
                    <a:lnTo>
                      <a:pt x="4111" y="181"/>
                    </a:lnTo>
                    <a:lnTo>
                      <a:pt x="4114" y="158"/>
                    </a:lnTo>
                    <a:lnTo>
                      <a:pt x="4118" y="137"/>
                    </a:lnTo>
                    <a:lnTo>
                      <a:pt x="4124" y="117"/>
                    </a:lnTo>
                    <a:lnTo>
                      <a:pt x="4128" y="107"/>
                    </a:lnTo>
                    <a:lnTo>
                      <a:pt x="4132" y="99"/>
                    </a:lnTo>
                    <a:lnTo>
                      <a:pt x="4137" y="90"/>
                    </a:lnTo>
                    <a:lnTo>
                      <a:pt x="4142" y="81"/>
                    </a:lnTo>
                    <a:lnTo>
                      <a:pt x="4147" y="74"/>
                    </a:lnTo>
                    <a:lnTo>
                      <a:pt x="4153" y="66"/>
                    </a:lnTo>
                    <a:lnTo>
                      <a:pt x="4159" y="59"/>
                    </a:lnTo>
                    <a:lnTo>
                      <a:pt x="4166" y="52"/>
                    </a:lnTo>
                    <a:lnTo>
                      <a:pt x="4172" y="45"/>
                    </a:lnTo>
                    <a:lnTo>
                      <a:pt x="4180" y="40"/>
                    </a:lnTo>
                    <a:lnTo>
                      <a:pt x="4188" y="35"/>
                    </a:lnTo>
                    <a:lnTo>
                      <a:pt x="4196" y="29"/>
                    </a:lnTo>
                    <a:lnTo>
                      <a:pt x="4214" y="21"/>
                    </a:lnTo>
                    <a:lnTo>
                      <a:pt x="4232" y="13"/>
                    </a:lnTo>
                    <a:lnTo>
                      <a:pt x="4253" y="7"/>
                    </a:lnTo>
                    <a:lnTo>
                      <a:pt x="4275" y="3"/>
                    </a:lnTo>
                    <a:lnTo>
                      <a:pt x="4298" y="1"/>
                    </a:lnTo>
                    <a:lnTo>
                      <a:pt x="4323" y="0"/>
                    </a:lnTo>
                    <a:lnTo>
                      <a:pt x="4350" y="1"/>
                    </a:lnTo>
                    <a:lnTo>
                      <a:pt x="4379" y="3"/>
                    </a:lnTo>
                    <a:lnTo>
                      <a:pt x="4406" y="6"/>
                    </a:lnTo>
                    <a:lnTo>
                      <a:pt x="4434" y="12"/>
                    </a:lnTo>
                    <a:lnTo>
                      <a:pt x="4434" y="95"/>
                    </a:lnTo>
                    <a:lnTo>
                      <a:pt x="4410" y="88"/>
                    </a:lnTo>
                    <a:lnTo>
                      <a:pt x="4387" y="82"/>
                    </a:lnTo>
                    <a:lnTo>
                      <a:pt x="4375" y="80"/>
                    </a:lnTo>
                    <a:lnTo>
                      <a:pt x="4363" y="79"/>
                    </a:lnTo>
                    <a:lnTo>
                      <a:pt x="4351" y="78"/>
                    </a:lnTo>
                    <a:lnTo>
                      <a:pt x="4340" y="77"/>
                    </a:lnTo>
                    <a:close/>
                    <a:moveTo>
                      <a:pt x="3709" y="677"/>
                    </a:moveTo>
                    <a:lnTo>
                      <a:pt x="3709" y="947"/>
                    </a:lnTo>
                    <a:lnTo>
                      <a:pt x="3617" y="947"/>
                    </a:lnTo>
                    <a:lnTo>
                      <a:pt x="3617" y="296"/>
                    </a:lnTo>
                    <a:lnTo>
                      <a:pt x="3709" y="296"/>
                    </a:lnTo>
                    <a:lnTo>
                      <a:pt x="3709" y="422"/>
                    </a:lnTo>
                    <a:lnTo>
                      <a:pt x="3712" y="422"/>
                    </a:lnTo>
                    <a:lnTo>
                      <a:pt x="3720" y="405"/>
                    </a:lnTo>
                    <a:lnTo>
                      <a:pt x="3729" y="389"/>
                    </a:lnTo>
                    <a:lnTo>
                      <a:pt x="3738" y="374"/>
                    </a:lnTo>
                    <a:lnTo>
                      <a:pt x="3748" y="360"/>
                    </a:lnTo>
                    <a:lnTo>
                      <a:pt x="3760" y="347"/>
                    </a:lnTo>
                    <a:lnTo>
                      <a:pt x="3771" y="336"/>
                    </a:lnTo>
                    <a:lnTo>
                      <a:pt x="3784" y="326"/>
                    </a:lnTo>
                    <a:lnTo>
                      <a:pt x="3797" y="316"/>
                    </a:lnTo>
                    <a:lnTo>
                      <a:pt x="3811" y="308"/>
                    </a:lnTo>
                    <a:lnTo>
                      <a:pt x="3825" y="301"/>
                    </a:lnTo>
                    <a:lnTo>
                      <a:pt x="3841" y="295"/>
                    </a:lnTo>
                    <a:lnTo>
                      <a:pt x="3858" y="290"/>
                    </a:lnTo>
                    <a:lnTo>
                      <a:pt x="3874" y="287"/>
                    </a:lnTo>
                    <a:lnTo>
                      <a:pt x="3891" y="283"/>
                    </a:lnTo>
                    <a:lnTo>
                      <a:pt x="3910" y="282"/>
                    </a:lnTo>
                    <a:lnTo>
                      <a:pt x="3929" y="281"/>
                    </a:lnTo>
                    <a:lnTo>
                      <a:pt x="3929" y="381"/>
                    </a:lnTo>
                    <a:lnTo>
                      <a:pt x="3914" y="382"/>
                    </a:lnTo>
                    <a:lnTo>
                      <a:pt x="3899" y="383"/>
                    </a:lnTo>
                    <a:lnTo>
                      <a:pt x="3885" y="385"/>
                    </a:lnTo>
                    <a:lnTo>
                      <a:pt x="3872" y="389"/>
                    </a:lnTo>
                    <a:lnTo>
                      <a:pt x="3859" y="392"/>
                    </a:lnTo>
                    <a:lnTo>
                      <a:pt x="3847" y="396"/>
                    </a:lnTo>
                    <a:lnTo>
                      <a:pt x="3835" y="402"/>
                    </a:lnTo>
                    <a:lnTo>
                      <a:pt x="3824" y="407"/>
                    </a:lnTo>
                    <a:lnTo>
                      <a:pt x="3813" y="415"/>
                    </a:lnTo>
                    <a:lnTo>
                      <a:pt x="3803" y="421"/>
                    </a:lnTo>
                    <a:lnTo>
                      <a:pt x="3795" y="429"/>
                    </a:lnTo>
                    <a:lnTo>
                      <a:pt x="3786" y="437"/>
                    </a:lnTo>
                    <a:lnTo>
                      <a:pt x="3777" y="446"/>
                    </a:lnTo>
                    <a:lnTo>
                      <a:pt x="3770" y="456"/>
                    </a:lnTo>
                    <a:lnTo>
                      <a:pt x="3763" y="466"/>
                    </a:lnTo>
                    <a:lnTo>
                      <a:pt x="3757" y="477"/>
                    </a:lnTo>
                    <a:lnTo>
                      <a:pt x="3750" y="487"/>
                    </a:lnTo>
                    <a:lnTo>
                      <a:pt x="3745" y="498"/>
                    </a:lnTo>
                    <a:lnTo>
                      <a:pt x="3739" y="510"/>
                    </a:lnTo>
                    <a:lnTo>
                      <a:pt x="3735" y="521"/>
                    </a:lnTo>
                    <a:lnTo>
                      <a:pt x="3726" y="546"/>
                    </a:lnTo>
                    <a:lnTo>
                      <a:pt x="3720" y="571"/>
                    </a:lnTo>
                    <a:lnTo>
                      <a:pt x="3716" y="598"/>
                    </a:lnTo>
                    <a:lnTo>
                      <a:pt x="3712" y="624"/>
                    </a:lnTo>
                    <a:lnTo>
                      <a:pt x="3710" y="651"/>
                    </a:lnTo>
                    <a:lnTo>
                      <a:pt x="3709" y="677"/>
                    </a:lnTo>
                    <a:close/>
                    <a:moveTo>
                      <a:pt x="3274" y="359"/>
                    </a:moveTo>
                    <a:lnTo>
                      <a:pt x="3260" y="360"/>
                    </a:lnTo>
                    <a:lnTo>
                      <a:pt x="3246" y="361"/>
                    </a:lnTo>
                    <a:lnTo>
                      <a:pt x="3234" y="365"/>
                    </a:lnTo>
                    <a:lnTo>
                      <a:pt x="3222" y="369"/>
                    </a:lnTo>
                    <a:lnTo>
                      <a:pt x="3211" y="373"/>
                    </a:lnTo>
                    <a:lnTo>
                      <a:pt x="3200" y="380"/>
                    </a:lnTo>
                    <a:lnTo>
                      <a:pt x="3190" y="386"/>
                    </a:lnTo>
                    <a:lnTo>
                      <a:pt x="3182" y="394"/>
                    </a:lnTo>
                    <a:lnTo>
                      <a:pt x="3173" y="403"/>
                    </a:lnTo>
                    <a:lnTo>
                      <a:pt x="3165" y="412"/>
                    </a:lnTo>
                    <a:lnTo>
                      <a:pt x="3159" y="422"/>
                    </a:lnTo>
                    <a:lnTo>
                      <a:pt x="3154" y="433"/>
                    </a:lnTo>
                    <a:lnTo>
                      <a:pt x="3148" y="445"/>
                    </a:lnTo>
                    <a:lnTo>
                      <a:pt x="3144" y="457"/>
                    </a:lnTo>
                    <a:lnTo>
                      <a:pt x="3139" y="469"/>
                    </a:lnTo>
                    <a:lnTo>
                      <a:pt x="3137" y="482"/>
                    </a:lnTo>
                    <a:lnTo>
                      <a:pt x="3398" y="482"/>
                    </a:lnTo>
                    <a:lnTo>
                      <a:pt x="3398" y="469"/>
                    </a:lnTo>
                    <a:lnTo>
                      <a:pt x="3396" y="457"/>
                    </a:lnTo>
                    <a:lnTo>
                      <a:pt x="3392" y="445"/>
                    </a:lnTo>
                    <a:lnTo>
                      <a:pt x="3389" y="433"/>
                    </a:lnTo>
                    <a:lnTo>
                      <a:pt x="3384" y="422"/>
                    </a:lnTo>
                    <a:lnTo>
                      <a:pt x="3377" y="412"/>
                    </a:lnTo>
                    <a:lnTo>
                      <a:pt x="3371" y="403"/>
                    </a:lnTo>
                    <a:lnTo>
                      <a:pt x="3362" y="394"/>
                    </a:lnTo>
                    <a:lnTo>
                      <a:pt x="3353" y="386"/>
                    </a:lnTo>
                    <a:lnTo>
                      <a:pt x="3345" y="380"/>
                    </a:lnTo>
                    <a:lnTo>
                      <a:pt x="3334" y="373"/>
                    </a:lnTo>
                    <a:lnTo>
                      <a:pt x="3323" y="369"/>
                    </a:lnTo>
                    <a:lnTo>
                      <a:pt x="3312" y="365"/>
                    </a:lnTo>
                    <a:lnTo>
                      <a:pt x="3299" y="361"/>
                    </a:lnTo>
                    <a:lnTo>
                      <a:pt x="3287" y="360"/>
                    </a:lnTo>
                    <a:lnTo>
                      <a:pt x="3274" y="359"/>
                    </a:lnTo>
                    <a:close/>
                    <a:moveTo>
                      <a:pt x="3130" y="560"/>
                    </a:moveTo>
                    <a:lnTo>
                      <a:pt x="3130" y="598"/>
                    </a:lnTo>
                    <a:lnTo>
                      <a:pt x="3131" y="625"/>
                    </a:lnTo>
                    <a:lnTo>
                      <a:pt x="3133" y="651"/>
                    </a:lnTo>
                    <a:lnTo>
                      <a:pt x="3137" y="677"/>
                    </a:lnTo>
                    <a:lnTo>
                      <a:pt x="3144" y="703"/>
                    </a:lnTo>
                    <a:lnTo>
                      <a:pt x="3151" y="727"/>
                    </a:lnTo>
                    <a:lnTo>
                      <a:pt x="3161" y="751"/>
                    </a:lnTo>
                    <a:lnTo>
                      <a:pt x="3167" y="763"/>
                    </a:lnTo>
                    <a:lnTo>
                      <a:pt x="3172" y="774"/>
                    </a:lnTo>
                    <a:lnTo>
                      <a:pt x="3178" y="785"/>
                    </a:lnTo>
                    <a:lnTo>
                      <a:pt x="3186" y="795"/>
                    </a:lnTo>
                    <a:lnTo>
                      <a:pt x="3193" y="804"/>
                    </a:lnTo>
                    <a:lnTo>
                      <a:pt x="3200" y="814"/>
                    </a:lnTo>
                    <a:lnTo>
                      <a:pt x="3209" y="823"/>
                    </a:lnTo>
                    <a:lnTo>
                      <a:pt x="3218" y="832"/>
                    </a:lnTo>
                    <a:lnTo>
                      <a:pt x="3227" y="839"/>
                    </a:lnTo>
                    <a:lnTo>
                      <a:pt x="3237" y="847"/>
                    </a:lnTo>
                    <a:lnTo>
                      <a:pt x="3247" y="853"/>
                    </a:lnTo>
                    <a:lnTo>
                      <a:pt x="3258" y="860"/>
                    </a:lnTo>
                    <a:lnTo>
                      <a:pt x="3269" y="865"/>
                    </a:lnTo>
                    <a:lnTo>
                      <a:pt x="3280" y="871"/>
                    </a:lnTo>
                    <a:lnTo>
                      <a:pt x="3292" y="874"/>
                    </a:lnTo>
                    <a:lnTo>
                      <a:pt x="3305" y="878"/>
                    </a:lnTo>
                    <a:lnTo>
                      <a:pt x="3318" y="880"/>
                    </a:lnTo>
                    <a:lnTo>
                      <a:pt x="3333" y="883"/>
                    </a:lnTo>
                    <a:lnTo>
                      <a:pt x="3347" y="884"/>
                    </a:lnTo>
                    <a:lnTo>
                      <a:pt x="3361" y="885"/>
                    </a:lnTo>
                    <a:lnTo>
                      <a:pt x="3378" y="884"/>
                    </a:lnTo>
                    <a:lnTo>
                      <a:pt x="3394" y="883"/>
                    </a:lnTo>
                    <a:lnTo>
                      <a:pt x="3410" y="882"/>
                    </a:lnTo>
                    <a:lnTo>
                      <a:pt x="3426" y="879"/>
                    </a:lnTo>
                    <a:lnTo>
                      <a:pt x="3457" y="874"/>
                    </a:lnTo>
                    <a:lnTo>
                      <a:pt x="3490" y="866"/>
                    </a:lnTo>
                    <a:lnTo>
                      <a:pt x="3490" y="943"/>
                    </a:lnTo>
                    <a:lnTo>
                      <a:pt x="3471" y="948"/>
                    </a:lnTo>
                    <a:lnTo>
                      <a:pt x="3453" y="952"/>
                    </a:lnTo>
                    <a:lnTo>
                      <a:pt x="3435" y="955"/>
                    </a:lnTo>
                    <a:lnTo>
                      <a:pt x="3416" y="959"/>
                    </a:lnTo>
                    <a:lnTo>
                      <a:pt x="3398" y="960"/>
                    </a:lnTo>
                    <a:lnTo>
                      <a:pt x="3378" y="962"/>
                    </a:lnTo>
                    <a:lnTo>
                      <a:pt x="3360" y="962"/>
                    </a:lnTo>
                    <a:lnTo>
                      <a:pt x="3340" y="962"/>
                    </a:lnTo>
                    <a:lnTo>
                      <a:pt x="3320" y="962"/>
                    </a:lnTo>
                    <a:lnTo>
                      <a:pt x="3300" y="961"/>
                    </a:lnTo>
                    <a:lnTo>
                      <a:pt x="3280" y="959"/>
                    </a:lnTo>
                    <a:lnTo>
                      <a:pt x="3262" y="955"/>
                    </a:lnTo>
                    <a:lnTo>
                      <a:pt x="3245" y="951"/>
                    </a:lnTo>
                    <a:lnTo>
                      <a:pt x="3227" y="947"/>
                    </a:lnTo>
                    <a:lnTo>
                      <a:pt x="3211" y="941"/>
                    </a:lnTo>
                    <a:lnTo>
                      <a:pt x="3196" y="935"/>
                    </a:lnTo>
                    <a:lnTo>
                      <a:pt x="3181" y="928"/>
                    </a:lnTo>
                    <a:lnTo>
                      <a:pt x="3167" y="921"/>
                    </a:lnTo>
                    <a:lnTo>
                      <a:pt x="3154" y="912"/>
                    </a:lnTo>
                    <a:lnTo>
                      <a:pt x="3142" y="903"/>
                    </a:lnTo>
                    <a:lnTo>
                      <a:pt x="3130" y="893"/>
                    </a:lnTo>
                    <a:lnTo>
                      <a:pt x="3118" y="883"/>
                    </a:lnTo>
                    <a:lnTo>
                      <a:pt x="3107" y="872"/>
                    </a:lnTo>
                    <a:lnTo>
                      <a:pt x="3097" y="860"/>
                    </a:lnTo>
                    <a:lnTo>
                      <a:pt x="3088" y="848"/>
                    </a:lnTo>
                    <a:lnTo>
                      <a:pt x="3080" y="835"/>
                    </a:lnTo>
                    <a:lnTo>
                      <a:pt x="3072" y="821"/>
                    </a:lnTo>
                    <a:lnTo>
                      <a:pt x="3065" y="807"/>
                    </a:lnTo>
                    <a:lnTo>
                      <a:pt x="3058" y="793"/>
                    </a:lnTo>
                    <a:lnTo>
                      <a:pt x="3052" y="777"/>
                    </a:lnTo>
                    <a:lnTo>
                      <a:pt x="3046" y="762"/>
                    </a:lnTo>
                    <a:lnTo>
                      <a:pt x="3042" y="746"/>
                    </a:lnTo>
                    <a:lnTo>
                      <a:pt x="3037" y="728"/>
                    </a:lnTo>
                    <a:lnTo>
                      <a:pt x="3033" y="711"/>
                    </a:lnTo>
                    <a:lnTo>
                      <a:pt x="3030" y="694"/>
                    </a:lnTo>
                    <a:lnTo>
                      <a:pt x="3028" y="676"/>
                    </a:lnTo>
                    <a:lnTo>
                      <a:pt x="3025" y="658"/>
                    </a:lnTo>
                    <a:lnTo>
                      <a:pt x="3024" y="638"/>
                    </a:lnTo>
                    <a:lnTo>
                      <a:pt x="3023" y="620"/>
                    </a:lnTo>
                    <a:lnTo>
                      <a:pt x="3023" y="600"/>
                    </a:lnTo>
                    <a:lnTo>
                      <a:pt x="3024" y="569"/>
                    </a:lnTo>
                    <a:lnTo>
                      <a:pt x="3027" y="537"/>
                    </a:lnTo>
                    <a:lnTo>
                      <a:pt x="3031" y="508"/>
                    </a:lnTo>
                    <a:lnTo>
                      <a:pt x="3036" y="479"/>
                    </a:lnTo>
                    <a:lnTo>
                      <a:pt x="3040" y="465"/>
                    </a:lnTo>
                    <a:lnTo>
                      <a:pt x="3044" y="450"/>
                    </a:lnTo>
                    <a:lnTo>
                      <a:pt x="3048" y="437"/>
                    </a:lnTo>
                    <a:lnTo>
                      <a:pt x="3054" y="424"/>
                    </a:lnTo>
                    <a:lnTo>
                      <a:pt x="3059" y="412"/>
                    </a:lnTo>
                    <a:lnTo>
                      <a:pt x="3065" y="399"/>
                    </a:lnTo>
                    <a:lnTo>
                      <a:pt x="3072" y="389"/>
                    </a:lnTo>
                    <a:lnTo>
                      <a:pt x="3079" y="377"/>
                    </a:lnTo>
                    <a:lnTo>
                      <a:pt x="3086" y="366"/>
                    </a:lnTo>
                    <a:lnTo>
                      <a:pt x="3095" y="356"/>
                    </a:lnTo>
                    <a:lnTo>
                      <a:pt x="3104" y="346"/>
                    </a:lnTo>
                    <a:lnTo>
                      <a:pt x="3113" y="338"/>
                    </a:lnTo>
                    <a:lnTo>
                      <a:pt x="3123" y="329"/>
                    </a:lnTo>
                    <a:lnTo>
                      <a:pt x="3134" y="321"/>
                    </a:lnTo>
                    <a:lnTo>
                      <a:pt x="3145" y="314"/>
                    </a:lnTo>
                    <a:lnTo>
                      <a:pt x="3157" y="307"/>
                    </a:lnTo>
                    <a:lnTo>
                      <a:pt x="3170" y="302"/>
                    </a:lnTo>
                    <a:lnTo>
                      <a:pt x="3183" y="296"/>
                    </a:lnTo>
                    <a:lnTo>
                      <a:pt x="3197" y="292"/>
                    </a:lnTo>
                    <a:lnTo>
                      <a:pt x="3212" y="288"/>
                    </a:lnTo>
                    <a:lnTo>
                      <a:pt x="3227" y="285"/>
                    </a:lnTo>
                    <a:lnTo>
                      <a:pt x="3244" y="283"/>
                    </a:lnTo>
                    <a:lnTo>
                      <a:pt x="3260" y="282"/>
                    </a:lnTo>
                    <a:lnTo>
                      <a:pt x="3277" y="281"/>
                    </a:lnTo>
                    <a:lnTo>
                      <a:pt x="3291" y="281"/>
                    </a:lnTo>
                    <a:lnTo>
                      <a:pt x="3305" y="282"/>
                    </a:lnTo>
                    <a:lnTo>
                      <a:pt x="3318" y="284"/>
                    </a:lnTo>
                    <a:lnTo>
                      <a:pt x="3330" y="285"/>
                    </a:lnTo>
                    <a:lnTo>
                      <a:pt x="3343" y="289"/>
                    </a:lnTo>
                    <a:lnTo>
                      <a:pt x="3355" y="292"/>
                    </a:lnTo>
                    <a:lnTo>
                      <a:pt x="3366" y="295"/>
                    </a:lnTo>
                    <a:lnTo>
                      <a:pt x="3377" y="300"/>
                    </a:lnTo>
                    <a:lnTo>
                      <a:pt x="3388" y="305"/>
                    </a:lnTo>
                    <a:lnTo>
                      <a:pt x="3398" y="309"/>
                    </a:lnTo>
                    <a:lnTo>
                      <a:pt x="3407" y="316"/>
                    </a:lnTo>
                    <a:lnTo>
                      <a:pt x="3416" y="321"/>
                    </a:lnTo>
                    <a:lnTo>
                      <a:pt x="3425" y="329"/>
                    </a:lnTo>
                    <a:lnTo>
                      <a:pt x="3432" y="335"/>
                    </a:lnTo>
                    <a:lnTo>
                      <a:pt x="3441" y="343"/>
                    </a:lnTo>
                    <a:lnTo>
                      <a:pt x="3448" y="352"/>
                    </a:lnTo>
                    <a:lnTo>
                      <a:pt x="3455" y="359"/>
                    </a:lnTo>
                    <a:lnTo>
                      <a:pt x="3462" y="368"/>
                    </a:lnTo>
                    <a:lnTo>
                      <a:pt x="3467" y="378"/>
                    </a:lnTo>
                    <a:lnTo>
                      <a:pt x="3473" y="388"/>
                    </a:lnTo>
                    <a:lnTo>
                      <a:pt x="3482" y="408"/>
                    </a:lnTo>
                    <a:lnTo>
                      <a:pt x="3490" y="430"/>
                    </a:lnTo>
                    <a:lnTo>
                      <a:pt x="3496" y="453"/>
                    </a:lnTo>
                    <a:lnTo>
                      <a:pt x="3501" y="477"/>
                    </a:lnTo>
                    <a:lnTo>
                      <a:pt x="3504" y="503"/>
                    </a:lnTo>
                    <a:lnTo>
                      <a:pt x="3504" y="529"/>
                    </a:lnTo>
                    <a:lnTo>
                      <a:pt x="3504" y="560"/>
                    </a:lnTo>
                    <a:lnTo>
                      <a:pt x="3130" y="560"/>
                    </a:lnTo>
                    <a:close/>
                    <a:moveTo>
                      <a:pt x="2706" y="359"/>
                    </a:moveTo>
                    <a:lnTo>
                      <a:pt x="2696" y="360"/>
                    </a:lnTo>
                    <a:lnTo>
                      <a:pt x="2686" y="361"/>
                    </a:lnTo>
                    <a:lnTo>
                      <a:pt x="2675" y="364"/>
                    </a:lnTo>
                    <a:lnTo>
                      <a:pt x="2666" y="367"/>
                    </a:lnTo>
                    <a:lnTo>
                      <a:pt x="2658" y="371"/>
                    </a:lnTo>
                    <a:lnTo>
                      <a:pt x="2649" y="376"/>
                    </a:lnTo>
                    <a:lnTo>
                      <a:pt x="2640" y="381"/>
                    </a:lnTo>
                    <a:lnTo>
                      <a:pt x="2633" y="388"/>
                    </a:lnTo>
                    <a:lnTo>
                      <a:pt x="2626" y="394"/>
                    </a:lnTo>
                    <a:lnTo>
                      <a:pt x="2619" y="402"/>
                    </a:lnTo>
                    <a:lnTo>
                      <a:pt x="2612" y="409"/>
                    </a:lnTo>
                    <a:lnTo>
                      <a:pt x="2607" y="418"/>
                    </a:lnTo>
                    <a:lnTo>
                      <a:pt x="2596" y="435"/>
                    </a:lnTo>
                    <a:lnTo>
                      <a:pt x="2586" y="455"/>
                    </a:lnTo>
                    <a:lnTo>
                      <a:pt x="2577" y="475"/>
                    </a:lnTo>
                    <a:lnTo>
                      <a:pt x="2571" y="497"/>
                    </a:lnTo>
                    <a:lnTo>
                      <a:pt x="2565" y="519"/>
                    </a:lnTo>
                    <a:lnTo>
                      <a:pt x="2561" y="541"/>
                    </a:lnTo>
                    <a:lnTo>
                      <a:pt x="2558" y="561"/>
                    </a:lnTo>
                    <a:lnTo>
                      <a:pt x="2556" y="582"/>
                    </a:lnTo>
                    <a:lnTo>
                      <a:pt x="2553" y="601"/>
                    </a:lnTo>
                    <a:lnTo>
                      <a:pt x="2553" y="619"/>
                    </a:lnTo>
                    <a:lnTo>
                      <a:pt x="2553" y="637"/>
                    </a:lnTo>
                    <a:lnTo>
                      <a:pt x="2555" y="657"/>
                    </a:lnTo>
                    <a:lnTo>
                      <a:pt x="2557" y="677"/>
                    </a:lnTo>
                    <a:lnTo>
                      <a:pt x="2560" y="699"/>
                    </a:lnTo>
                    <a:lnTo>
                      <a:pt x="2563" y="721"/>
                    </a:lnTo>
                    <a:lnTo>
                      <a:pt x="2569" y="744"/>
                    </a:lnTo>
                    <a:lnTo>
                      <a:pt x="2575" y="765"/>
                    </a:lnTo>
                    <a:lnTo>
                      <a:pt x="2583" y="786"/>
                    </a:lnTo>
                    <a:lnTo>
                      <a:pt x="2591" y="806"/>
                    </a:lnTo>
                    <a:lnTo>
                      <a:pt x="2602" y="825"/>
                    </a:lnTo>
                    <a:lnTo>
                      <a:pt x="2608" y="833"/>
                    </a:lnTo>
                    <a:lnTo>
                      <a:pt x="2614" y="841"/>
                    </a:lnTo>
                    <a:lnTo>
                      <a:pt x="2621" y="849"/>
                    </a:lnTo>
                    <a:lnTo>
                      <a:pt x="2628" y="855"/>
                    </a:lnTo>
                    <a:lnTo>
                      <a:pt x="2636" y="862"/>
                    </a:lnTo>
                    <a:lnTo>
                      <a:pt x="2645" y="867"/>
                    </a:lnTo>
                    <a:lnTo>
                      <a:pt x="2653" y="873"/>
                    </a:lnTo>
                    <a:lnTo>
                      <a:pt x="2662" y="877"/>
                    </a:lnTo>
                    <a:lnTo>
                      <a:pt x="2672" y="880"/>
                    </a:lnTo>
                    <a:lnTo>
                      <a:pt x="2682" y="883"/>
                    </a:lnTo>
                    <a:lnTo>
                      <a:pt x="2692" y="884"/>
                    </a:lnTo>
                    <a:lnTo>
                      <a:pt x="2704" y="885"/>
                    </a:lnTo>
                    <a:lnTo>
                      <a:pt x="2715" y="884"/>
                    </a:lnTo>
                    <a:lnTo>
                      <a:pt x="2726" y="883"/>
                    </a:lnTo>
                    <a:lnTo>
                      <a:pt x="2737" y="879"/>
                    </a:lnTo>
                    <a:lnTo>
                      <a:pt x="2747" y="876"/>
                    </a:lnTo>
                    <a:lnTo>
                      <a:pt x="2755" y="871"/>
                    </a:lnTo>
                    <a:lnTo>
                      <a:pt x="2764" y="865"/>
                    </a:lnTo>
                    <a:lnTo>
                      <a:pt x="2772" y="860"/>
                    </a:lnTo>
                    <a:lnTo>
                      <a:pt x="2779" y="852"/>
                    </a:lnTo>
                    <a:lnTo>
                      <a:pt x="2786" y="845"/>
                    </a:lnTo>
                    <a:lnTo>
                      <a:pt x="2792" y="836"/>
                    </a:lnTo>
                    <a:lnTo>
                      <a:pt x="2798" y="827"/>
                    </a:lnTo>
                    <a:lnTo>
                      <a:pt x="2803" y="817"/>
                    </a:lnTo>
                    <a:lnTo>
                      <a:pt x="2813" y="797"/>
                    </a:lnTo>
                    <a:lnTo>
                      <a:pt x="2820" y="775"/>
                    </a:lnTo>
                    <a:lnTo>
                      <a:pt x="2827" y="752"/>
                    </a:lnTo>
                    <a:lnTo>
                      <a:pt x="2831" y="728"/>
                    </a:lnTo>
                    <a:lnTo>
                      <a:pt x="2836" y="705"/>
                    </a:lnTo>
                    <a:lnTo>
                      <a:pt x="2838" y="682"/>
                    </a:lnTo>
                    <a:lnTo>
                      <a:pt x="2841" y="637"/>
                    </a:lnTo>
                    <a:lnTo>
                      <a:pt x="2842" y="598"/>
                    </a:lnTo>
                    <a:lnTo>
                      <a:pt x="2841" y="581"/>
                    </a:lnTo>
                    <a:lnTo>
                      <a:pt x="2841" y="562"/>
                    </a:lnTo>
                    <a:lnTo>
                      <a:pt x="2840" y="543"/>
                    </a:lnTo>
                    <a:lnTo>
                      <a:pt x="2838" y="523"/>
                    </a:lnTo>
                    <a:lnTo>
                      <a:pt x="2835" y="503"/>
                    </a:lnTo>
                    <a:lnTo>
                      <a:pt x="2830" y="483"/>
                    </a:lnTo>
                    <a:lnTo>
                      <a:pt x="2825" y="464"/>
                    </a:lnTo>
                    <a:lnTo>
                      <a:pt x="2818" y="445"/>
                    </a:lnTo>
                    <a:lnTo>
                      <a:pt x="2811" y="428"/>
                    </a:lnTo>
                    <a:lnTo>
                      <a:pt x="2802" y="411"/>
                    </a:lnTo>
                    <a:lnTo>
                      <a:pt x="2797" y="404"/>
                    </a:lnTo>
                    <a:lnTo>
                      <a:pt x="2790" y="396"/>
                    </a:lnTo>
                    <a:lnTo>
                      <a:pt x="2785" y="390"/>
                    </a:lnTo>
                    <a:lnTo>
                      <a:pt x="2778" y="384"/>
                    </a:lnTo>
                    <a:lnTo>
                      <a:pt x="2771" y="379"/>
                    </a:lnTo>
                    <a:lnTo>
                      <a:pt x="2763" y="373"/>
                    </a:lnTo>
                    <a:lnTo>
                      <a:pt x="2755" y="369"/>
                    </a:lnTo>
                    <a:lnTo>
                      <a:pt x="2747" y="366"/>
                    </a:lnTo>
                    <a:lnTo>
                      <a:pt x="2737" y="364"/>
                    </a:lnTo>
                    <a:lnTo>
                      <a:pt x="2727" y="361"/>
                    </a:lnTo>
                    <a:lnTo>
                      <a:pt x="2717" y="359"/>
                    </a:lnTo>
                    <a:lnTo>
                      <a:pt x="2706" y="359"/>
                    </a:lnTo>
                    <a:close/>
                    <a:moveTo>
                      <a:pt x="2727" y="962"/>
                    </a:moveTo>
                    <a:lnTo>
                      <a:pt x="2712" y="962"/>
                    </a:lnTo>
                    <a:lnTo>
                      <a:pt x="2697" y="961"/>
                    </a:lnTo>
                    <a:lnTo>
                      <a:pt x="2683" y="958"/>
                    </a:lnTo>
                    <a:lnTo>
                      <a:pt x="2669" y="954"/>
                    </a:lnTo>
                    <a:lnTo>
                      <a:pt x="2655" y="950"/>
                    </a:lnTo>
                    <a:lnTo>
                      <a:pt x="2642" y="945"/>
                    </a:lnTo>
                    <a:lnTo>
                      <a:pt x="2631" y="938"/>
                    </a:lnTo>
                    <a:lnTo>
                      <a:pt x="2620" y="931"/>
                    </a:lnTo>
                    <a:lnTo>
                      <a:pt x="2609" y="923"/>
                    </a:lnTo>
                    <a:lnTo>
                      <a:pt x="2599" y="914"/>
                    </a:lnTo>
                    <a:lnTo>
                      <a:pt x="2590" y="904"/>
                    </a:lnTo>
                    <a:lnTo>
                      <a:pt x="2582" y="893"/>
                    </a:lnTo>
                    <a:lnTo>
                      <a:pt x="2574" y="882"/>
                    </a:lnTo>
                    <a:lnTo>
                      <a:pt x="2568" y="869"/>
                    </a:lnTo>
                    <a:lnTo>
                      <a:pt x="2561" y="855"/>
                    </a:lnTo>
                    <a:lnTo>
                      <a:pt x="2556" y="840"/>
                    </a:lnTo>
                    <a:lnTo>
                      <a:pt x="2553" y="840"/>
                    </a:lnTo>
                    <a:lnTo>
                      <a:pt x="2553" y="1240"/>
                    </a:lnTo>
                    <a:lnTo>
                      <a:pt x="2460" y="1240"/>
                    </a:lnTo>
                    <a:lnTo>
                      <a:pt x="2460" y="296"/>
                    </a:lnTo>
                    <a:lnTo>
                      <a:pt x="2553" y="296"/>
                    </a:lnTo>
                    <a:lnTo>
                      <a:pt x="2553" y="407"/>
                    </a:lnTo>
                    <a:lnTo>
                      <a:pt x="2556" y="407"/>
                    </a:lnTo>
                    <a:lnTo>
                      <a:pt x="2561" y="393"/>
                    </a:lnTo>
                    <a:lnTo>
                      <a:pt x="2567" y="380"/>
                    </a:lnTo>
                    <a:lnTo>
                      <a:pt x="2573" y="368"/>
                    </a:lnTo>
                    <a:lnTo>
                      <a:pt x="2581" y="356"/>
                    </a:lnTo>
                    <a:lnTo>
                      <a:pt x="2589" y="345"/>
                    </a:lnTo>
                    <a:lnTo>
                      <a:pt x="2599" y="334"/>
                    </a:lnTo>
                    <a:lnTo>
                      <a:pt x="2609" y="325"/>
                    </a:lnTo>
                    <a:lnTo>
                      <a:pt x="2620" y="316"/>
                    </a:lnTo>
                    <a:lnTo>
                      <a:pt x="2632" y="308"/>
                    </a:lnTo>
                    <a:lnTo>
                      <a:pt x="2644" y="302"/>
                    </a:lnTo>
                    <a:lnTo>
                      <a:pt x="2657" y="295"/>
                    </a:lnTo>
                    <a:lnTo>
                      <a:pt x="2670" y="291"/>
                    </a:lnTo>
                    <a:lnTo>
                      <a:pt x="2683" y="287"/>
                    </a:lnTo>
                    <a:lnTo>
                      <a:pt x="2697" y="283"/>
                    </a:lnTo>
                    <a:lnTo>
                      <a:pt x="2711" y="282"/>
                    </a:lnTo>
                    <a:lnTo>
                      <a:pt x="2726" y="281"/>
                    </a:lnTo>
                    <a:lnTo>
                      <a:pt x="2742" y="282"/>
                    </a:lnTo>
                    <a:lnTo>
                      <a:pt x="2759" y="283"/>
                    </a:lnTo>
                    <a:lnTo>
                      <a:pt x="2775" y="285"/>
                    </a:lnTo>
                    <a:lnTo>
                      <a:pt x="2789" y="290"/>
                    </a:lnTo>
                    <a:lnTo>
                      <a:pt x="2803" y="294"/>
                    </a:lnTo>
                    <a:lnTo>
                      <a:pt x="2816" y="300"/>
                    </a:lnTo>
                    <a:lnTo>
                      <a:pt x="2828" y="305"/>
                    </a:lnTo>
                    <a:lnTo>
                      <a:pt x="2840" y="313"/>
                    </a:lnTo>
                    <a:lnTo>
                      <a:pt x="2850" y="320"/>
                    </a:lnTo>
                    <a:lnTo>
                      <a:pt x="2861" y="329"/>
                    </a:lnTo>
                    <a:lnTo>
                      <a:pt x="2869" y="338"/>
                    </a:lnTo>
                    <a:lnTo>
                      <a:pt x="2878" y="347"/>
                    </a:lnTo>
                    <a:lnTo>
                      <a:pt x="2887" y="357"/>
                    </a:lnTo>
                    <a:lnTo>
                      <a:pt x="2894" y="369"/>
                    </a:lnTo>
                    <a:lnTo>
                      <a:pt x="2901" y="380"/>
                    </a:lnTo>
                    <a:lnTo>
                      <a:pt x="2907" y="392"/>
                    </a:lnTo>
                    <a:lnTo>
                      <a:pt x="2913" y="404"/>
                    </a:lnTo>
                    <a:lnTo>
                      <a:pt x="2918" y="417"/>
                    </a:lnTo>
                    <a:lnTo>
                      <a:pt x="2924" y="430"/>
                    </a:lnTo>
                    <a:lnTo>
                      <a:pt x="2927" y="444"/>
                    </a:lnTo>
                    <a:lnTo>
                      <a:pt x="2934" y="471"/>
                    </a:lnTo>
                    <a:lnTo>
                      <a:pt x="2940" y="500"/>
                    </a:lnTo>
                    <a:lnTo>
                      <a:pt x="2944" y="529"/>
                    </a:lnTo>
                    <a:lnTo>
                      <a:pt x="2946" y="558"/>
                    </a:lnTo>
                    <a:lnTo>
                      <a:pt x="2947" y="587"/>
                    </a:lnTo>
                    <a:lnTo>
                      <a:pt x="2948" y="617"/>
                    </a:lnTo>
                    <a:lnTo>
                      <a:pt x="2947" y="644"/>
                    </a:lnTo>
                    <a:lnTo>
                      <a:pt x="2946" y="672"/>
                    </a:lnTo>
                    <a:lnTo>
                      <a:pt x="2943" y="700"/>
                    </a:lnTo>
                    <a:lnTo>
                      <a:pt x="2939" y="730"/>
                    </a:lnTo>
                    <a:lnTo>
                      <a:pt x="2933" y="759"/>
                    </a:lnTo>
                    <a:lnTo>
                      <a:pt x="2926" y="788"/>
                    </a:lnTo>
                    <a:lnTo>
                      <a:pt x="2920" y="801"/>
                    </a:lnTo>
                    <a:lnTo>
                      <a:pt x="2916" y="815"/>
                    </a:lnTo>
                    <a:lnTo>
                      <a:pt x="2910" y="829"/>
                    </a:lnTo>
                    <a:lnTo>
                      <a:pt x="2904" y="842"/>
                    </a:lnTo>
                    <a:lnTo>
                      <a:pt x="2897" y="854"/>
                    </a:lnTo>
                    <a:lnTo>
                      <a:pt x="2891" y="867"/>
                    </a:lnTo>
                    <a:lnTo>
                      <a:pt x="2883" y="878"/>
                    </a:lnTo>
                    <a:lnTo>
                      <a:pt x="2875" y="890"/>
                    </a:lnTo>
                    <a:lnTo>
                      <a:pt x="2866" y="900"/>
                    </a:lnTo>
                    <a:lnTo>
                      <a:pt x="2857" y="911"/>
                    </a:lnTo>
                    <a:lnTo>
                      <a:pt x="2848" y="920"/>
                    </a:lnTo>
                    <a:lnTo>
                      <a:pt x="2837" y="928"/>
                    </a:lnTo>
                    <a:lnTo>
                      <a:pt x="2825" y="936"/>
                    </a:lnTo>
                    <a:lnTo>
                      <a:pt x="2814" y="942"/>
                    </a:lnTo>
                    <a:lnTo>
                      <a:pt x="2801" y="948"/>
                    </a:lnTo>
                    <a:lnTo>
                      <a:pt x="2788" y="953"/>
                    </a:lnTo>
                    <a:lnTo>
                      <a:pt x="2774" y="958"/>
                    </a:lnTo>
                    <a:lnTo>
                      <a:pt x="2759" y="960"/>
                    </a:lnTo>
                    <a:lnTo>
                      <a:pt x="2743" y="962"/>
                    </a:lnTo>
                    <a:lnTo>
                      <a:pt x="2727" y="962"/>
                    </a:lnTo>
                    <a:close/>
                    <a:moveTo>
                      <a:pt x="1959" y="947"/>
                    </a:moveTo>
                    <a:lnTo>
                      <a:pt x="1959" y="586"/>
                    </a:lnTo>
                    <a:lnTo>
                      <a:pt x="1959" y="556"/>
                    </a:lnTo>
                    <a:lnTo>
                      <a:pt x="1959" y="522"/>
                    </a:lnTo>
                    <a:lnTo>
                      <a:pt x="1958" y="505"/>
                    </a:lnTo>
                    <a:lnTo>
                      <a:pt x="1957" y="486"/>
                    </a:lnTo>
                    <a:lnTo>
                      <a:pt x="1955" y="469"/>
                    </a:lnTo>
                    <a:lnTo>
                      <a:pt x="1950" y="453"/>
                    </a:lnTo>
                    <a:lnTo>
                      <a:pt x="1946" y="436"/>
                    </a:lnTo>
                    <a:lnTo>
                      <a:pt x="1940" y="422"/>
                    </a:lnTo>
                    <a:lnTo>
                      <a:pt x="1936" y="415"/>
                    </a:lnTo>
                    <a:lnTo>
                      <a:pt x="1933" y="408"/>
                    </a:lnTo>
                    <a:lnTo>
                      <a:pt x="1927" y="403"/>
                    </a:lnTo>
                    <a:lnTo>
                      <a:pt x="1923" y="397"/>
                    </a:lnTo>
                    <a:lnTo>
                      <a:pt x="1918" y="392"/>
                    </a:lnTo>
                    <a:lnTo>
                      <a:pt x="1911" y="388"/>
                    </a:lnTo>
                    <a:lnTo>
                      <a:pt x="1905" y="383"/>
                    </a:lnTo>
                    <a:lnTo>
                      <a:pt x="1898" y="380"/>
                    </a:lnTo>
                    <a:lnTo>
                      <a:pt x="1889" y="378"/>
                    </a:lnTo>
                    <a:lnTo>
                      <a:pt x="1882" y="376"/>
                    </a:lnTo>
                    <a:lnTo>
                      <a:pt x="1873" y="374"/>
                    </a:lnTo>
                    <a:lnTo>
                      <a:pt x="1863" y="374"/>
                    </a:lnTo>
                    <a:lnTo>
                      <a:pt x="1851" y="374"/>
                    </a:lnTo>
                    <a:lnTo>
                      <a:pt x="1840" y="377"/>
                    </a:lnTo>
                    <a:lnTo>
                      <a:pt x="1829" y="379"/>
                    </a:lnTo>
                    <a:lnTo>
                      <a:pt x="1818" y="383"/>
                    </a:lnTo>
                    <a:lnTo>
                      <a:pt x="1808" y="388"/>
                    </a:lnTo>
                    <a:lnTo>
                      <a:pt x="1797" y="394"/>
                    </a:lnTo>
                    <a:lnTo>
                      <a:pt x="1789" y="401"/>
                    </a:lnTo>
                    <a:lnTo>
                      <a:pt x="1780" y="407"/>
                    </a:lnTo>
                    <a:lnTo>
                      <a:pt x="1771" y="416"/>
                    </a:lnTo>
                    <a:lnTo>
                      <a:pt x="1762" y="424"/>
                    </a:lnTo>
                    <a:lnTo>
                      <a:pt x="1755" y="434"/>
                    </a:lnTo>
                    <a:lnTo>
                      <a:pt x="1747" y="444"/>
                    </a:lnTo>
                    <a:lnTo>
                      <a:pt x="1741" y="454"/>
                    </a:lnTo>
                    <a:lnTo>
                      <a:pt x="1734" y="466"/>
                    </a:lnTo>
                    <a:lnTo>
                      <a:pt x="1728" y="477"/>
                    </a:lnTo>
                    <a:lnTo>
                      <a:pt x="1722" y="488"/>
                    </a:lnTo>
                    <a:lnTo>
                      <a:pt x="1711" y="512"/>
                    </a:lnTo>
                    <a:lnTo>
                      <a:pt x="1703" y="537"/>
                    </a:lnTo>
                    <a:lnTo>
                      <a:pt x="1695" y="563"/>
                    </a:lnTo>
                    <a:lnTo>
                      <a:pt x="1689" y="588"/>
                    </a:lnTo>
                    <a:lnTo>
                      <a:pt x="1684" y="613"/>
                    </a:lnTo>
                    <a:lnTo>
                      <a:pt x="1681" y="636"/>
                    </a:lnTo>
                    <a:lnTo>
                      <a:pt x="1679" y="659"/>
                    </a:lnTo>
                    <a:lnTo>
                      <a:pt x="1679" y="680"/>
                    </a:lnTo>
                    <a:lnTo>
                      <a:pt x="1679" y="947"/>
                    </a:lnTo>
                    <a:lnTo>
                      <a:pt x="1586" y="947"/>
                    </a:lnTo>
                    <a:lnTo>
                      <a:pt x="1586" y="4"/>
                    </a:lnTo>
                    <a:lnTo>
                      <a:pt x="1679" y="4"/>
                    </a:lnTo>
                    <a:lnTo>
                      <a:pt x="1679" y="447"/>
                    </a:lnTo>
                    <a:lnTo>
                      <a:pt x="1681" y="447"/>
                    </a:lnTo>
                    <a:lnTo>
                      <a:pt x="1688" y="429"/>
                    </a:lnTo>
                    <a:lnTo>
                      <a:pt x="1695" y="411"/>
                    </a:lnTo>
                    <a:lnTo>
                      <a:pt x="1703" y="394"/>
                    </a:lnTo>
                    <a:lnTo>
                      <a:pt x="1710" y="379"/>
                    </a:lnTo>
                    <a:lnTo>
                      <a:pt x="1720" y="364"/>
                    </a:lnTo>
                    <a:lnTo>
                      <a:pt x="1730" y="351"/>
                    </a:lnTo>
                    <a:lnTo>
                      <a:pt x="1741" y="338"/>
                    </a:lnTo>
                    <a:lnTo>
                      <a:pt x="1753" y="327"/>
                    </a:lnTo>
                    <a:lnTo>
                      <a:pt x="1766" y="316"/>
                    </a:lnTo>
                    <a:lnTo>
                      <a:pt x="1779" y="307"/>
                    </a:lnTo>
                    <a:lnTo>
                      <a:pt x="1794" y="300"/>
                    </a:lnTo>
                    <a:lnTo>
                      <a:pt x="1810" y="293"/>
                    </a:lnTo>
                    <a:lnTo>
                      <a:pt x="1827" y="288"/>
                    </a:lnTo>
                    <a:lnTo>
                      <a:pt x="1845" y="284"/>
                    </a:lnTo>
                    <a:lnTo>
                      <a:pt x="1864" y="282"/>
                    </a:lnTo>
                    <a:lnTo>
                      <a:pt x="1885" y="281"/>
                    </a:lnTo>
                    <a:lnTo>
                      <a:pt x="1896" y="281"/>
                    </a:lnTo>
                    <a:lnTo>
                      <a:pt x="1906" y="282"/>
                    </a:lnTo>
                    <a:lnTo>
                      <a:pt x="1915" y="283"/>
                    </a:lnTo>
                    <a:lnTo>
                      <a:pt x="1925" y="285"/>
                    </a:lnTo>
                    <a:lnTo>
                      <a:pt x="1934" y="288"/>
                    </a:lnTo>
                    <a:lnTo>
                      <a:pt x="1943" y="291"/>
                    </a:lnTo>
                    <a:lnTo>
                      <a:pt x="1951" y="294"/>
                    </a:lnTo>
                    <a:lnTo>
                      <a:pt x="1959" y="298"/>
                    </a:lnTo>
                    <a:lnTo>
                      <a:pt x="1974" y="307"/>
                    </a:lnTo>
                    <a:lnTo>
                      <a:pt x="1988" y="318"/>
                    </a:lnTo>
                    <a:lnTo>
                      <a:pt x="2000" y="330"/>
                    </a:lnTo>
                    <a:lnTo>
                      <a:pt x="2011" y="343"/>
                    </a:lnTo>
                    <a:lnTo>
                      <a:pt x="2021" y="358"/>
                    </a:lnTo>
                    <a:lnTo>
                      <a:pt x="2029" y="373"/>
                    </a:lnTo>
                    <a:lnTo>
                      <a:pt x="2036" y="391"/>
                    </a:lnTo>
                    <a:lnTo>
                      <a:pt x="2041" y="408"/>
                    </a:lnTo>
                    <a:lnTo>
                      <a:pt x="2046" y="426"/>
                    </a:lnTo>
                    <a:lnTo>
                      <a:pt x="2049" y="444"/>
                    </a:lnTo>
                    <a:lnTo>
                      <a:pt x="2051" y="464"/>
                    </a:lnTo>
                    <a:lnTo>
                      <a:pt x="2051" y="482"/>
                    </a:lnTo>
                    <a:lnTo>
                      <a:pt x="2051" y="947"/>
                    </a:lnTo>
                    <a:lnTo>
                      <a:pt x="1959" y="947"/>
                    </a:lnTo>
                    <a:close/>
                    <a:moveTo>
                      <a:pt x="1200" y="359"/>
                    </a:moveTo>
                    <a:lnTo>
                      <a:pt x="1190" y="360"/>
                    </a:lnTo>
                    <a:lnTo>
                      <a:pt x="1180" y="361"/>
                    </a:lnTo>
                    <a:lnTo>
                      <a:pt x="1170" y="364"/>
                    </a:lnTo>
                    <a:lnTo>
                      <a:pt x="1160" y="367"/>
                    </a:lnTo>
                    <a:lnTo>
                      <a:pt x="1152" y="371"/>
                    </a:lnTo>
                    <a:lnTo>
                      <a:pt x="1144" y="377"/>
                    </a:lnTo>
                    <a:lnTo>
                      <a:pt x="1136" y="383"/>
                    </a:lnTo>
                    <a:lnTo>
                      <a:pt x="1129" y="390"/>
                    </a:lnTo>
                    <a:lnTo>
                      <a:pt x="1122" y="396"/>
                    </a:lnTo>
                    <a:lnTo>
                      <a:pt x="1117" y="405"/>
                    </a:lnTo>
                    <a:lnTo>
                      <a:pt x="1110" y="412"/>
                    </a:lnTo>
                    <a:lnTo>
                      <a:pt x="1105" y="422"/>
                    </a:lnTo>
                    <a:lnTo>
                      <a:pt x="1096" y="441"/>
                    </a:lnTo>
                    <a:lnTo>
                      <a:pt x="1089" y="461"/>
                    </a:lnTo>
                    <a:lnTo>
                      <a:pt x="1082" y="483"/>
                    </a:lnTo>
                    <a:lnTo>
                      <a:pt x="1077" y="505"/>
                    </a:lnTo>
                    <a:lnTo>
                      <a:pt x="1072" y="528"/>
                    </a:lnTo>
                    <a:lnTo>
                      <a:pt x="1069" y="549"/>
                    </a:lnTo>
                    <a:lnTo>
                      <a:pt x="1067" y="571"/>
                    </a:lnTo>
                    <a:lnTo>
                      <a:pt x="1066" y="592"/>
                    </a:lnTo>
                    <a:lnTo>
                      <a:pt x="1066" y="610"/>
                    </a:lnTo>
                    <a:lnTo>
                      <a:pt x="1065" y="627"/>
                    </a:lnTo>
                    <a:lnTo>
                      <a:pt x="1066" y="644"/>
                    </a:lnTo>
                    <a:lnTo>
                      <a:pt x="1066" y="662"/>
                    </a:lnTo>
                    <a:lnTo>
                      <a:pt x="1067" y="682"/>
                    </a:lnTo>
                    <a:lnTo>
                      <a:pt x="1069" y="701"/>
                    </a:lnTo>
                    <a:lnTo>
                      <a:pt x="1072" y="722"/>
                    </a:lnTo>
                    <a:lnTo>
                      <a:pt x="1077" y="741"/>
                    </a:lnTo>
                    <a:lnTo>
                      <a:pt x="1081" y="761"/>
                    </a:lnTo>
                    <a:lnTo>
                      <a:pt x="1088" y="781"/>
                    </a:lnTo>
                    <a:lnTo>
                      <a:pt x="1095" y="799"/>
                    </a:lnTo>
                    <a:lnTo>
                      <a:pt x="1105" y="815"/>
                    </a:lnTo>
                    <a:lnTo>
                      <a:pt x="1110" y="823"/>
                    </a:lnTo>
                    <a:lnTo>
                      <a:pt x="1116" y="831"/>
                    </a:lnTo>
                    <a:lnTo>
                      <a:pt x="1121" y="837"/>
                    </a:lnTo>
                    <a:lnTo>
                      <a:pt x="1128" y="844"/>
                    </a:lnTo>
                    <a:lnTo>
                      <a:pt x="1135" y="849"/>
                    </a:lnTo>
                    <a:lnTo>
                      <a:pt x="1143" y="854"/>
                    </a:lnTo>
                    <a:lnTo>
                      <a:pt x="1151" y="859"/>
                    </a:lnTo>
                    <a:lnTo>
                      <a:pt x="1159" y="862"/>
                    </a:lnTo>
                    <a:lnTo>
                      <a:pt x="1168" y="865"/>
                    </a:lnTo>
                    <a:lnTo>
                      <a:pt x="1178" y="867"/>
                    </a:lnTo>
                    <a:lnTo>
                      <a:pt x="1187" y="869"/>
                    </a:lnTo>
                    <a:lnTo>
                      <a:pt x="1198" y="870"/>
                    </a:lnTo>
                    <a:lnTo>
                      <a:pt x="1209" y="869"/>
                    </a:lnTo>
                    <a:lnTo>
                      <a:pt x="1219" y="867"/>
                    </a:lnTo>
                    <a:lnTo>
                      <a:pt x="1229" y="865"/>
                    </a:lnTo>
                    <a:lnTo>
                      <a:pt x="1238" y="862"/>
                    </a:lnTo>
                    <a:lnTo>
                      <a:pt x="1248" y="858"/>
                    </a:lnTo>
                    <a:lnTo>
                      <a:pt x="1256" y="853"/>
                    </a:lnTo>
                    <a:lnTo>
                      <a:pt x="1264" y="848"/>
                    </a:lnTo>
                    <a:lnTo>
                      <a:pt x="1272" y="841"/>
                    </a:lnTo>
                    <a:lnTo>
                      <a:pt x="1280" y="835"/>
                    </a:lnTo>
                    <a:lnTo>
                      <a:pt x="1286" y="827"/>
                    </a:lnTo>
                    <a:lnTo>
                      <a:pt x="1293" y="820"/>
                    </a:lnTo>
                    <a:lnTo>
                      <a:pt x="1299" y="812"/>
                    </a:lnTo>
                    <a:lnTo>
                      <a:pt x="1310" y="794"/>
                    </a:lnTo>
                    <a:lnTo>
                      <a:pt x="1320" y="774"/>
                    </a:lnTo>
                    <a:lnTo>
                      <a:pt x="1328" y="753"/>
                    </a:lnTo>
                    <a:lnTo>
                      <a:pt x="1336" y="733"/>
                    </a:lnTo>
                    <a:lnTo>
                      <a:pt x="1341" y="711"/>
                    </a:lnTo>
                    <a:lnTo>
                      <a:pt x="1346" y="689"/>
                    </a:lnTo>
                    <a:lnTo>
                      <a:pt x="1349" y="668"/>
                    </a:lnTo>
                    <a:lnTo>
                      <a:pt x="1351" y="647"/>
                    </a:lnTo>
                    <a:lnTo>
                      <a:pt x="1353" y="627"/>
                    </a:lnTo>
                    <a:lnTo>
                      <a:pt x="1353" y="609"/>
                    </a:lnTo>
                    <a:lnTo>
                      <a:pt x="1353" y="592"/>
                    </a:lnTo>
                    <a:lnTo>
                      <a:pt x="1351" y="573"/>
                    </a:lnTo>
                    <a:lnTo>
                      <a:pt x="1349" y="553"/>
                    </a:lnTo>
                    <a:lnTo>
                      <a:pt x="1346" y="532"/>
                    </a:lnTo>
                    <a:lnTo>
                      <a:pt x="1341" y="511"/>
                    </a:lnTo>
                    <a:lnTo>
                      <a:pt x="1336" y="491"/>
                    </a:lnTo>
                    <a:lnTo>
                      <a:pt x="1328" y="470"/>
                    </a:lnTo>
                    <a:lnTo>
                      <a:pt x="1321" y="450"/>
                    </a:lnTo>
                    <a:lnTo>
                      <a:pt x="1311" y="432"/>
                    </a:lnTo>
                    <a:lnTo>
                      <a:pt x="1300" y="415"/>
                    </a:lnTo>
                    <a:lnTo>
                      <a:pt x="1294" y="407"/>
                    </a:lnTo>
                    <a:lnTo>
                      <a:pt x="1287" y="399"/>
                    </a:lnTo>
                    <a:lnTo>
                      <a:pt x="1281" y="392"/>
                    </a:lnTo>
                    <a:lnTo>
                      <a:pt x="1273" y="385"/>
                    </a:lnTo>
                    <a:lnTo>
                      <a:pt x="1266" y="380"/>
                    </a:lnTo>
                    <a:lnTo>
                      <a:pt x="1258" y="374"/>
                    </a:lnTo>
                    <a:lnTo>
                      <a:pt x="1249" y="370"/>
                    </a:lnTo>
                    <a:lnTo>
                      <a:pt x="1241" y="367"/>
                    </a:lnTo>
                    <a:lnTo>
                      <a:pt x="1231" y="364"/>
                    </a:lnTo>
                    <a:lnTo>
                      <a:pt x="1221" y="361"/>
                    </a:lnTo>
                    <a:lnTo>
                      <a:pt x="1211" y="359"/>
                    </a:lnTo>
                    <a:lnTo>
                      <a:pt x="1200" y="359"/>
                    </a:lnTo>
                    <a:close/>
                    <a:moveTo>
                      <a:pt x="1170" y="1231"/>
                    </a:moveTo>
                    <a:lnTo>
                      <a:pt x="1147" y="1231"/>
                    </a:lnTo>
                    <a:lnTo>
                      <a:pt x="1124" y="1230"/>
                    </a:lnTo>
                    <a:lnTo>
                      <a:pt x="1103" y="1228"/>
                    </a:lnTo>
                    <a:lnTo>
                      <a:pt x="1081" y="1226"/>
                    </a:lnTo>
                    <a:lnTo>
                      <a:pt x="1059" y="1222"/>
                    </a:lnTo>
                    <a:lnTo>
                      <a:pt x="1038" y="1218"/>
                    </a:lnTo>
                    <a:lnTo>
                      <a:pt x="1016" y="1214"/>
                    </a:lnTo>
                    <a:lnTo>
                      <a:pt x="994" y="1209"/>
                    </a:lnTo>
                    <a:lnTo>
                      <a:pt x="994" y="1115"/>
                    </a:lnTo>
                    <a:lnTo>
                      <a:pt x="1014" y="1124"/>
                    </a:lnTo>
                    <a:lnTo>
                      <a:pt x="1033" y="1131"/>
                    </a:lnTo>
                    <a:lnTo>
                      <a:pt x="1053" y="1139"/>
                    </a:lnTo>
                    <a:lnTo>
                      <a:pt x="1073" y="1144"/>
                    </a:lnTo>
                    <a:lnTo>
                      <a:pt x="1094" y="1149"/>
                    </a:lnTo>
                    <a:lnTo>
                      <a:pt x="1115" y="1151"/>
                    </a:lnTo>
                    <a:lnTo>
                      <a:pt x="1135" y="1153"/>
                    </a:lnTo>
                    <a:lnTo>
                      <a:pt x="1157" y="1154"/>
                    </a:lnTo>
                    <a:lnTo>
                      <a:pt x="1184" y="1153"/>
                    </a:lnTo>
                    <a:lnTo>
                      <a:pt x="1208" y="1150"/>
                    </a:lnTo>
                    <a:lnTo>
                      <a:pt x="1220" y="1149"/>
                    </a:lnTo>
                    <a:lnTo>
                      <a:pt x="1231" y="1145"/>
                    </a:lnTo>
                    <a:lnTo>
                      <a:pt x="1241" y="1143"/>
                    </a:lnTo>
                    <a:lnTo>
                      <a:pt x="1251" y="1140"/>
                    </a:lnTo>
                    <a:lnTo>
                      <a:pt x="1260" y="1136"/>
                    </a:lnTo>
                    <a:lnTo>
                      <a:pt x="1269" y="1131"/>
                    </a:lnTo>
                    <a:lnTo>
                      <a:pt x="1277" y="1127"/>
                    </a:lnTo>
                    <a:lnTo>
                      <a:pt x="1285" y="1123"/>
                    </a:lnTo>
                    <a:lnTo>
                      <a:pt x="1293" y="1117"/>
                    </a:lnTo>
                    <a:lnTo>
                      <a:pt x="1299" y="1111"/>
                    </a:lnTo>
                    <a:lnTo>
                      <a:pt x="1306" y="1105"/>
                    </a:lnTo>
                    <a:lnTo>
                      <a:pt x="1311" y="1098"/>
                    </a:lnTo>
                    <a:lnTo>
                      <a:pt x="1317" y="1091"/>
                    </a:lnTo>
                    <a:lnTo>
                      <a:pt x="1322" y="1083"/>
                    </a:lnTo>
                    <a:lnTo>
                      <a:pt x="1326" y="1076"/>
                    </a:lnTo>
                    <a:lnTo>
                      <a:pt x="1331" y="1067"/>
                    </a:lnTo>
                    <a:lnTo>
                      <a:pt x="1338" y="1050"/>
                    </a:lnTo>
                    <a:lnTo>
                      <a:pt x="1344" y="1030"/>
                    </a:lnTo>
                    <a:lnTo>
                      <a:pt x="1348" y="1010"/>
                    </a:lnTo>
                    <a:lnTo>
                      <a:pt x="1351" y="987"/>
                    </a:lnTo>
                    <a:lnTo>
                      <a:pt x="1353" y="963"/>
                    </a:lnTo>
                    <a:lnTo>
                      <a:pt x="1353" y="938"/>
                    </a:lnTo>
                    <a:lnTo>
                      <a:pt x="1353" y="823"/>
                    </a:lnTo>
                    <a:lnTo>
                      <a:pt x="1351" y="823"/>
                    </a:lnTo>
                    <a:lnTo>
                      <a:pt x="1346" y="837"/>
                    </a:lnTo>
                    <a:lnTo>
                      <a:pt x="1339" y="850"/>
                    </a:lnTo>
                    <a:lnTo>
                      <a:pt x="1333" y="863"/>
                    </a:lnTo>
                    <a:lnTo>
                      <a:pt x="1325" y="875"/>
                    </a:lnTo>
                    <a:lnTo>
                      <a:pt x="1317" y="886"/>
                    </a:lnTo>
                    <a:lnTo>
                      <a:pt x="1307" y="897"/>
                    </a:lnTo>
                    <a:lnTo>
                      <a:pt x="1297" y="905"/>
                    </a:lnTo>
                    <a:lnTo>
                      <a:pt x="1286" y="914"/>
                    </a:lnTo>
                    <a:lnTo>
                      <a:pt x="1274" y="922"/>
                    </a:lnTo>
                    <a:lnTo>
                      <a:pt x="1262" y="928"/>
                    </a:lnTo>
                    <a:lnTo>
                      <a:pt x="1249" y="934"/>
                    </a:lnTo>
                    <a:lnTo>
                      <a:pt x="1236" y="939"/>
                    </a:lnTo>
                    <a:lnTo>
                      <a:pt x="1222" y="942"/>
                    </a:lnTo>
                    <a:lnTo>
                      <a:pt x="1208" y="945"/>
                    </a:lnTo>
                    <a:lnTo>
                      <a:pt x="1194" y="947"/>
                    </a:lnTo>
                    <a:lnTo>
                      <a:pt x="1179" y="947"/>
                    </a:lnTo>
                    <a:lnTo>
                      <a:pt x="1162" y="947"/>
                    </a:lnTo>
                    <a:lnTo>
                      <a:pt x="1146" y="946"/>
                    </a:lnTo>
                    <a:lnTo>
                      <a:pt x="1132" y="942"/>
                    </a:lnTo>
                    <a:lnTo>
                      <a:pt x="1118" y="939"/>
                    </a:lnTo>
                    <a:lnTo>
                      <a:pt x="1105" y="935"/>
                    </a:lnTo>
                    <a:lnTo>
                      <a:pt x="1092" y="930"/>
                    </a:lnTo>
                    <a:lnTo>
                      <a:pt x="1080" y="924"/>
                    </a:lnTo>
                    <a:lnTo>
                      <a:pt x="1069" y="917"/>
                    </a:lnTo>
                    <a:lnTo>
                      <a:pt x="1058" y="910"/>
                    </a:lnTo>
                    <a:lnTo>
                      <a:pt x="1049" y="902"/>
                    </a:lnTo>
                    <a:lnTo>
                      <a:pt x="1039" y="893"/>
                    </a:lnTo>
                    <a:lnTo>
                      <a:pt x="1030" y="884"/>
                    </a:lnTo>
                    <a:lnTo>
                      <a:pt x="1022" y="874"/>
                    </a:lnTo>
                    <a:lnTo>
                      <a:pt x="1015" y="864"/>
                    </a:lnTo>
                    <a:lnTo>
                      <a:pt x="1007" y="853"/>
                    </a:lnTo>
                    <a:lnTo>
                      <a:pt x="1002" y="841"/>
                    </a:lnTo>
                    <a:lnTo>
                      <a:pt x="995" y="829"/>
                    </a:lnTo>
                    <a:lnTo>
                      <a:pt x="990" y="817"/>
                    </a:lnTo>
                    <a:lnTo>
                      <a:pt x="986" y="804"/>
                    </a:lnTo>
                    <a:lnTo>
                      <a:pt x="981" y="791"/>
                    </a:lnTo>
                    <a:lnTo>
                      <a:pt x="974" y="765"/>
                    </a:lnTo>
                    <a:lnTo>
                      <a:pt x="968" y="738"/>
                    </a:lnTo>
                    <a:lnTo>
                      <a:pt x="964" y="710"/>
                    </a:lnTo>
                    <a:lnTo>
                      <a:pt x="961" y="682"/>
                    </a:lnTo>
                    <a:lnTo>
                      <a:pt x="960" y="654"/>
                    </a:lnTo>
                    <a:lnTo>
                      <a:pt x="958" y="626"/>
                    </a:lnTo>
                    <a:lnTo>
                      <a:pt x="960" y="599"/>
                    </a:lnTo>
                    <a:lnTo>
                      <a:pt x="961" y="571"/>
                    </a:lnTo>
                    <a:lnTo>
                      <a:pt x="964" y="542"/>
                    </a:lnTo>
                    <a:lnTo>
                      <a:pt x="968" y="512"/>
                    </a:lnTo>
                    <a:lnTo>
                      <a:pt x="975" y="483"/>
                    </a:lnTo>
                    <a:lnTo>
                      <a:pt x="982" y="455"/>
                    </a:lnTo>
                    <a:lnTo>
                      <a:pt x="987" y="441"/>
                    </a:lnTo>
                    <a:lnTo>
                      <a:pt x="992" y="428"/>
                    </a:lnTo>
                    <a:lnTo>
                      <a:pt x="998" y="414"/>
                    </a:lnTo>
                    <a:lnTo>
                      <a:pt x="1003" y="401"/>
                    </a:lnTo>
                    <a:lnTo>
                      <a:pt x="1009" y="389"/>
                    </a:lnTo>
                    <a:lnTo>
                      <a:pt x="1017" y="376"/>
                    </a:lnTo>
                    <a:lnTo>
                      <a:pt x="1025" y="365"/>
                    </a:lnTo>
                    <a:lnTo>
                      <a:pt x="1033" y="353"/>
                    </a:lnTo>
                    <a:lnTo>
                      <a:pt x="1042" y="343"/>
                    </a:lnTo>
                    <a:lnTo>
                      <a:pt x="1051" y="333"/>
                    </a:lnTo>
                    <a:lnTo>
                      <a:pt x="1060" y="323"/>
                    </a:lnTo>
                    <a:lnTo>
                      <a:pt x="1071" y="315"/>
                    </a:lnTo>
                    <a:lnTo>
                      <a:pt x="1083" y="308"/>
                    </a:lnTo>
                    <a:lnTo>
                      <a:pt x="1095" y="301"/>
                    </a:lnTo>
                    <a:lnTo>
                      <a:pt x="1107" y="295"/>
                    </a:lnTo>
                    <a:lnTo>
                      <a:pt x="1121" y="290"/>
                    </a:lnTo>
                    <a:lnTo>
                      <a:pt x="1135" y="287"/>
                    </a:lnTo>
                    <a:lnTo>
                      <a:pt x="1149" y="283"/>
                    </a:lnTo>
                    <a:lnTo>
                      <a:pt x="1165" y="282"/>
                    </a:lnTo>
                    <a:lnTo>
                      <a:pt x="1181" y="281"/>
                    </a:lnTo>
                    <a:lnTo>
                      <a:pt x="1196" y="282"/>
                    </a:lnTo>
                    <a:lnTo>
                      <a:pt x="1210" y="283"/>
                    </a:lnTo>
                    <a:lnTo>
                      <a:pt x="1223" y="285"/>
                    </a:lnTo>
                    <a:lnTo>
                      <a:pt x="1237" y="290"/>
                    </a:lnTo>
                    <a:lnTo>
                      <a:pt x="1250" y="294"/>
                    </a:lnTo>
                    <a:lnTo>
                      <a:pt x="1263" y="300"/>
                    </a:lnTo>
                    <a:lnTo>
                      <a:pt x="1275" y="306"/>
                    </a:lnTo>
                    <a:lnTo>
                      <a:pt x="1287" y="314"/>
                    </a:lnTo>
                    <a:lnTo>
                      <a:pt x="1298" y="321"/>
                    </a:lnTo>
                    <a:lnTo>
                      <a:pt x="1309" y="331"/>
                    </a:lnTo>
                    <a:lnTo>
                      <a:pt x="1318" y="341"/>
                    </a:lnTo>
                    <a:lnTo>
                      <a:pt x="1326" y="352"/>
                    </a:lnTo>
                    <a:lnTo>
                      <a:pt x="1334" y="364"/>
                    </a:lnTo>
                    <a:lnTo>
                      <a:pt x="1340" y="376"/>
                    </a:lnTo>
                    <a:lnTo>
                      <a:pt x="1347" y="389"/>
                    </a:lnTo>
                    <a:lnTo>
                      <a:pt x="1351" y="403"/>
                    </a:lnTo>
                    <a:lnTo>
                      <a:pt x="1353" y="403"/>
                    </a:lnTo>
                    <a:lnTo>
                      <a:pt x="1353" y="296"/>
                    </a:lnTo>
                    <a:lnTo>
                      <a:pt x="1447" y="296"/>
                    </a:lnTo>
                    <a:lnTo>
                      <a:pt x="1447" y="949"/>
                    </a:lnTo>
                    <a:lnTo>
                      <a:pt x="1447" y="965"/>
                    </a:lnTo>
                    <a:lnTo>
                      <a:pt x="1446" y="983"/>
                    </a:lnTo>
                    <a:lnTo>
                      <a:pt x="1445" y="998"/>
                    </a:lnTo>
                    <a:lnTo>
                      <a:pt x="1442" y="1014"/>
                    </a:lnTo>
                    <a:lnTo>
                      <a:pt x="1440" y="1029"/>
                    </a:lnTo>
                    <a:lnTo>
                      <a:pt x="1437" y="1043"/>
                    </a:lnTo>
                    <a:lnTo>
                      <a:pt x="1434" y="1057"/>
                    </a:lnTo>
                    <a:lnTo>
                      <a:pt x="1429" y="1070"/>
                    </a:lnTo>
                    <a:lnTo>
                      <a:pt x="1425" y="1083"/>
                    </a:lnTo>
                    <a:lnTo>
                      <a:pt x="1421" y="1097"/>
                    </a:lnTo>
                    <a:lnTo>
                      <a:pt x="1414" y="1107"/>
                    </a:lnTo>
                    <a:lnTo>
                      <a:pt x="1409" y="1119"/>
                    </a:lnTo>
                    <a:lnTo>
                      <a:pt x="1402" y="1130"/>
                    </a:lnTo>
                    <a:lnTo>
                      <a:pt x="1395" y="1140"/>
                    </a:lnTo>
                    <a:lnTo>
                      <a:pt x="1387" y="1150"/>
                    </a:lnTo>
                    <a:lnTo>
                      <a:pt x="1378" y="1159"/>
                    </a:lnTo>
                    <a:lnTo>
                      <a:pt x="1370" y="1168"/>
                    </a:lnTo>
                    <a:lnTo>
                      <a:pt x="1360" y="1176"/>
                    </a:lnTo>
                    <a:lnTo>
                      <a:pt x="1350" y="1183"/>
                    </a:lnTo>
                    <a:lnTo>
                      <a:pt x="1340" y="1191"/>
                    </a:lnTo>
                    <a:lnTo>
                      <a:pt x="1330" y="1197"/>
                    </a:lnTo>
                    <a:lnTo>
                      <a:pt x="1318" y="1203"/>
                    </a:lnTo>
                    <a:lnTo>
                      <a:pt x="1306" y="1208"/>
                    </a:lnTo>
                    <a:lnTo>
                      <a:pt x="1293" y="1214"/>
                    </a:lnTo>
                    <a:lnTo>
                      <a:pt x="1280" y="1218"/>
                    </a:lnTo>
                    <a:lnTo>
                      <a:pt x="1266" y="1221"/>
                    </a:lnTo>
                    <a:lnTo>
                      <a:pt x="1251" y="1225"/>
                    </a:lnTo>
                    <a:lnTo>
                      <a:pt x="1236" y="1227"/>
                    </a:lnTo>
                    <a:lnTo>
                      <a:pt x="1221" y="1229"/>
                    </a:lnTo>
                    <a:lnTo>
                      <a:pt x="1205" y="1230"/>
                    </a:lnTo>
                    <a:lnTo>
                      <a:pt x="1187" y="1231"/>
                    </a:lnTo>
                    <a:lnTo>
                      <a:pt x="1170" y="1231"/>
                    </a:lnTo>
                    <a:close/>
                    <a:moveTo>
                      <a:pt x="765" y="947"/>
                    </a:moveTo>
                    <a:lnTo>
                      <a:pt x="765" y="296"/>
                    </a:lnTo>
                    <a:lnTo>
                      <a:pt x="859" y="296"/>
                    </a:lnTo>
                    <a:lnTo>
                      <a:pt x="859" y="947"/>
                    </a:lnTo>
                    <a:lnTo>
                      <a:pt x="765" y="947"/>
                    </a:lnTo>
                    <a:close/>
                    <a:moveTo>
                      <a:pt x="750" y="127"/>
                    </a:moveTo>
                    <a:lnTo>
                      <a:pt x="750" y="4"/>
                    </a:lnTo>
                    <a:lnTo>
                      <a:pt x="874" y="4"/>
                    </a:lnTo>
                    <a:lnTo>
                      <a:pt x="874" y="127"/>
                    </a:lnTo>
                    <a:lnTo>
                      <a:pt x="750" y="127"/>
                    </a:lnTo>
                    <a:close/>
                    <a:moveTo>
                      <a:pt x="496" y="947"/>
                    </a:moveTo>
                    <a:lnTo>
                      <a:pt x="496" y="502"/>
                    </a:lnTo>
                    <a:lnTo>
                      <a:pt x="107" y="502"/>
                    </a:lnTo>
                    <a:lnTo>
                      <a:pt x="107" y="947"/>
                    </a:lnTo>
                    <a:lnTo>
                      <a:pt x="0" y="947"/>
                    </a:lnTo>
                    <a:lnTo>
                      <a:pt x="0" y="4"/>
                    </a:lnTo>
                    <a:lnTo>
                      <a:pt x="107" y="4"/>
                    </a:lnTo>
                    <a:lnTo>
                      <a:pt x="107" y="412"/>
                    </a:lnTo>
                    <a:lnTo>
                      <a:pt x="496" y="412"/>
                    </a:lnTo>
                    <a:lnTo>
                      <a:pt x="496" y="4"/>
                    </a:lnTo>
                    <a:lnTo>
                      <a:pt x="604" y="4"/>
                    </a:lnTo>
                    <a:lnTo>
                      <a:pt x="604" y="947"/>
                    </a:lnTo>
                    <a:lnTo>
                      <a:pt x="496" y="947"/>
                    </a:lnTo>
                    <a:close/>
                  </a:path>
                </a:pathLst>
              </a:custGeom>
              <a:solidFill>
                <a:srgbClr val="1F1A17"/>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grpSp>
            <p:nvGrpSpPr>
              <p:cNvPr id="59" name="Group 21"/>
              <p:cNvGrpSpPr/>
              <p:nvPr userDrawn="1"/>
            </p:nvGrpSpPr>
            <p:grpSpPr>
              <a:xfrm>
                <a:off x="471488" y="605980"/>
                <a:ext cx="2196707" cy="386471"/>
                <a:chOff x="931863" y="2459038"/>
                <a:chExt cx="2427287" cy="427038"/>
              </a:xfrm>
              <a:solidFill>
                <a:sysClr val="windowText" lastClr="000000"/>
              </a:solidFill>
            </p:grpSpPr>
            <p:sp>
              <p:nvSpPr>
                <p:cNvPr id="60" name="Freeform 5"/>
                <p:cNvSpPr>
                  <a:spLocks noEditPoints="1"/>
                </p:cNvSpPr>
                <p:nvPr userDrawn="1"/>
              </p:nvSpPr>
              <p:spPr bwMode="auto">
                <a:xfrm>
                  <a:off x="931863" y="2555875"/>
                  <a:ext cx="247650" cy="330200"/>
                </a:xfrm>
                <a:custGeom>
                  <a:avLst/>
                  <a:gdLst/>
                  <a:ahLst/>
                  <a:cxnLst>
                    <a:cxn ang="0">
                      <a:pos x="1703" y="546"/>
                    </a:cxn>
                    <a:cxn ang="0">
                      <a:pos x="1652" y="361"/>
                    </a:cxn>
                    <a:cxn ang="0">
                      <a:pos x="1561" y="217"/>
                    </a:cxn>
                    <a:cxn ang="0">
                      <a:pos x="1432" y="113"/>
                    </a:cxn>
                    <a:cxn ang="0">
                      <a:pos x="1271" y="45"/>
                    </a:cxn>
                    <a:cxn ang="0">
                      <a:pos x="1083" y="9"/>
                    </a:cxn>
                    <a:cxn ang="0">
                      <a:pos x="872" y="1"/>
                    </a:cxn>
                    <a:cxn ang="0">
                      <a:pos x="670" y="21"/>
                    </a:cxn>
                    <a:cxn ang="0">
                      <a:pos x="486" y="74"/>
                    </a:cxn>
                    <a:cxn ang="0">
                      <a:pos x="328" y="160"/>
                    </a:cxn>
                    <a:cxn ang="0">
                      <a:pos x="204" y="282"/>
                    </a:cxn>
                    <a:cxn ang="0">
                      <a:pos x="121" y="444"/>
                    </a:cxn>
                    <a:cxn ang="0">
                      <a:pos x="84" y="647"/>
                    </a:cxn>
                    <a:cxn ang="0">
                      <a:pos x="582" y="635"/>
                    </a:cxn>
                    <a:cxn ang="0">
                      <a:pos x="601" y="550"/>
                    </a:cxn>
                    <a:cxn ang="0">
                      <a:pos x="636" y="480"/>
                    </a:cxn>
                    <a:cxn ang="0">
                      <a:pos x="687" y="425"/>
                    </a:cxn>
                    <a:cxn ang="0">
                      <a:pos x="755" y="386"/>
                    </a:cxn>
                    <a:cxn ang="0">
                      <a:pos x="838" y="364"/>
                    </a:cxn>
                    <a:cxn ang="0">
                      <a:pos x="939" y="359"/>
                    </a:cxn>
                    <a:cxn ang="0">
                      <a:pos x="1038" y="376"/>
                    </a:cxn>
                    <a:cxn ang="0">
                      <a:pos x="1112" y="417"/>
                    </a:cxn>
                    <a:cxn ang="0">
                      <a:pos x="1165" y="477"/>
                    </a:cxn>
                    <a:cxn ang="0">
                      <a:pos x="1198" y="553"/>
                    </a:cxn>
                    <a:cxn ang="0">
                      <a:pos x="1220" y="678"/>
                    </a:cxn>
                    <a:cxn ang="0">
                      <a:pos x="1028" y="982"/>
                    </a:cxn>
                    <a:cxn ang="0">
                      <a:pos x="772" y="1009"/>
                    </a:cxn>
                    <a:cxn ang="0">
                      <a:pos x="519" y="1067"/>
                    </a:cxn>
                    <a:cxn ang="0">
                      <a:pos x="295" y="1168"/>
                    </a:cxn>
                    <a:cxn ang="0">
                      <a:pos x="121" y="1322"/>
                    </a:cxn>
                    <a:cxn ang="0">
                      <a:pos x="18" y="1542"/>
                    </a:cxn>
                    <a:cxn ang="0">
                      <a:pos x="3" y="1780"/>
                    </a:cxn>
                    <a:cxn ang="0">
                      <a:pos x="40" y="1931"/>
                    </a:cxn>
                    <a:cxn ang="0">
                      <a:pos x="111" y="2057"/>
                    </a:cxn>
                    <a:cxn ang="0">
                      <a:pos x="213" y="2155"/>
                    </a:cxn>
                    <a:cxn ang="0">
                      <a:pos x="340" y="2227"/>
                    </a:cxn>
                    <a:cxn ang="0">
                      <a:pos x="485" y="2270"/>
                    </a:cxn>
                    <a:cxn ang="0">
                      <a:pos x="644" y="2285"/>
                    </a:cxn>
                    <a:cxn ang="0">
                      <a:pos x="797" y="2273"/>
                    </a:cxn>
                    <a:cxn ang="0">
                      <a:pos x="901" y="2248"/>
                    </a:cxn>
                    <a:cxn ang="0">
                      <a:pos x="995" y="2208"/>
                    </a:cxn>
                    <a:cxn ang="0">
                      <a:pos x="1082" y="2152"/>
                    </a:cxn>
                    <a:cxn ang="0">
                      <a:pos x="1155" y="2077"/>
                    </a:cxn>
                    <a:cxn ang="0">
                      <a:pos x="1214" y="1982"/>
                    </a:cxn>
                    <a:cxn ang="0">
                      <a:pos x="1224" y="1298"/>
                    </a:cxn>
                    <a:cxn ang="0">
                      <a:pos x="1211" y="1436"/>
                    </a:cxn>
                    <a:cxn ang="0">
                      <a:pos x="1178" y="1574"/>
                    </a:cxn>
                    <a:cxn ang="0">
                      <a:pos x="1124" y="1704"/>
                    </a:cxn>
                    <a:cxn ang="0">
                      <a:pos x="1044" y="1813"/>
                    </a:cxn>
                    <a:cxn ang="0">
                      <a:pos x="937" y="1891"/>
                    </a:cxn>
                    <a:cxn ang="0">
                      <a:pos x="799" y="1927"/>
                    </a:cxn>
                    <a:cxn ang="0">
                      <a:pos x="707" y="1923"/>
                    </a:cxn>
                    <a:cxn ang="0">
                      <a:pos x="641" y="1907"/>
                    </a:cxn>
                    <a:cxn ang="0">
                      <a:pos x="587" y="1877"/>
                    </a:cxn>
                    <a:cxn ang="0">
                      <a:pos x="545" y="1835"/>
                    </a:cxn>
                    <a:cxn ang="0">
                      <a:pos x="515" y="1780"/>
                    </a:cxn>
                    <a:cxn ang="0">
                      <a:pos x="499" y="1713"/>
                    </a:cxn>
                    <a:cxn ang="0">
                      <a:pos x="502" y="1607"/>
                    </a:cxn>
                    <a:cxn ang="0">
                      <a:pos x="558" y="1485"/>
                    </a:cxn>
                    <a:cxn ang="0">
                      <a:pos x="662" y="1396"/>
                    </a:cxn>
                    <a:cxn ang="0">
                      <a:pos x="798" y="1334"/>
                    </a:cxn>
                    <a:cxn ang="0">
                      <a:pos x="947" y="1297"/>
                    </a:cxn>
                    <a:cxn ang="0">
                      <a:pos x="1175" y="1272"/>
                    </a:cxn>
                  </a:cxnLst>
                  <a:rect l="0" t="0" r="r" b="b"/>
                  <a:pathLst>
                    <a:path w="1711" h="2285">
                      <a:moveTo>
                        <a:pt x="1711" y="2235"/>
                      </a:moveTo>
                      <a:lnTo>
                        <a:pt x="1711" y="679"/>
                      </a:lnTo>
                      <a:lnTo>
                        <a:pt x="1710" y="633"/>
                      </a:lnTo>
                      <a:lnTo>
                        <a:pt x="1707" y="589"/>
                      </a:lnTo>
                      <a:lnTo>
                        <a:pt x="1703" y="546"/>
                      </a:lnTo>
                      <a:lnTo>
                        <a:pt x="1697" y="505"/>
                      </a:lnTo>
                      <a:lnTo>
                        <a:pt x="1688" y="467"/>
                      </a:lnTo>
                      <a:lnTo>
                        <a:pt x="1678" y="430"/>
                      </a:lnTo>
                      <a:lnTo>
                        <a:pt x="1666" y="394"/>
                      </a:lnTo>
                      <a:lnTo>
                        <a:pt x="1652" y="361"/>
                      </a:lnTo>
                      <a:lnTo>
                        <a:pt x="1637" y="328"/>
                      </a:lnTo>
                      <a:lnTo>
                        <a:pt x="1620" y="299"/>
                      </a:lnTo>
                      <a:lnTo>
                        <a:pt x="1602" y="270"/>
                      </a:lnTo>
                      <a:lnTo>
                        <a:pt x="1582" y="243"/>
                      </a:lnTo>
                      <a:lnTo>
                        <a:pt x="1561" y="217"/>
                      </a:lnTo>
                      <a:lnTo>
                        <a:pt x="1538" y="194"/>
                      </a:lnTo>
                      <a:lnTo>
                        <a:pt x="1514" y="172"/>
                      </a:lnTo>
                      <a:lnTo>
                        <a:pt x="1487" y="151"/>
                      </a:lnTo>
                      <a:lnTo>
                        <a:pt x="1460" y="131"/>
                      </a:lnTo>
                      <a:lnTo>
                        <a:pt x="1432" y="113"/>
                      </a:lnTo>
                      <a:lnTo>
                        <a:pt x="1402" y="98"/>
                      </a:lnTo>
                      <a:lnTo>
                        <a:pt x="1372" y="82"/>
                      </a:lnTo>
                      <a:lnTo>
                        <a:pt x="1339" y="68"/>
                      </a:lnTo>
                      <a:lnTo>
                        <a:pt x="1306" y="57"/>
                      </a:lnTo>
                      <a:lnTo>
                        <a:pt x="1271" y="45"/>
                      </a:lnTo>
                      <a:lnTo>
                        <a:pt x="1236" y="36"/>
                      </a:lnTo>
                      <a:lnTo>
                        <a:pt x="1199" y="27"/>
                      </a:lnTo>
                      <a:lnTo>
                        <a:pt x="1162" y="20"/>
                      </a:lnTo>
                      <a:lnTo>
                        <a:pt x="1123" y="14"/>
                      </a:lnTo>
                      <a:lnTo>
                        <a:pt x="1083" y="9"/>
                      </a:lnTo>
                      <a:lnTo>
                        <a:pt x="1043" y="5"/>
                      </a:lnTo>
                      <a:lnTo>
                        <a:pt x="1001" y="2"/>
                      </a:lnTo>
                      <a:lnTo>
                        <a:pt x="959" y="1"/>
                      </a:lnTo>
                      <a:lnTo>
                        <a:pt x="916" y="0"/>
                      </a:lnTo>
                      <a:lnTo>
                        <a:pt x="872" y="1"/>
                      </a:lnTo>
                      <a:lnTo>
                        <a:pt x="831" y="3"/>
                      </a:lnTo>
                      <a:lnTo>
                        <a:pt x="789" y="5"/>
                      </a:lnTo>
                      <a:lnTo>
                        <a:pt x="748" y="10"/>
                      </a:lnTo>
                      <a:lnTo>
                        <a:pt x="709" y="15"/>
                      </a:lnTo>
                      <a:lnTo>
                        <a:pt x="670" y="21"/>
                      </a:lnTo>
                      <a:lnTo>
                        <a:pt x="631" y="30"/>
                      </a:lnTo>
                      <a:lnTo>
                        <a:pt x="593" y="39"/>
                      </a:lnTo>
                      <a:lnTo>
                        <a:pt x="556" y="48"/>
                      </a:lnTo>
                      <a:lnTo>
                        <a:pt x="520" y="61"/>
                      </a:lnTo>
                      <a:lnTo>
                        <a:pt x="486" y="74"/>
                      </a:lnTo>
                      <a:lnTo>
                        <a:pt x="452" y="88"/>
                      </a:lnTo>
                      <a:lnTo>
                        <a:pt x="419" y="104"/>
                      </a:lnTo>
                      <a:lnTo>
                        <a:pt x="388" y="121"/>
                      </a:lnTo>
                      <a:lnTo>
                        <a:pt x="357" y="140"/>
                      </a:lnTo>
                      <a:lnTo>
                        <a:pt x="328" y="160"/>
                      </a:lnTo>
                      <a:lnTo>
                        <a:pt x="301" y="180"/>
                      </a:lnTo>
                      <a:lnTo>
                        <a:pt x="274" y="204"/>
                      </a:lnTo>
                      <a:lnTo>
                        <a:pt x="249" y="229"/>
                      </a:lnTo>
                      <a:lnTo>
                        <a:pt x="226" y="255"/>
                      </a:lnTo>
                      <a:lnTo>
                        <a:pt x="204" y="282"/>
                      </a:lnTo>
                      <a:lnTo>
                        <a:pt x="184" y="311"/>
                      </a:lnTo>
                      <a:lnTo>
                        <a:pt x="166" y="342"/>
                      </a:lnTo>
                      <a:lnTo>
                        <a:pt x="149" y="374"/>
                      </a:lnTo>
                      <a:lnTo>
                        <a:pt x="134" y="408"/>
                      </a:lnTo>
                      <a:lnTo>
                        <a:pt x="121" y="444"/>
                      </a:lnTo>
                      <a:lnTo>
                        <a:pt x="109" y="481"/>
                      </a:lnTo>
                      <a:lnTo>
                        <a:pt x="100" y="520"/>
                      </a:lnTo>
                      <a:lnTo>
                        <a:pt x="93" y="561"/>
                      </a:lnTo>
                      <a:lnTo>
                        <a:pt x="87" y="603"/>
                      </a:lnTo>
                      <a:lnTo>
                        <a:pt x="84" y="647"/>
                      </a:lnTo>
                      <a:lnTo>
                        <a:pt x="83" y="693"/>
                      </a:lnTo>
                      <a:lnTo>
                        <a:pt x="579" y="693"/>
                      </a:lnTo>
                      <a:lnTo>
                        <a:pt x="580" y="673"/>
                      </a:lnTo>
                      <a:lnTo>
                        <a:pt x="581" y="654"/>
                      </a:lnTo>
                      <a:lnTo>
                        <a:pt x="582" y="635"/>
                      </a:lnTo>
                      <a:lnTo>
                        <a:pt x="584" y="616"/>
                      </a:lnTo>
                      <a:lnTo>
                        <a:pt x="588" y="600"/>
                      </a:lnTo>
                      <a:lnTo>
                        <a:pt x="592" y="582"/>
                      </a:lnTo>
                      <a:lnTo>
                        <a:pt x="596" y="566"/>
                      </a:lnTo>
                      <a:lnTo>
                        <a:pt x="601" y="550"/>
                      </a:lnTo>
                      <a:lnTo>
                        <a:pt x="607" y="535"/>
                      </a:lnTo>
                      <a:lnTo>
                        <a:pt x="613" y="520"/>
                      </a:lnTo>
                      <a:lnTo>
                        <a:pt x="620" y="506"/>
                      </a:lnTo>
                      <a:lnTo>
                        <a:pt x="628" y="493"/>
                      </a:lnTo>
                      <a:lnTo>
                        <a:pt x="636" y="480"/>
                      </a:lnTo>
                      <a:lnTo>
                        <a:pt x="644" y="468"/>
                      </a:lnTo>
                      <a:lnTo>
                        <a:pt x="655" y="456"/>
                      </a:lnTo>
                      <a:lnTo>
                        <a:pt x="664" y="445"/>
                      </a:lnTo>
                      <a:lnTo>
                        <a:pt x="676" y="435"/>
                      </a:lnTo>
                      <a:lnTo>
                        <a:pt x="687" y="425"/>
                      </a:lnTo>
                      <a:lnTo>
                        <a:pt x="699" y="416"/>
                      </a:lnTo>
                      <a:lnTo>
                        <a:pt x="712" y="408"/>
                      </a:lnTo>
                      <a:lnTo>
                        <a:pt x="725" y="400"/>
                      </a:lnTo>
                      <a:lnTo>
                        <a:pt x="740" y="393"/>
                      </a:lnTo>
                      <a:lnTo>
                        <a:pt x="755" y="386"/>
                      </a:lnTo>
                      <a:lnTo>
                        <a:pt x="769" y="381"/>
                      </a:lnTo>
                      <a:lnTo>
                        <a:pt x="785" y="375"/>
                      </a:lnTo>
                      <a:lnTo>
                        <a:pt x="802" y="371"/>
                      </a:lnTo>
                      <a:lnTo>
                        <a:pt x="820" y="367"/>
                      </a:lnTo>
                      <a:lnTo>
                        <a:pt x="838" y="364"/>
                      </a:lnTo>
                      <a:lnTo>
                        <a:pt x="856" y="362"/>
                      </a:lnTo>
                      <a:lnTo>
                        <a:pt x="876" y="360"/>
                      </a:lnTo>
                      <a:lnTo>
                        <a:pt x="895" y="359"/>
                      </a:lnTo>
                      <a:lnTo>
                        <a:pt x="916" y="359"/>
                      </a:lnTo>
                      <a:lnTo>
                        <a:pt x="939" y="359"/>
                      </a:lnTo>
                      <a:lnTo>
                        <a:pt x="961" y="361"/>
                      </a:lnTo>
                      <a:lnTo>
                        <a:pt x="982" y="363"/>
                      </a:lnTo>
                      <a:lnTo>
                        <a:pt x="1002" y="367"/>
                      </a:lnTo>
                      <a:lnTo>
                        <a:pt x="1020" y="371"/>
                      </a:lnTo>
                      <a:lnTo>
                        <a:pt x="1038" y="376"/>
                      </a:lnTo>
                      <a:lnTo>
                        <a:pt x="1054" y="383"/>
                      </a:lnTo>
                      <a:lnTo>
                        <a:pt x="1070" y="390"/>
                      </a:lnTo>
                      <a:lnTo>
                        <a:pt x="1085" y="398"/>
                      </a:lnTo>
                      <a:lnTo>
                        <a:pt x="1098" y="408"/>
                      </a:lnTo>
                      <a:lnTo>
                        <a:pt x="1112" y="417"/>
                      </a:lnTo>
                      <a:lnTo>
                        <a:pt x="1124" y="428"/>
                      </a:lnTo>
                      <a:lnTo>
                        <a:pt x="1135" y="439"/>
                      </a:lnTo>
                      <a:lnTo>
                        <a:pt x="1146" y="451"/>
                      </a:lnTo>
                      <a:lnTo>
                        <a:pt x="1155" y="463"/>
                      </a:lnTo>
                      <a:lnTo>
                        <a:pt x="1165" y="477"/>
                      </a:lnTo>
                      <a:lnTo>
                        <a:pt x="1172" y="491"/>
                      </a:lnTo>
                      <a:lnTo>
                        <a:pt x="1180" y="505"/>
                      </a:lnTo>
                      <a:lnTo>
                        <a:pt x="1187" y="521"/>
                      </a:lnTo>
                      <a:lnTo>
                        <a:pt x="1193" y="537"/>
                      </a:lnTo>
                      <a:lnTo>
                        <a:pt x="1198" y="553"/>
                      </a:lnTo>
                      <a:lnTo>
                        <a:pt x="1204" y="569"/>
                      </a:lnTo>
                      <a:lnTo>
                        <a:pt x="1208" y="587"/>
                      </a:lnTo>
                      <a:lnTo>
                        <a:pt x="1211" y="604"/>
                      </a:lnTo>
                      <a:lnTo>
                        <a:pt x="1217" y="641"/>
                      </a:lnTo>
                      <a:lnTo>
                        <a:pt x="1220" y="678"/>
                      </a:lnTo>
                      <a:lnTo>
                        <a:pt x="1223" y="717"/>
                      </a:lnTo>
                      <a:lnTo>
                        <a:pt x="1224" y="758"/>
                      </a:lnTo>
                      <a:lnTo>
                        <a:pt x="1224" y="973"/>
                      </a:lnTo>
                      <a:lnTo>
                        <a:pt x="1128" y="976"/>
                      </a:lnTo>
                      <a:lnTo>
                        <a:pt x="1028" y="982"/>
                      </a:lnTo>
                      <a:lnTo>
                        <a:pt x="978" y="985"/>
                      </a:lnTo>
                      <a:lnTo>
                        <a:pt x="926" y="991"/>
                      </a:lnTo>
                      <a:lnTo>
                        <a:pt x="875" y="996"/>
                      </a:lnTo>
                      <a:lnTo>
                        <a:pt x="823" y="1002"/>
                      </a:lnTo>
                      <a:lnTo>
                        <a:pt x="772" y="1009"/>
                      </a:lnTo>
                      <a:lnTo>
                        <a:pt x="720" y="1018"/>
                      </a:lnTo>
                      <a:lnTo>
                        <a:pt x="669" y="1028"/>
                      </a:lnTo>
                      <a:lnTo>
                        <a:pt x="618" y="1040"/>
                      </a:lnTo>
                      <a:lnTo>
                        <a:pt x="569" y="1052"/>
                      </a:lnTo>
                      <a:lnTo>
                        <a:pt x="519" y="1067"/>
                      </a:lnTo>
                      <a:lnTo>
                        <a:pt x="472" y="1084"/>
                      </a:lnTo>
                      <a:lnTo>
                        <a:pt x="426" y="1102"/>
                      </a:lnTo>
                      <a:lnTo>
                        <a:pt x="381" y="1122"/>
                      </a:lnTo>
                      <a:lnTo>
                        <a:pt x="337" y="1144"/>
                      </a:lnTo>
                      <a:lnTo>
                        <a:pt x="295" y="1168"/>
                      </a:lnTo>
                      <a:lnTo>
                        <a:pt x="256" y="1193"/>
                      </a:lnTo>
                      <a:lnTo>
                        <a:pt x="219" y="1222"/>
                      </a:lnTo>
                      <a:lnTo>
                        <a:pt x="184" y="1253"/>
                      </a:lnTo>
                      <a:lnTo>
                        <a:pt x="151" y="1286"/>
                      </a:lnTo>
                      <a:lnTo>
                        <a:pt x="121" y="1322"/>
                      </a:lnTo>
                      <a:lnTo>
                        <a:pt x="95" y="1360"/>
                      </a:lnTo>
                      <a:lnTo>
                        <a:pt x="70" y="1401"/>
                      </a:lnTo>
                      <a:lnTo>
                        <a:pt x="49" y="1445"/>
                      </a:lnTo>
                      <a:lnTo>
                        <a:pt x="33" y="1493"/>
                      </a:lnTo>
                      <a:lnTo>
                        <a:pt x="18" y="1542"/>
                      </a:lnTo>
                      <a:lnTo>
                        <a:pt x="8" y="1595"/>
                      </a:lnTo>
                      <a:lnTo>
                        <a:pt x="2" y="1652"/>
                      </a:lnTo>
                      <a:lnTo>
                        <a:pt x="0" y="1712"/>
                      </a:lnTo>
                      <a:lnTo>
                        <a:pt x="1" y="1746"/>
                      </a:lnTo>
                      <a:lnTo>
                        <a:pt x="3" y="1780"/>
                      </a:lnTo>
                      <a:lnTo>
                        <a:pt x="7" y="1811"/>
                      </a:lnTo>
                      <a:lnTo>
                        <a:pt x="14" y="1843"/>
                      </a:lnTo>
                      <a:lnTo>
                        <a:pt x="21" y="1873"/>
                      </a:lnTo>
                      <a:lnTo>
                        <a:pt x="29" y="1902"/>
                      </a:lnTo>
                      <a:lnTo>
                        <a:pt x="40" y="1931"/>
                      </a:lnTo>
                      <a:lnTo>
                        <a:pt x="52" y="1958"/>
                      </a:lnTo>
                      <a:lnTo>
                        <a:pt x="64" y="1984"/>
                      </a:lnTo>
                      <a:lnTo>
                        <a:pt x="79" y="2009"/>
                      </a:lnTo>
                      <a:lnTo>
                        <a:pt x="95" y="2033"/>
                      </a:lnTo>
                      <a:lnTo>
                        <a:pt x="111" y="2057"/>
                      </a:lnTo>
                      <a:lnTo>
                        <a:pt x="129" y="2079"/>
                      </a:lnTo>
                      <a:lnTo>
                        <a:pt x="149" y="2099"/>
                      </a:lnTo>
                      <a:lnTo>
                        <a:pt x="169" y="2119"/>
                      </a:lnTo>
                      <a:lnTo>
                        <a:pt x="191" y="2137"/>
                      </a:lnTo>
                      <a:lnTo>
                        <a:pt x="213" y="2155"/>
                      </a:lnTo>
                      <a:lnTo>
                        <a:pt x="237" y="2172"/>
                      </a:lnTo>
                      <a:lnTo>
                        <a:pt x="262" y="2188"/>
                      </a:lnTo>
                      <a:lnTo>
                        <a:pt x="287" y="2201"/>
                      </a:lnTo>
                      <a:lnTo>
                        <a:pt x="312" y="2215"/>
                      </a:lnTo>
                      <a:lnTo>
                        <a:pt x="340" y="2227"/>
                      </a:lnTo>
                      <a:lnTo>
                        <a:pt x="367" y="2238"/>
                      </a:lnTo>
                      <a:lnTo>
                        <a:pt x="396" y="2247"/>
                      </a:lnTo>
                      <a:lnTo>
                        <a:pt x="425" y="2257"/>
                      </a:lnTo>
                      <a:lnTo>
                        <a:pt x="455" y="2264"/>
                      </a:lnTo>
                      <a:lnTo>
                        <a:pt x="485" y="2270"/>
                      </a:lnTo>
                      <a:lnTo>
                        <a:pt x="516" y="2276"/>
                      </a:lnTo>
                      <a:lnTo>
                        <a:pt x="548" y="2280"/>
                      </a:lnTo>
                      <a:lnTo>
                        <a:pt x="579" y="2283"/>
                      </a:lnTo>
                      <a:lnTo>
                        <a:pt x="612" y="2284"/>
                      </a:lnTo>
                      <a:lnTo>
                        <a:pt x="644" y="2285"/>
                      </a:lnTo>
                      <a:lnTo>
                        <a:pt x="689" y="2284"/>
                      </a:lnTo>
                      <a:lnTo>
                        <a:pt x="733" y="2281"/>
                      </a:lnTo>
                      <a:lnTo>
                        <a:pt x="755" y="2279"/>
                      </a:lnTo>
                      <a:lnTo>
                        <a:pt x="776" y="2277"/>
                      </a:lnTo>
                      <a:lnTo>
                        <a:pt x="797" y="2273"/>
                      </a:lnTo>
                      <a:lnTo>
                        <a:pt x="819" y="2269"/>
                      </a:lnTo>
                      <a:lnTo>
                        <a:pt x="839" y="2265"/>
                      </a:lnTo>
                      <a:lnTo>
                        <a:pt x="860" y="2260"/>
                      </a:lnTo>
                      <a:lnTo>
                        <a:pt x="880" y="2255"/>
                      </a:lnTo>
                      <a:lnTo>
                        <a:pt x="901" y="2248"/>
                      </a:lnTo>
                      <a:lnTo>
                        <a:pt x="920" y="2242"/>
                      </a:lnTo>
                      <a:lnTo>
                        <a:pt x="940" y="2235"/>
                      </a:lnTo>
                      <a:lnTo>
                        <a:pt x="959" y="2226"/>
                      </a:lnTo>
                      <a:lnTo>
                        <a:pt x="978" y="2218"/>
                      </a:lnTo>
                      <a:lnTo>
                        <a:pt x="995" y="2208"/>
                      </a:lnTo>
                      <a:lnTo>
                        <a:pt x="1013" y="2199"/>
                      </a:lnTo>
                      <a:lnTo>
                        <a:pt x="1031" y="2189"/>
                      </a:lnTo>
                      <a:lnTo>
                        <a:pt x="1048" y="2177"/>
                      </a:lnTo>
                      <a:lnTo>
                        <a:pt x="1065" y="2164"/>
                      </a:lnTo>
                      <a:lnTo>
                        <a:pt x="1082" y="2152"/>
                      </a:lnTo>
                      <a:lnTo>
                        <a:pt x="1097" y="2138"/>
                      </a:lnTo>
                      <a:lnTo>
                        <a:pt x="1112" y="2125"/>
                      </a:lnTo>
                      <a:lnTo>
                        <a:pt x="1127" y="2110"/>
                      </a:lnTo>
                      <a:lnTo>
                        <a:pt x="1142" y="2094"/>
                      </a:lnTo>
                      <a:lnTo>
                        <a:pt x="1155" y="2077"/>
                      </a:lnTo>
                      <a:lnTo>
                        <a:pt x="1168" y="2060"/>
                      </a:lnTo>
                      <a:lnTo>
                        <a:pt x="1180" y="2042"/>
                      </a:lnTo>
                      <a:lnTo>
                        <a:pt x="1192" y="2023"/>
                      </a:lnTo>
                      <a:lnTo>
                        <a:pt x="1204" y="2003"/>
                      </a:lnTo>
                      <a:lnTo>
                        <a:pt x="1214" y="1982"/>
                      </a:lnTo>
                      <a:lnTo>
                        <a:pt x="1224" y="1982"/>
                      </a:lnTo>
                      <a:lnTo>
                        <a:pt x="1224" y="2235"/>
                      </a:lnTo>
                      <a:lnTo>
                        <a:pt x="1711" y="2235"/>
                      </a:lnTo>
                      <a:close/>
                      <a:moveTo>
                        <a:pt x="1224" y="1272"/>
                      </a:moveTo>
                      <a:lnTo>
                        <a:pt x="1224" y="1298"/>
                      </a:lnTo>
                      <a:lnTo>
                        <a:pt x="1223" y="1325"/>
                      </a:lnTo>
                      <a:lnTo>
                        <a:pt x="1220" y="1352"/>
                      </a:lnTo>
                      <a:lnTo>
                        <a:pt x="1218" y="1379"/>
                      </a:lnTo>
                      <a:lnTo>
                        <a:pt x="1215" y="1408"/>
                      </a:lnTo>
                      <a:lnTo>
                        <a:pt x="1211" y="1436"/>
                      </a:lnTo>
                      <a:lnTo>
                        <a:pt x="1206" y="1463"/>
                      </a:lnTo>
                      <a:lnTo>
                        <a:pt x="1200" y="1492"/>
                      </a:lnTo>
                      <a:lnTo>
                        <a:pt x="1194" y="1520"/>
                      </a:lnTo>
                      <a:lnTo>
                        <a:pt x="1187" y="1547"/>
                      </a:lnTo>
                      <a:lnTo>
                        <a:pt x="1178" y="1574"/>
                      </a:lnTo>
                      <a:lnTo>
                        <a:pt x="1169" y="1602"/>
                      </a:lnTo>
                      <a:lnTo>
                        <a:pt x="1159" y="1628"/>
                      </a:lnTo>
                      <a:lnTo>
                        <a:pt x="1148" y="1654"/>
                      </a:lnTo>
                      <a:lnTo>
                        <a:pt x="1136" y="1679"/>
                      </a:lnTo>
                      <a:lnTo>
                        <a:pt x="1124" y="1704"/>
                      </a:lnTo>
                      <a:lnTo>
                        <a:pt x="1110" y="1727"/>
                      </a:lnTo>
                      <a:lnTo>
                        <a:pt x="1095" y="1750"/>
                      </a:lnTo>
                      <a:lnTo>
                        <a:pt x="1079" y="1772"/>
                      </a:lnTo>
                      <a:lnTo>
                        <a:pt x="1062" y="1793"/>
                      </a:lnTo>
                      <a:lnTo>
                        <a:pt x="1044" y="1813"/>
                      </a:lnTo>
                      <a:lnTo>
                        <a:pt x="1025" y="1831"/>
                      </a:lnTo>
                      <a:lnTo>
                        <a:pt x="1004" y="1849"/>
                      </a:lnTo>
                      <a:lnTo>
                        <a:pt x="983" y="1864"/>
                      </a:lnTo>
                      <a:lnTo>
                        <a:pt x="961" y="1878"/>
                      </a:lnTo>
                      <a:lnTo>
                        <a:pt x="937" y="1891"/>
                      </a:lnTo>
                      <a:lnTo>
                        <a:pt x="911" y="1901"/>
                      </a:lnTo>
                      <a:lnTo>
                        <a:pt x="885" y="1911"/>
                      </a:lnTo>
                      <a:lnTo>
                        <a:pt x="858" y="1918"/>
                      </a:lnTo>
                      <a:lnTo>
                        <a:pt x="829" y="1923"/>
                      </a:lnTo>
                      <a:lnTo>
                        <a:pt x="799" y="1927"/>
                      </a:lnTo>
                      <a:lnTo>
                        <a:pt x="768" y="1928"/>
                      </a:lnTo>
                      <a:lnTo>
                        <a:pt x="753" y="1927"/>
                      </a:lnTo>
                      <a:lnTo>
                        <a:pt x="737" y="1927"/>
                      </a:lnTo>
                      <a:lnTo>
                        <a:pt x="722" y="1924"/>
                      </a:lnTo>
                      <a:lnTo>
                        <a:pt x="707" y="1923"/>
                      </a:lnTo>
                      <a:lnTo>
                        <a:pt x="694" y="1921"/>
                      </a:lnTo>
                      <a:lnTo>
                        <a:pt x="680" y="1918"/>
                      </a:lnTo>
                      <a:lnTo>
                        <a:pt x="666" y="1915"/>
                      </a:lnTo>
                      <a:lnTo>
                        <a:pt x="654" y="1911"/>
                      </a:lnTo>
                      <a:lnTo>
                        <a:pt x="641" y="1907"/>
                      </a:lnTo>
                      <a:lnTo>
                        <a:pt x="630" y="1901"/>
                      </a:lnTo>
                      <a:lnTo>
                        <a:pt x="618" y="1896"/>
                      </a:lnTo>
                      <a:lnTo>
                        <a:pt x="608" y="1890"/>
                      </a:lnTo>
                      <a:lnTo>
                        <a:pt x="597" y="1884"/>
                      </a:lnTo>
                      <a:lnTo>
                        <a:pt x="587" y="1877"/>
                      </a:lnTo>
                      <a:lnTo>
                        <a:pt x="577" y="1870"/>
                      </a:lnTo>
                      <a:lnTo>
                        <a:pt x="569" y="1862"/>
                      </a:lnTo>
                      <a:lnTo>
                        <a:pt x="560" y="1853"/>
                      </a:lnTo>
                      <a:lnTo>
                        <a:pt x="552" y="1845"/>
                      </a:lnTo>
                      <a:lnTo>
                        <a:pt x="545" y="1835"/>
                      </a:lnTo>
                      <a:lnTo>
                        <a:pt x="538" y="1825"/>
                      </a:lnTo>
                      <a:lnTo>
                        <a:pt x="531" y="1814"/>
                      </a:lnTo>
                      <a:lnTo>
                        <a:pt x="526" y="1804"/>
                      </a:lnTo>
                      <a:lnTo>
                        <a:pt x="520" y="1792"/>
                      </a:lnTo>
                      <a:lnTo>
                        <a:pt x="515" y="1780"/>
                      </a:lnTo>
                      <a:lnTo>
                        <a:pt x="511" y="1767"/>
                      </a:lnTo>
                      <a:lnTo>
                        <a:pt x="507" y="1755"/>
                      </a:lnTo>
                      <a:lnTo>
                        <a:pt x="504" y="1741"/>
                      </a:lnTo>
                      <a:lnTo>
                        <a:pt x="501" y="1726"/>
                      </a:lnTo>
                      <a:lnTo>
                        <a:pt x="499" y="1713"/>
                      </a:lnTo>
                      <a:lnTo>
                        <a:pt x="498" y="1697"/>
                      </a:lnTo>
                      <a:lnTo>
                        <a:pt x="497" y="1681"/>
                      </a:lnTo>
                      <a:lnTo>
                        <a:pt x="497" y="1666"/>
                      </a:lnTo>
                      <a:lnTo>
                        <a:pt x="498" y="1635"/>
                      </a:lnTo>
                      <a:lnTo>
                        <a:pt x="502" y="1607"/>
                      </a:lnTo>
                      <a:lnTo>
                        <a:pt x="509" y="1580"/>
                      </a:lnTo>
                      <a:lnTo>
                        <a:pt x="518" y="1553"/>
                      </a:lnTo>
                      <a:lnTo>
                        <a:pt x="530" y="1529"/>
                      </a:lnTo>
                      <a:lnTo>
                        <a:pt x="542" y="1506"/>
                      </a:lnTo>
                      <a:lnTo>
                        <a:pt x="558" y="1485"/>
                      </a:lnTo>
                      <a:lnTo>
                        <a:pt x="576" y="1464"/>
                      </a:lnTo>
                      <a:lnTo>
                        <a:pt x="595" y="1445"/>
                      </a:lnTo>
                      <a:lnTo>
                        <a:pt x="616" y="1428"/>
                      </a:lnTo>
                      <a:lnTo>
                        <a:pt x="639" y="1411"/>
                      </a:lnTo>
                      <a:lnTo>
                        <a:pt x="662" y="1396"/>
                      </a:lnTo>
                      <a:lnTo>
                        <a:pt x="687" y="1382"/>
                      </a:lnTo>
                      <a:lnTo>
                        <a:pt x="714" y="1368"/>
                      </a:lnTo>
                      <a:lnTo>
                        <a:pt x="741" y="1356"/>
                      </a:lnTo>
                      <a:lnTo>
                        <a:pt x="768" y="1345"/>
                      </a:lnTo>
                      <a:lnTo>
                        <a:pt x="798" y="1334"/>
                      </a:lnTo>
                      <a:lnTo>
                        <a:pt x="826" y="1325"/>
                      </a:lnTo>
                      <a:lnTo>
                        <a:pt x="857" y="1317"/>
                      </a:lnTo>
                      <a:lnTo>
                        <a:pt x="886" y="1309"/>
                      </a:lnTo>
                      <a:lnTo>
                        <a:pt x="917" y="1302"/>
                      </a:lnTo>
                      <a:lnTo>
                        <a:pt x="947" y="1297"/>
                      </a:lnTo>
                      <a:lnTo>
                        <a:pt x="978" y="1291"/>
                      </a:lnTo>
                      <a:lnTo>
                        <a:pt x="1007" y="1286"/>
                      </a:lnTo>
                      <a:lnTo>
                        <a:pt x="1066" y="1279"/>
                      </a:lnTo>
                      <a:lnTo>
                        <a:pt x="1123" y="1275"/>
                      </a:lnTo>
                      <a:lnTo>
                        <a:pt x="1175" y="1272"/>
                      </a:lnTo>
                      <a:lnTo>
                        <a:pt x="1224" y="1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1" name="Freeform 6"/>
                <p:cNvSpPr>
                  <a:spLocks/>
                </p:cNvSpPr>
                <p:nvPr userDrawn="1"/>
              </p:nvSpPr>
              <p:spPr bwMode="auto">
                <a:xfrm>
                  <a:off x="1211263" y="2555875"/>
                  <a:ext cx="265112" cy="330200"/>
                </a:xfrm>
                <a:custGeom>
                  <a:avLst/>
                  <a:gdLst/>
                  <a:ahLst/>
                  <a:cxnLst>
                    <a:cxn ang="0">
                      <a:pos x="1287"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2" y="497"/>
                    </a:cxn>
                    <a:cxn ang="0">
                      <a:pos x="619" y="581"/>
                    </a:cxn>
                    <a:cxn ang="0">
                      <a:pos x="582" y="676"/>
                    </a:cxn>
                    <a:cxn ang="0">
                      <a:pos x="558" y="777"/>
                    </a:cxn>
                    <a:cxn ang="0">
                      <a:pos x="546" y="880"/>
                    </a:cxn>
                    <a:cxn ang="0">
                      <a:pos x="544" y="1006"/>
                    </a:cxn>
                    <a:cxn ang="0">
                      <a:pos x="566" y="1202"/>
                    </a:cxn>
                    <a:cxn ang="0">
                      <a:pos x="617" y="1383"/>
                    </a:cxn>
                    <a:cxn ang="0">
                      <a:pos x="698" y="1543"/>
                    </a:cxn>
                    <a:cxn ang="0">
                      <a:pos x="805" y="1679"/>
                    </a:cxn>
                    <a:cxn ang="0">
                      <a:pos x="941" y="1789"/>
                    </a:cxn>
                    <a:cxn ang="0">
                      <a:pos x="1102" y="1870"/>
                    </a:cxn>
                    <a:cxn ang="0">
                      <a:pos x="1288" y="1916"/>
                    </a:cxn>
                    <a:cxn ang="0">
                      <a:pos x="1491" y="1927"/>
                    </a:cxn>
                    <a:cxn ang="0">
                      <a:pos x="1653" y="1912"/>
                    </a:cxn>
                    <a:cxn ang="0">
                      <a:pos x="1745" y="1893"/>
                    </a:cxn>
                    <a:cxn ang="0">
                      <a:pos x="1812" y="2184"/>
                    </a:cxn>
                    <a:cxn ang="0">
                      <a:pos x="1656" y="2227"/>
                    </a:cxn>
                    <a:cxn ang="0">
                      <a:pos x="1496" y="2259"/>
                    </a:cxn>
                    <a:cxn ang="0">
                      <a:pos x="1335" y="2279"/>
                    </a:cxn>
                    <a:cxn ang="0">
                      <a:pos x="1173" y="2285"/>
                    </a:cxn>
                    <a:cxn ang="0">
                      <a:pos x="898" y="2263"/>
                    </a:cxn>
                    <a:cxn ang="0">
                      <a:pos x="659" y="2199"/>
                    </a:cxn>
                    <a:cxn ang="0">
                      <a:pos x="458" y="2094"/>
                    </a:cxn>
                    <a:cxn ang="0">
                      <a:pos x="293" y="1952"/>
                    </a:cxn>
                    <a:cxn ang="0">
                      <a:pos x="165" y="1772"/>
                    </a:cxn>
                    <a:cxn ang="0">
                      <a:pos x="73" y="1561"/>
                    </a:cxn>
                    <a:cxn ang="0">
                      <a:pos x="18" y="1319"/>
                    </a:cxn>
                    <a:cxn ang="0">
                      <a:pos x="0" y="1046"/>
                    </a:cxn>
                    <a:cxn ang="0">
                      <a:pos x="16" y="820"/>
                    </a:cxn>
                    <a:cxn ang="0">
                      <a:pos x="64" y="616"/>
                    </a:cxn>
                    <a:cxn ang="0">
                      <a:pos x="144" y="437"/>
                    </a:cxn>
                    <a:cxn ang="0">
                      <a:pos x="255" y="286"/>
                    </a:cxn>
                    <a:cxn ang="0">
                      <a:pos x="396" y="165"/>
                    </a:cxn>
                    <a:cxn ang="0">
                      <a:pos x="569" y="75"/>
                    </a:cxn>
                    <a:cxn ang="0">
                      <a:pos x="771" y="19"/>
                    </a:cxn>
                    <a:cxn ang="0">
                      <a:pos x="1003" y="0"/>
                    </a:cxn>
                    <a:cxn ang="0">
                      <a:pos x="1192" y="13"/>
                    </a:cxn>
                    <a:cxn ang="0">
                      <a:pos x="1358" y="49"/>
                    </a:cxn>
                    <a:cxn ang="0">
                      <a:pos x="1501" y="111"/>
                    </a:cxn>
                    <a:cxn ang="0">
                      <a:pos x="1619" y="198"/>
                    </a:cxn>
                    <a:cxn ang="0">
                      <a:pos x="1713" y="310"/>
                    </a:cxn>
                    <a:cxn ang="0">
                      <a:pos x="1781" y="448"/>
                    </a:cxn>
                    <a:cxn ang="0">
                      <a:pos x="1822" y="610"/>
                    </a:cxn>
                    <a:cxn ang="0">
                      <a:pos x="1836" y="799"/>
                    </a:cxn>
                  </a:cxnLst>
                  <a:rect l="0" t="0" r="r" b="b"/>
                  <a:pathLst>
                    <a:path w="1836" h="2285">
                      <a:moveTo>
                        <a:pt x="1293" y="799"/>
                      </a:moveTo>
                      <a:lnTo>
                        <a:pt x="1292" y="757"/>
                      </a:lnTo>
                      <a:lnTo>
                        <a:pt x="1289" y="715"/>
                      </a:lnTo>
                      <a:lnTo>
                        <a:pt x="1287" y="695"/>
                      </a:lnTo>
                      <a:lnTo>
                        <a:pt x="1285" y="675"/>
                      </a:lnTo>
                      <a:lnTo>
                        <a:pt x="1282" y="655"/>
                      </a:lnTo>
                      <a:lnTo>
                        <a:pt x="1278" y="635"/>
                      </a:lnTo>
                      <a:lnTo>
                        <a:pt x="1274" y="616"/>
                      </a:lnTo>
                      <a:lnTo>
                        <a:pt x="1270" y="598"/>
                      </a:lnTo>
                      <a:lnTo>
                        <a:pt x="1264" y="579"/>
                      </a:lnTo>
                      <a:lnTo>
                        <a:pt x="1258" y="561"/>
                      </a:lnTo>
                      <a:lnTo>
                        <a:pt x="1251" y="543"/>
                      </a:lnTo>
                      <a:lnTo>
                        <a:pt x="1244" y="526"/>
                      </a:lnTo>
                      <a:lnTo>
                        <a:pt x="1236" y="511"/>
                      </a:lnTo>
                      <a:lnTo>
                        <a:pt x="1227" y="494"/>
                      </a:lnTo>
                      <a:lnTo>
                        <a:pt x="1217" y="479"/>
                      </a:lnTo>
                      <a:lnTo>
                        <a:pt x="1207" y="464"/>
                      </a:lnTo>
                      <a:lnTo>
                        <a:pt x="1195" y="452"/>
                      </a:lnTo>
                      <a:lnTo>
                        <a:pt x="1184" y="438"/>
                      </a:lnTo>
                      <a:lnTo>
                        <a:pt x="1170" y="427"/>
                      </a:lnTo>
                      <a:lnTo>
                        <a:pt x="1156" y="415"/>
                      </a:lnTo>
                      <a:lnTo>
                        <a:pt x="1142" y="405"/>
                      </a:lnTo>
                      <a:lnTo>
                        <a:pt x="1126" y="395"/>
                      </a:lnTo>
                      <a:lnTo>
                        <a:pt x="1109" y="387"/>
                      </a:lnTo>
                      <a:lnTo>
                        <a:pt x="1091" y="380"/>
                      </a:lnTo>
                      <a:lnTo>
                        <a:pt x="1072" y="373"/>
                      </a:lnTo>
                      <a:lnTo>
                        <a:pt x="1052" y="368"/>
                      </a:lnTo>
                      <a:lnTo>
                        <a:pt x="1031" y="364"/>
                      </a:lnTo>
                      <a:lnTo>
                        <a:pt x="1009" y="361"/>
                      </a:lnTo>
                      <a:lnTo>
                        <a:pt x="986" y="359"/>
                      </a:lnTo>
                      <a:lnTo>
                        <a:pt x="962" y="359"/>
                      </a:lnTo>
                      <a:lnTo>
                        <a:pt x="931" y="360"/>
                      </a:lnTo>
                      <a:lnTo>
                        <a:pt x="904" y="362"/>
                      </a:lnTo>
                      <a:lnTo>
                        <a:pt x="877" y="367"/>
                      </a:lnTo>
                      <a:lnTo>
                        <a:pt x="851" y="373"/>
                      </a:lnTo>
                      <a:lnTo>
                        <a:pt x="826" y="382"/>
                      </a:lnTo>
                      <a:lnTo>
                        <a:pt x="803" y="391"/>
                      </a:lnTo>
                      <a:lnTo>
                        <a:pt x="781" y="403"/>
                      </a:lnTo>
                      <a:lnTo>
                        <a:pt x="760" y="415"/>
                      </a:lnTo>
                      <a:lnTo>
                        <a:pt x="740" y="429"/>
                      </a:lnTo>
                      <a:lnTo>
                        <a:pt x="721" y="445"/>
                      </a:lnTo>
                      <a:lnTo>
                        <a:pt x="704" y="460"/>
                      </a:lnTo>
                      <a:lnTo>
                        <a:pt x="688" y="478"/>
                      </a:lnTo>
                      <a:lnTo>
                        <a:pt x="672" y="497"/>
                      </a:lnTo>
                      <a:lnTo>
                        <a:pt x="657" y="517"/>
                      </a:lnTo>
                      <a:lnTo>
                        <a:pt x="643" y="537"/>
                      </a:lnTo>
                      <a:lnTo>
                        <a:pt x="631" y="559"/>
                      </a:lnTo>
                      <a:lnTo>
                        <a:pt x="619" y="581"/>
                      </a:lnTo>
                      <a:lnTo>
                        <a:pt x="609" y="604"/>
                      </a:lnTo>
                      <a:lnTo>
                        <a:pt x="599" y="627"/>
                      </a:lnTo>
                      <a:lnTo>
                        <a:pt x="590" y="651"/>
                      </a:lnTo>
                      <a:lnTo>
                        <a:pt x="582" y="676"/>
                      </a:lnTo>
                      <a:lnTo>
                        <a:pt x="575" y="700"/>
                      </a:lnTo>
                      <a:lnTo>
                        <a:pt x="569" y="725"/>
                      </a:lnTo>
                      <a:lnTo>
                        <a:pt x="563" y="752"/>
                      </a:lnTo>
                      <a:lnTo>
                        <a:pt x="558" y="777"/>
                      </a:lnTo>
                      <a:lnTo>
                        <a:pt x="554" y="803"/>
                      </a:lnTo>
                      <a:lnTo>
                        <a:pt x="550" y="828"/>
                      </a:lnTo>
                      <a:lnTo>
                        <a:pt x="548" y="854"/>
                      </a:lnTo>
                      <a:lnTo>
                        <a:pt x="546" y="880"/>
                      </a:lnTo>
                      <a:lnTo>
                        <a:pt x="544" y="905"/>
                      </a:lnTo>
                      <a:lnTo>
                        <a:pt x="543" y="930"/>
                      </a:lnTo>
                      <a:lnTo>
                        <a:pt x="543" y="955"/>
                      </a:lnTo>
                      <a:lnTo>
                        <a:pt x="544" y="1006"/>
                      </a:lnTo>
                      <a:lnTo>
                        <a:pt x="547" y="1057"/>
                      </a:lnTo>
                      <a:lnTo>
                        <a:pt x="551" y="1106"/>
                      </a:lnTo>
                      <a:lnTo>
                        <a:pt x="557" y="1155"/>
                      </a:lnTo>
                      <a:lnTo>
                        <a:pt x="566" y="1202"/>
                      </a:lnTo>
                      <a:lnTo>
                        <a:pt x="576" y="1250"/>
                      </a:lnTo>
                      <a:lnTo>
                        <a:pt x="588" y="1295"/>
                      </a:lnTo>
                      <a:lnTo>
                        <a:pt x="602" y="1339"/>
                      </a:lnTo>
                      <a:lnTo>
                        <a:pt x="617" y="1383"/>
                      </a:lnTo>
                      <a:lnTo>
                        <a:pt x="635" y="1425"/>
                      </a:lnTo>
                      <a:lnTo>
                        <a:pt x="654" y="1465"/>
                      </a:lnTo>
                      <a:lnTo>
                        <a:pt x="675" y="1504"/>
                      </a:lnTo>
                      <a:lnTo>
                        <a:pt x="698" y="1543"/>
                      </a:lnTo>
                      <a:lnTo>
                        <a:pt x="722" y="1579"/>
                      </a:lnTo>
                      <a:lnTo>
                        <a:pt x="749" y="1614"/>
                      </a:lnTo>
                      <a:lnTo>
                        <a:pt x="776" y="1648"/>
                      </a:lnTo>
                      <a:lnTo>
                        <a:pt x="805" y="1679"/>
                      </a:lnTo>
                      <a:lnTo>
                        <a:pt x="837" y="1710"/>
                      </a:lnTo>
                      <a:lnTo>
                        <a:pt x="869" y="1738"/>
                      </a:lnTo>
                      <a:lnTo>
                        <a:pt x="904" y="1765"/>
                      </a:lnTo>
                      <a:lnTo>
                        <a:pt x="941" y="1789"/>
                      </a:lnTo>
                      <a:lnTo>
                        <a:pt x="979" y="1812"/>
                      </a:lnTo>
                      <a:lnTo>
                        <a:pt x="1018" y="1833"/>
                      </a:lnTo>
                      <a:lnTo>
                        <a:pt x="1059" y="1853"/>
                      </a:lnTo>
                      <a:lnTo>
                        <a:pt x="1102" y="1870"/>
                      </a:lnTo>
                      <a:lnTo>
                        <a:pt x="1146" y="1885"/>
                      </a:lnTo>
                      <a:lnTo>
                        <a:pt x="1192" y="1897"/>
                      </a:lnTo>
                      <a:lnTo>
                        <a:pt x="1239" y="1908"/>
                      </a:lnTo>
                      <a:lnTo>
                        <a:pt x="1288" y="1916"/>
                      </a:lnTo>
                      <a:lnTo>
                        <a:pt x="1338" y="1922"/>
                      </a:lnTo>
                      <a:lnTo>
                        <a:pt x="1391" y="1926"/>
                      </a:lnTo>
                      <a:lnTo>
                        <a:pt x="1444" y="1928"/>
                      </a:lnTo>
                      <a:lnTo>
                        <a:pt x="1491" y="1927"/>
                      </a:lnTo>
                      <a:lnTo>
                        <a:pt x="1537" y="1924"/>
                      </a:lnTo>
                      <a:lnTo>
                        <a:pt x="1584" y="1920"/>
                      </a:lnTo>
                      <a:lnTo>
                        <a:pt x="1631" y="1915"/>
                      </a:lnTo>
                      <a:lnTo>
                        <a:pt x="1653" y="1912"/>
                      </a:lnTo>
                      <a:lnTo>
                        <a:pt x="1676" y="1908"/>
                      </a:lnTo>
                      <a:lnTo>
                        <a:pt x="1699" y="1904"/>
                      </a:lnTo>
                      <a:lnTo>
                        <a:pt x="1722" y="1898"/>
                      </a:lnTo>
                      <a:lnTo>
                        <a:pt x="1745" y="1893"/>
                      </a:lnTo>
                      <a:lnTo>
                        <a:pt x="1767" y="1887"/>
                      </a:lnTo>
                      <a:lnTo>
                        <a:pt x="1790" y="1879"/>
                      </a:lnTo>
                      <a:lnTo>
                        <a:pt x="1812" y="1872"/>
                      </a:lnTo>
                      <a:lnTo>
                        <a:pt x="1812" y="2184"/>
                      </a:lnTo>
                      <a:lnTo>
                        <a:pt x="1773" y="2196"/>
                      </a:lnTo>
                      <a:lnTo>
                        <a:pt x="1735" y="2207"/>
                      </a:lnTo>
                      <a:lnTo>
                        <a:pt x="1695" y="2217"/>
                      </a:lnTo>
                      <a:lnTo>
                        <a:pt x="1656" y="2227"/>
                      </a:lnTo>
                      <a:lnTo>
                        <a:pt x="1616" y="2236"/>
                      </a:lnTo>
                      <a:lnTo>
                        <a:pt x="1576" y="2244"/>
                      </a:lnTo>
                      <a:lnTo>
                        <a:pt x="1536" y="2251"/>
                      </a:lnTo>
                      <a:lnTo>
                        <a:pt x="1496" y="2259"/>
                      </a:lnTo>
                      <a:lnTo>
                        <a:pt x="1456" y="2265"/>
                      </a:lnTo>
                      <a:lnTo>
                        <a:pt x="1416" y="2270"/>
                      </a:lnTo>
                      <a:lnTo>
                        <a:pt x="1375" y="2275"/>
                      </a:lnTo>
                      <a:lnTo>
                        <a:pt x="1335" y="2279"/>
                      </a:lnTo>
                      <a:lnTo>
                        <a:pt x="1294" y="2281"/>
                      </a:lnTo>
                      <a:lnTo>
                        <a:pt x="1254" y="2283"/>
                      </a:lnTo>
                      <a:lnTo>
                        <a:pt x="1213" y="2285"/>
                      </a:lnTo>
                      <a:lnTo>
                        <a:pt x="1173" y="2285"/>
                      </a:lnTo>
                      <a:lnTo>
                        <a:pt x="1101" y="2284"/>
                      </a:lnTo>
                      <a:lnTo>
                        <a:pt x="1031" y="2280"/>
                      </a:lnTo>
                      <a:lnTo>
                        <a:pt x="963" y="2272"/>
                      </a:lnTo>
                      <a:lnTo>
                        <a:pt x="898" y="2263"/>
                      </a:lnTo>
                      <a:lnTo>
                        <a:pt x="835" y="2250"/>
                      </a:lnTo>
                      <a:lnTo>
                        <a:pt x="774" y="2236"/>
                      </a:lnTo>
                      <a:lnTo>
                        <a:pt x="716" y="2219"/>
                      </a:lnTo>
                      <a:lnTo>
                        <a:pt x="659" y="2199"/>
                      </a:lnTo>
                      <a:lnTo>
                        <a:pt x="606" y="2176"/>
                      </a:lnTo>
                      <a:lnTo>
                        <a:pt x="554" y="2151"/>
                      </a:lnTo>
                      <a:lnTo>
                        <a:pt x="505" y="2124"/>
                      </a:lnTo>
                      <a:lnTo>
                        <a:pt x="458" y="2094"/>
                      </a:lnTo>
                      <a:lnTo>
                        <a:pt x="413" y="2062"/>
                      </a:lnTo>
                      <a:lnTo>
                        <a:pt x="371" y="2027"/>
                      </a:lnTo>
                      <a:lnTo>
                        <a:pt x="331" y="1990"/>
                      </a:lnTo>
                      <a:lnTo>
                        <a:pt x="293" y="1952"/>
                      </a:lnTo>
                      <a:lnTo>
                        <a:pt x="258" y="1910"/>
                      </a:lnTo>
                      <a:lnTo>
                        <a:pt x="224" y="1867"/>
                      </a:lnTo>
                      <a:lnTo>
                        <a:pt x="194" y="1821"/>
                      </a:lnTo>
                      <a:lnTo>
                        <a:pt x="165" y="1772"/>
                      </a:lnTo>
                      <a:lnTo>
                        <a:pt x="139" y="1723"/>
                      </a:lnTo>
                      <a:lnTo>
                        <a:pt x="115" y="1671"/>
                      </a:lnTo>
                      <a:lnTo>
                        <a:pt x="93" y="1617"/>
                      </a:lnTo>
                      <a:lnTo>
                        <a:pt x="73" y="1561"/>
                      </a:lnTo>
                      <a:lnTo>
                        <a:pt x="56" y="1503"/>
                      </a:lnTo>
                      <a:lnTo>
                        <a:pt x="41" y="1443"/>
                      </a:lnTo>
                      <a:lnTo>
                        <a:pt x="29" y="1382"/>
                      </a:lnTo>
                      <a:lnTo>
                        <a:pt x="18" y="1319"/>
                      </a:lnTo>
                      <a:lnTo>
                        <a:pt x="11" y="1253"/>
                      </a:lnTo>
                      <a:lnTo>
                        <a:pt x="4" y="1186"/>
                      </a:lnTo>
                      <a:lnTo>
                        <a:pt x="1" y="1117"/>
                      </a:lnTo>
                      <a:lnTo>
                        <a:pt x="0" y="1046"/>
                      </a:lnTo>
                      <a:lnTo>
                        <a:pt x="1" y="987"/>
                      </a:lnTo>
                      <a:lnTo>
                        <a:pt x="4" y="931"/>
                      </a:lnTo>
                      <a:lnTo>
                        <a:pt x="9" y="874"/>
                      </a:lnTo>
                      <a:lnTo>
                        <a:pt x="16" y="820"/>
                      </a:lnTo>
                      <a:lnTo>
                        <a:pt x="25" y="766"/>
                      </a:lnTo>
                      <a:lnTo>
                        <a:pt x="36" y="715"/>
                      </a:lnTo>
                      <a:lnTo>
                        <a:pt x="48" y="665"/>
                      </a:lnTo>
                      <a:lnTo>
                        <a:pt x="64" y="616"/>
                      </a:lnTo>
                      <a:lnTo>
                        <a:pt x="81" y="569"/>
                      </a:lnTo>
                      <a:lnTo>
                        <a:pt x="100" y="523"/>
                      </a:lnTo>
                      <a:lnTo>
                        <a:pt x="121" y="479"/>
                      </a:lnTo>
                      <a:lnTo>
                        <a:pt x="144" y="437"/>
                      </a:lnTo>
                      <a:lnTo>
                        <a:pt x="168" y="396"/>
                      </a:lnTo>
                      <a:lnTo>
                        <a:pt x="196" y="359"/>
                      </a:lnTo>
                      <a:lnTo>
                        <a:pt x="224" y="321"/>
                      </a:lnTo>
                      <a:lnTo>
                        <a:pt x="255" y="286"/>
                      </a:lnTo>
                      <a:lnTo>
                        <a:pt x="287" y="253"/>
                      </a:lnTo>
                      <a:lnTo>
                        <a:pt x="322" y="221"/>
                      </a:lnTo>
                      <a:lnTo>
                        <a:pt x="358" y="192"/>
                      </a:lnTo>
                      <a:lnTo>
                        <a:pt x="396" y="165"/>
                      </a:lnTo>
                      <a:lnTo>
                        <a:pt x="436" y="140"/>
                      </a:lnTo>
                      <a:lnTo>
                        <a:pt x="478" y="115"/>
                      </a:lnTo>
                      <a:lnTo>
                        <a:pt x="523" y="95"/>
                      </a:lnTo>
                      <a:lnTo>
                        <a:pt x="569" y="75"/>
                      </a:lnTo>
                      <a:lnTo>
                        <a:pt x="616" y="58"/>
                      </a:lnTo>
                      <a:lnTo>
                        <a:pt x="666" y="43"/>
                      </a:lnTo>
                      <a:lnTo>
                        <a:pt x="717" y="31"/>
                      </a:lnTo>
                      <a:lnTo>
                        <a:pt x="771" y="19"/>
                      </a:lnTo>
                      <a:lnTo>
                        <a:pt x="826" y="12"/>
                      </a:lnTo>
                      <a:lnTo>
                        <a:pt x="883" y="5"/>
                      </a:lnTo>
                      <a:lnTo>
                        <a:pt x="942" y="1"/>
                      </a:lnTo>
                      <a:lnTo>
                        <a:pt x="1003" y="0"/>
                      </a:lnTo>
                      <a:lnTo>
                        <a:pt x="1052" y="1"/>
                      </a:lnTo>
                      <a:lnTo>
                        <a:pt x="1100" y="3"/>
                      </a:lnTo>
                      <a:lnTo>
                        <a:pt x="1147" y="8"/>
                      </a:lnTo>
                      <a:lnTo>
                        <a:pt x="1192" y="13"/>
                      </a:lnTo>
                      <a:lnTo>
                        <a:pt x="1235" y="20"/>
                      </a:lnTo>
                      <a:lnTo>
                        <a:pt x="1277" y="28"/>
                      </a:lnTo>
                      <a:lnTo>
                        <a:pt x="1318" y="38"/>
                      </a:lnTo>
                      <a:lnTo>
                        <a:pt x="1358" y="49"/>
                      </a:lnTo>
                      <a:lnTo>
                        <a:pt x="1396" y="63"/>
                      </a:lnTo>
                      <a:lnTo>
                        <a:pt x="1432" y="78"/>
                      </a:lnTo>
                      <a:lnTo>
                        <a:pt x="1468" y="93"/>
                      </a:lnTo>
                      <a:lnTo>
                        <a:pt x="1501" y="111"/>
                      </a:lnTo>
                      <a:lnTo>
                        <a:pt x="1533" y="131"/>
                      </a:lnTo>
                      <a:lnTo>
                        <a:pt x="1563" y="152"/>
                      </a:lnTo>
                      <a:lnTo>
                        <a:pt x="1592" y="174"/>
                      </a:lnTo>
                      <a:lnTo>
                        <a:pt x="1619" y="198"/>
                      </a:lnTo>
                      <a:lnTo>
                        <a:pt x="1645" y="224"/>
                      </a:lnTo>
                      <a:lnTo>
                        <a:pt x="1669" y="252"/>
                      </a:lnTo>
                      <a:lnTo>
                        <a:pt x="1691" y="280"/>
                      </a:lnTo>
                      <a:lnTo>
                        <a:pt x="1713" y="310"/>
                      </a:lnTo>
                      <a:lnTo>
                        <a:pt x="1732" y="342"/>
                      </a:lnTo>
                      <a:lnTo>
                        <a:pt x="1749" y="375"/>
                      </a:lnTo>
                      <a:lnTo>
                        <a:pt x="1766" y="411"/>
                      </a:lnTo>
                      <a:lnTo>
                        <a:pt x="1781" y="448"/>
                      </a:lnTo>
                      <a:lnTo>
                        <a:pt x="1793" y="485"/>
                      </a:lnTo>
                      <a:lnTo>
                        <a:pt x="1804" y="526"/>
                      </a:lnTo>
                      <a:lnTo>
                        <a:pt x="1813" y="567"/>
                      </a:lnTo>
                      <a:lnTo>
                        <a:pt x="1822" y="610"/>
                      </a:lnTo>
                      <a:lnTo>
                        <a:pt x="1827" y="655"/>
                      </a:lnTo>
                      <a:lnTo>
                        <a:pt x="1832" y="701"/>
                      </a:lnTo>
                      <a:lnTo>
                        <a:pt x="1834" y="750"/>
                      </a:lnTo>
                      <a:lnTo>
                        <a:pt x="1836" y="799"/>
                      </a:lnTo>
                      <a:lnTo>
                        <a:pt x="1293"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2" name="Freeform 7"/>
                <p:cNvSpPr>
                  <a:spLocks/>
                </p:cNvSpPr>
                <p:nvPr userDrawn="1"/>
              </p:nvSpPr>
              <p:spPr bwMode="auto">
                <a:xfrm>
                  <a:off x="1493838" y="2555875"/>
                  <a:ext cx="265112" cy="330200"/>
                </a:xfrm>
                <a:custGeom>
                  <a:avLst/>
                  <a:gdLst/>
                  <a:ahLst/>
                  <a:cxnLst>
                    <a:cxn ang="0">
                      <a:pos x="1286"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1" y="497"/>
                    </a:cxn>
                    <a:cxn ang="0">
                      <a:pos x="619" y="581"/>
                    </a:cxn>
                    <a:cxn ang="0">
                      <a:pos x="582" y="676"/>
                    </a:cxn>
                    <a:cxn ang="0">
                      <a:pos x="558" y="777"/>
                    </a:cxn>
                    <a:cxn ang="0">
                      <a:pos x="545" y="880"/>
                    </a:cxn>
                    <a:cxn ang="0">
                      <a:pos x="543" y="1006"/>
                    </a:cxn>
                    <a:cxn ang="0">
                      <a:pos x="565" y="1202"/>
                    </a:cxn>
                    <a:cxn ang="0">
                      <a:pos x="617" y="1383"/>
                    </a:cxn>
                    <a:cxn ang="0">
                      <a:pos x="698" y="1543"/>
                    </a:cxn>
                    <a:cxn ang="0">
                      <a:pos x="805" y="1679"/>
                    </a:cxn>
                    <a:cxn ang="0">
                      <a:pos x="940" y="1789"/>
                    </a:cxn>
                    <a:cxn ang="0">
                      <a:pos x="1101" y="1870"/>
                    </a:cxn>
                    <a:cxn ang="0">
                      <a:pos x="1287" y="1916"/>
                    </a:cxn>
                    <a:cxn ang="0">
                      <a:pos x="1490" y="1927"/>
                    </a:cxn>
                    <a:cxn ang="0">
                      <a:pos x="1652" y="1912"/>
                    </a:cxn>
                    <a:cxn ang="0">
                      <a:pos x="1744" y="1893"/>
                    </a:cxn>
                    <a:cxn ang="0">
                      <a:pos x="1812" y="2184"/>
                    </a:cxn>
                    <a:cxn ang="0">
                      <a:pos x="1655" y="2227"/>
                    </a:cxn>
                    <a:cxn ang="0">
                      <a:pos x="1495" y="2259"/>
                    </a:cxn>
                    <a:cxn ang="0">
                      <a:pos x="1335" y="2279"/>
                    </a:cxn>
                    <a:cxn ang="0">
                      <a:pos x="1173" y="2285"/>
                    </a:cxn>
                    <a:cxn ang="0">
                      <a:pos x="897" y="2263"/>
                    </a:cxn>
                    <a:cxn ang="0">
                      <a:pos x="659" y="2199"/>
                    </a:cxn>
                    <a:cxn ang="0">
                      <a:pos x="458" y="2094"/>
                    </a:cxn>
                    <a:cxn ang="0">
                      <a:pos x="293" y="1952"/>
                    </a:cxn>
                    <a:cxn ang="0">
                      <a:pos x="165" y="1772"/>
                    </a:cxn>
                    <a:cxn ang="0">
                      <a:pos x="72" y="1561"/>
                    </a:cxn>
                    <a:cxn ang="0">
                      <a:pos x="18" y="1319"/>
                    </a:cxn>
                    <a:cxn ang="0">
                      <a:pos x="0" y="1046"/>
                    </a:cxn>
                    <a:cxn ang="0">
                      <a:pos x="15" y="820"/>
                    </a:cxn>
                    <a:cxn ang="0">
                      <a:pos x="64" y="616"/>
                    </a:cxn>
                    <a:cxn ang="0">
                      <a:pos x="143" y="437"/>
                    </a:cxn>
                    <a:cxn ang="0">
                      <a:pos x="254" y="286"/>
                    </a:cxn>
                    <a:cxn ang="0">
                      <a:pos x="396" y="165"/>
                    </a:cxn>
                    <a:cxn ang="0">
                      <a:pos x="568" y="75"/>
                    </a:cxn>
                    <a:cxn ang="0">
                      <a:pos x="770" y="19"/>
                    </a:cxn>
                    <a:cxn ang="0">
                      <a:pos x="1002" y="0"/>
                    </a:cxn>
                    <a:cxn ang="0">
                      <a:pos x="1191" y="13"/>
                    </a:cxn>
                    <a:cxn ang="0">
                      <a:pos x="1358" y="49"/>
                    </a:cxn>
                    <a:cxn ang="0">
                      <a:pos x="1500" y="111"/>
                    </a:cxn>
                    <a:cxn ang="0">
                      <a:pos x="1618" y="198"/>
                    </a:cxn>
                    <a:cxn ang="0">
                      <a:pos x="1712" y="310"/>
                    </a:cxn>
                    <a:cxn ang="0">
                      <a:pos x="1779" y="448"/>
                    </a:cxn>
                    <a:cxn ang="0">
                      <a:pos x="1821" y="610"/>
                    </a:cxn>
                    <a:cxn ang="0">
                      <a:pos x="1835" y="799"/>
                    </a:cxn>
                  </a:cxnLst>
                  <a:rect l="0" t="0" r="r" b="b"/>
                  <a:pathLst>
                    <a:path w="1835" h="2285">
                      <a:moveTo>
                        <a:pt x="1292" y="799"/>
                      </a:moveTo>
                      <a:lnTo>
                        <a:pt x="1292" y="757"/>
                      </a:lnTo>
                      <a:lnTo>
                        <a:pt x="1288" y="715"/>
                      </a:lnTo>
                      <a:lnTo>
                        <a:pt x="1286" y="695"/>
                      </a:lnTo>
                      <a:lnTo>
                        <a:pt x="1284" y="675"/>
                      </a:lnTo>
                      <a:lnTo>
                        <a:pt x="1281" y="655"/>
                      </a:lnTo>
                      <a:lnTo>
                        <a:pt x="1278" y="635"/>
                      </a:lnTo>
                      <a:lnTo>
                        <a:pt x="1274" y="616"/>
                      </a:lnTo>
                      <a:lnTo>
                        <a:pt x="1268" y="598"/>
                      </a:lnTo>
                      <a:lnTo>
                        <a:pt x="1263" y="579"/>
                      </a:lnTo>
                      <a:lnTo>
                        <a:pt x="1258" y="561"/>
                      </a:lnTo>
                      <a:lnTo>
                        <a:pt x="1251" y="543"/>
                      </a:lnTo>
                      <a:lnTo>
                        <a:pt x="1243" y="526"/>
                      </a:lnTo>
                      <a:lnTo>
                        <a:pt x="1235" y="511"/>
                      </a:lnTo>
                      <a:lnTo>
                        <a:pt x="1226" y="494"/>
                      </a:lnTo>
                      <a:lnTo>
                        <a:pt x="1217" y="479"/>
                      </a:lnTo>
                      <a:lnTo>
                        <a:pt x="1206" y="464"/>
                      </a:lnTo>
                      <a:lnTo>
                        <a:pt x="1195" y="452"/>
                      </a:lnTo>
                      <a:lnTo>
                        <a:pt x="1183" y="438"/>
                      </a:lnTo>
                      <a:lnTo>
                        <a:pt x="1170" y="427"/>
                      </a:lnTo>
                      <a:lnTo>
                        <a:pt x="1156" y="415"/>
                      </a:lnTo>
                      <a:lnTo>
                        <a:pt x="1141" y="405"/>
                      </a:lnTo>
                      <a:lnTo>
                        <a:pt x="1125" y="395"/>
                      </a:lnTo>
                      <a:lnTo>
                        <a:pt x="1109" y="387"/>
                      </a:lnTo>
                      <a:lnTo>
                        <a:pt x="1091" y="380"/>
                      </a:lnTo>
                      <a:lnTo>
                        <a:pt x="1072" y="373"/>
                      </a:lnTo>
                      <a:lnTo>
                        <a:pt x="1052" y="368"/>
                      </a:lnTo>
                      <a:lnTo>
                        <a:pt x="1031" y="364"/>
                      </a:lnTo>
                      <a:lnTo>
                        <a:pt x="1009" y="361"/>
                      </a:lnTo>
                      <a:lnTo>
                        <a:pt x="985" y="359"/>
                      </a:lnTo>
                      <a:lnTo>
                        <a:pt x="960" y="359"/>
                      </a:lnTo>
                      <a:lnTo>
                        <a:pt x="931" y="360"/>
                      </a:lnTo>
                      <a:lnTo>
                        <a:pt x="903" y="362"/>
                      </a:lnTo>
                      <a:lnTo>
                        <a:pt x="876" y="367"/>
                      </a:lnTo>
                      <a:lnTo>
                        <a:pt x="850" y="373"/>
                      </a:lnTo>
                      <a:lnTo>
                        <a:pt x="826" y="382"/>
                      </a:lnTo>
                      <a:lnTo>
                        <a:pt x="803" y="391"/>
                      </a:lnTo>
                      <a:lnTo>
                        <a:pt x="781" y="403"/>
                      </a:lnTo>
                      <a:lnTo>
                        <a:pt x="760" y="415"/>
                      </a:lnTo>
                      <a:lnTo>
                        <a:pt x="740" y="429"/>
                      </a:lnTo>
                      <a:lnTo>
                        <a:pt x="721" y="445"/>
                      </a:lnTo>
                      <a:lnTo>
                        <a:pt x="703" y="460"/>
                      </a:lnTo>
                      <a:lnTo>
                        <a:pt x="687" y="478"/>
                      </a:lnTo>
                      <a:lnTo>
                        <a:pt x="671" y="497"/>
                      </a:lnTo>
                      <a:lnTo>
                        <a:pt x="657" y="517"/>
                      </a:lnTo>
                      <a:lnTo>
                        <a:pt x="643" y="537"/>
                      </a:lnTo>
                      <a:lnTo>
                        <a:pt x="630" y="559"/>
                      </a:lnTo>
                      <a:lnTo>
                        <a:pt x="619" y="581"/>
                      </a:lnTo>
                      <a:lnTo>
                        <a:pt x="608" y="604"/>
                      </a:lnTo>
                      <a:lnTo>
                        <a:pt x="599" y="627"/>
                      </a:lnTo>
                      <a:lnTo>
                        <a:pt x="589" y="651"/>
                      </a:lnTo>
                      <a:lnTo>
                        <a:pt x="582" y="676"/>
                      </a:lnTo>
                      <a:lnTo>
                        <a:pt x="575" y="700"/>
                      </a:lnTo>
                      <a:lnTo>
                        <a:pt x="568" y="725"/>
                      </a:lnTo>
                      <a:lnTo>
                        <a:pt x="562" y="752"/>
                      </a:lnTo>
                      <a:lnTo>
                        <a:pt x="558" y="777"/>
                      </a:lnTo>
                      <a:lnTo>
                        <a:pt x="554" y="803"/>
                      </a:lnTo>
                      <a:lnTo>
                        <a:pt x="549" y="828"/>
                      </a:lnTo>
                      <a:lnTo>
                        <a:pt x="547" y="854"/>
                      </a:lnTo>
                      <a:lnTo>
                        <a:pt x="545" y="880"/>
                      </a:lnTo>
                      <a:lnTo>
                        <a:pt x="543" y="905"/>
                      </a:lnTo>
                      <a:lnTo>
                        <a:pt x="542" y="930"/>
                      </a:lnTo>
                      <a:lnTo>
                        <a:pt x="542" y="955"/>
                      </a:lnTo>
                      <a:lnTo>
                        <a:pt x="543" y="1006"/>
                      </a:lnTo>
                      <a:lnTo>
                        <a:pt x="546" y="1057"/>
                      </a:lnTo>
                      <a:lnTo>
                        <a:pt x="550" y="1106"/>
                      </a:lnTo>
                      <a:lnTo>
                        <a:pt x="557" y="1155"/>
                      </a:lnTo>
                      <a:lnTo>
                        <a:pt x="565" y="1202"/>
                      </a:lnTo>
                      <a:lnTo>
                        <a:pt x="576" y="1250"/>
                      </a:lnTo>
                      <a:lnTo>
                        <a:pt x="587" y="1295"/>
                      </a:lnTo>
                      <a:lnTo>
                        <a:pt x="602" y="1339"/>
                      </a:lnTo>
                      <a:lnTo>
                        <a:pt x="617" y="1383"/>
                      </a:lnTo>
                      <a:lnTo>
                        <a:pt x="635" y="1425"/>
                      </a:lnTo>
                      <a:lnTo>
                        <a:pt x="653" y="1465"/>
                      </a:lnTo>
                      <a:lnTo>
                        <a:pt x="675" y="1504"/>
                      </a:lnTo>
                      <a:lnTo>
                        <a:pt x="698" y="1543"/>
                      </a:lnTo>
                      <a:lnTo>
                        <a:pt x="722" y="1579"/>
                      </a:lnTo>
                      <a:lnTo>
                        <a:pt x="748" y="1614"/>
                      </a:lnTo>
                      <a:lnTo>
                        <a:pt x="775" y="1648"/>
                      </a:lnTo>
                      <a:lnTo>
                        <a:pt x="805" y="1679"/>
                      </a:lnTo>
                      <a:lnTo>
                        <a:pt x="836" y="1710"/>
                      </a:lnTo>
                      <a:lnTo>
                        <a:pt x="869" y="1738"/>
                      </a:lnTo>
                      <a:lnTo>
                        <a:pt x="904" y="1765"/>
                      </a:lnTo>
                      <a:lnTo>
                        <a:pt x="940" y="1789"/>
                      </a:lnTo>
                      <a:lnTo>
                        <a:pt x="978" y="1812"/>
                      </a:lnTo>
                      <a:lnTo>
                        <a:pt x="1017" y="1833"/>
                      </a:lnTo>
                      <a:lnTo>
                        <a:pt x="1058" y="1853"/>
                      </a:lnTo>
                      <a:lnTo>
                        <a:pt x="1101" y="1870"/>
                      </a:lnTo>
                      <a:lnTo>
                        <a:pt x="1145" y="1885"/>
                      </a:lnTo>
                      <a:lnTo>
                        <a:pt x="1192" y="1897"/>
                      </a:lnTo>
                      <a:lnTo>
                        <a:pt x="1239" y="1908"/>
                      </a:lnTo>
                      <a:lnTo>
                        <a:pt x="1287" y="1916"/>
                      </a:lnTo>
                      <a:lnTo>
                        <a:pt x="1338" y="1922"/>
                      </a:lnTo>
                      <a:lnTo>
                        <a:pt x="1390" y="1926"/>
                      </a:lnTo>
                      <a:lnTo>
                        <a:pt x="1444" y="1928"/>
                      </a:lnTo>
                      <a:lnTo>
                        <a:pt x="1490" y="1927"/>
                      </a:lnTo>
                      <a:lnTo>
                        <a:pt x="1536" y="1924"/>
                      </a:lnTo>
                      <a:lnTo>
                        <a:pt x="1584" y="1920"/>
                      </a:lnTo>
                      <a:lnTo>
                        <a:pt x="1630" y="1915"/>
                      </a:lnTo>
                      <a:lnTo>
                        <a:pt x="1652" y="1912"/>
                      </a:lnTo>
                      <a:lnTo>
                        <a:pt x="1675" y="1908"/>
                      </a:lnTo>
                      <a:lnTo>
                        <a:pt x="1698" y="1904"/>
                      </a:lnTo>
                      <a:lnTo>
                        <a:pt x="1721" y="1898"/>
                      </a:lnTo>
                      <a:lnTo>
                        <a:pt x="1744" y="1893"/>
                      </a:lnTo>
                      <a:lnTo>
                        <a:pt x="1767" y="1887"/>
                      </a:lnTo>
                      <a:lnTo>
                        <a:pt x="1789" y="1879"/>
                      </a:lnTo>
                      <a:lnTo>
                        <a:pt x="1812" y="1872"/>
                      </a:lnTo>
                      <a:lnTo>
                        <a:pt x="1812" y="2184"/>
                      </a:lnTo>
                      <a:lnTo>
                        <a:pt x="1773" y="2196"/>
                      </a:lnTo>
                      <a:lnTo>
                        <a:pt x="1734" y="2207"/>
                      </a:lnTo>
                      <a:lnTo>
                        <a:pt x="1694" y="2217"/>
                      </a:lnTo>
                      <a:lnTo>
                        <a:pt x="1655" y="2227"/>
                      </a:lnTo>
                      <a:lnTo>
                        <a:pt x="1615" y="2236"/>
                      </a:lnTo>
                      <a:lnTo>
                        <a:pt x="1575" y="2244"/>
                      </a:lnTo>
                      <a:lnTo>
                        <a:pt x="1535" y="2251"/>
                      </a:lnTo>
                      <a:lnTo>
                        <a:pt x="1495" y="2259"/>
                      </a:lnTo>
                      <a:lnTo>
                        <a:pt x="1456" y="2265"/>
                      </a:lnTo>
                      <a:lnTo>
                        <a:pt x="1415" y="2270"/>
                      </a:lnTo>
                      <a:lnTo>
                        <a:pt x="1375" y="2275"/>
                      </a:lnTo>
                      <a:lnTo>
                        <a:pt x="1335" y="2279"/>
                      </a:lnTo>
                      <a:lnTo>
                        <a:pt x="1294" y="2281"/>
                      </a:lnTo>
                      <a:lnTo>
                        <a:pt x="1254" y="2283"/>
                      </a:lnTo>
                      <a:lnTo>
                        <a:pt x="1213" y="2285"/>
                      </a:lnTo>
                      <a:lnTo>
                        <a:pt x="1173" y="2285"/>
                      </a:lnTo>
                      <a:lnTo>
                        <a:pt x="1100" y="2284"/>
                      </a:lnTo>
                      <a:lnTo>
                        <a:pt x="1030" y="2280"/>
                      </a:lnTo>
                      <a:lnTo>
                        <a:pt x="963" y="2272"/>
                      </a:lnTo>
                      <a:lnTo>
                        <a:pt x="897" y="2263"/>
                      </a:lnTo>
                      <a:lnTo>
                        <a:pt x="834" y="2250"/>
                      </a:lnTo>
                      <a:lnTo>
                        <a:pt x="773" y="2236"/>
                      </a:lnTo>
                      <a:lnTo>
                        <a:pt x="716" y="2219"/>
                      </a:lnTo>
                      <a:lnTo>
                        <a:pt x="659" y="2199"/>
                      </a:lnTo>
                      <a:lnTo>
                        <a:pt x="605" y="2176"/>
                      </a:lnTo>
                      <a:lnTo>
                        <a:pt x="554" y="2151"/>
                      </a:lnTo>
                      <a:lnTo>
                        <a:pt x="504" y="2124"/>
                      </a:lnTo>
                      <a:lnTo>
                        <a:pt x="458" y="2094"/>
                      </a:lnTo>
                      <a:lnTo>
                        <a:pt x="413" y="2062"/>
                      </a:lnTo>
                      <a:lnTo>
                        <a:pt x="371" y="2027"/>
                      </a:lnTo>
                      <a:lnTo>
                        <a:pt x="331" y="1990"/>
                      </a:lnTo>
                      <a:lnTo>
                        <a:pt x="293" y="1952"/>
                      </a:lnTo>
                      <a:lnTo>
                        <a:pt x="257" y="1910"/>
                      </a:lnTo>
                      <a:lnTo>
                        <a:pt x="224" y="1867"/>
                      </a:lnTo>
                      <a:lnTo>
                        <a:pt x="193" y="1821"/>
                      </a:lnTo>
                      <a:lnTo>
                        <a:pt x="165" y="1772"/>
                      </a:lnTo>
                      <a:lnTo>
                        <a:pt x="137" y="1723"/>
                      </a:lnTo>
                      <a:lnTo>
                        <a:pt x="114" y="1671"/>
                      </a:lnTo>
                      <a:lnTo>
                        <a:pt x="92" y="1617"/>
                      </a:lnTo>
                      <a:lnTo>
                        <a:pt x="72" y="1561"/>
                      </a:lnTo>
                      <a:lnTo>
                        <a:pt x="55" y="1503"/>
                      </a:lnTo>
                      <a:lnTo>
                        <a:pt x="41" y="1443"/>
                      </a:lnTo>
                      <a:lnTo>
                        <a:pt x="28" y="1382"/>
                      </a:lnTo>
                      <a:lnTo>
                        <a:pt x="18" y="1319"/>
                      </a:lnTo>
                      <a:lnTo>
                        <a:pt x="9" y="1253"/>
                      </a:lnTo>
                      <a:lnTo>
                        <a:pt x="4" y="1186"/>
                      </a:lnTo>
                      <a:lnTo>
                        <a:pt x="1" y="1117"/>
                      </a:lnTo>
                      <a:lnTo>
                        <a:pt x="0" y="1046"/>
                      </a:lnTo>
                      <a:lnTo>
                        <a:pt x="1" y="987"/>
                      </a:lnTo>
                      <a:lnTo>
                        <a:pt x="3" y="931"/>
                      </a:lnTo>
                      <a:lnTo>
                        <a:pt x="8" y="874"/>
                      </a:lnTo>
                      <a:lnTo>
                        <a:pt x="15" y="820"/>
                      </a:lnTo>
                      <a:lnTo>
                        <a:pt x="25" y="766"/>
                      </a:lnTo>
                      <a:lnTo>
                        <a:pt x="35" y="715"/>
                      </a:lnTo>
                      <a:lnTo>
                        <a:pt x="48" y="665"/>
                      </a:lnTo>
                      <a:lnTo>
                        <a:pt x="64" y="616"/>
                      </a:lnTo>
                      <a:lnTo>
                        <a:pt x="81" y="569"/>
                      </a:lnTo>
                      <a:lnTo>
                        <a:pt x="100" y="523"/>
                      </a:lnTo>
                      <a:lnTo>
                        <a:pt x="121" y="479"/>
                      </a:lnTo>
                      <a:lnTo>
                        <a:pt x="143" y="437"/>
                      </a:lnTo>
                      <a:lnTo>
                        <a:pt x="168" y="396"/>
                      </a:lnTo>
                      <a:lnTo>
                        <a:pt x="194" y="359"/>
                      </a:lnTo>
                      <a:lnTo>
                        <a:pt x="224" y="321"/>
                      </a:lnTo>
                      <a:lnTo>
                        <a:pt x="254" y="286"/>
                      </a:lnTo>
                      <a:lnTo>
                        <a:pt x="287" y="253"/>
                      </a:lnTo>
                      <a:lnTo>
                        <a:pt x="321" y="221"/>
                      </a:lnTo>
                      <a:lnTo>
                        <a:pt x="357" y="192"/>
                      </a:lnTo>
                      <a:lnTo>
                        <a:pt x="396" y="165"/>
                      </a:lnTo>
                      <a:lnTo>
                        <a:pt x="436" y="140"/>
                      </a:lnTo>
                      <a:lnTo>
                        <a:pt x="478" y="115"/>
                      </a:lnTo>
                      <a:lnTo>
                        <a:pt x="522" y="95"/>
                      </a:lnTo>
                      <a:lnTo>
                        <a:pt x="568" y="75"/>
                      </a:lnTo>
                      <a:lnTo>
                        <a:pt x="616" y="58"/>
                      </a:lnTo>
                      <a:lnTo>
                        <a:pt x="665" y="43"/>
                      </a:lnTo>
                      <a:lnTo>
                        <a:pt x="717" y="31"/>
                      </a:lnTo>
                      <a:lnTo>
                        <a:pt x="770" y="19"/>
                      </a:lnTo>
                      <a:lnTo>
                        <a:pt x="825" y="12"/>
                      </a:lnTo>
                      <a:lnTo>
                        <a:pt x="883" y="5"/>
                      </a:lnTo>
                      <a:lnTo>
                        <a:pt x="942" y="1"/>
                      </a:lnTo>
                      <a:lnTo>
                        <a:pt x="1002" y="0"/>
                      </a:lnTo>
                      <a:lnTo>
                        <a:pt x="1052" y="1"/>
                      </a:lnTo>
                      <a:lnTo>
                        <a:pt x="1099" y="3"/>
                      </a:lnTo>
                      <a:lnTo>
                        <a:pt x="1145" y="8"/>
                      </a:lnTo>
                      <a:lnTo>
                        <a:pt x="1191" y="13"/>
                      </a:lnTo>
                      <a:lnTo>
                        <a:pt x="1235" y="20"/>
                      </a:lnTo>
                      <a:lnTo>
                        <a:pt x="1277" y="28"/>
                      </a:lnTo>
                      <a:lnTo>
                        <a:pt x="1318" y="38"/>
                      </a:lnTo>
                      <a:lnTo>
                        <a:pt x="1358" y="49"/>
                      </a:lnTo>
                      <a:lnTo>
                        <a:pt x="1396" y="63"/>
                      </a:lnTo>
                      <a:lnTo>
                        <a:pt x="1431" y="78"/>
                      </a:lnTo>
                      <a:lnTo>
                        <a:pt x="1466" y="93"/>
                      </a:lnTo>
                      <a:lnTo>
                        <a:pt x="1500" y="111"/>
                      </a:lnTo>
                      <a:lnTo>
                        <a:pt x="1532" y="131"/>
                      </a:lnTo>
                      <a:lnTo>
                        <a:pt x="1563" y="152"/>
                      </a:lnTo>
                      <a:lnTo>
                        <a:pt x="1591" y="174"/>
                      </a:lnTo>
                      <a:lnTo>
                        <a:pt x="1618" y="198"/>
                      </a:lnTo>
                      <a:lnTo>
                        <a:pt x="1644" y="224"/>
                      </a:lnTo>
                      <a:lnTo>
                        <a:pt x="1668" y="252"/>
                      </a:lnTo>
                      <a:lnTo>
                        <a:pt x="1691" y="280"/>
                      </a:lnTo>
                      <a:lnTo>
                        <a:pt x="1712" y="310"/>
                      </a:lnTo>
                      <a:lnTo>
                        <a:pt x="1731" y="342"/>
                      </a:lnTo>
                      <a:lnTo>
                        <a:pt x="1749" y="375"/>
                      </a:lnTo>
                      <a:lnTo>
                        <a:pt x="1766" y="411"/>
                      </a:lnTo>
                      <a:lnTo>
                        <a:pt x="1779" y="448"/>
                      </a:lnTo>
                      <a:lnTo>
                        <a:pt x="1793" y="485"/>
                      </a:lnTo>
                      <a:lnTo>
                        <a:pt x="1803" y="526"/>
                      </a:lnTo>
                      <a:lnTo>
                        <a:pt x="1813" y="567"/>
                      </a:lnTo>
                      <a:lnTo>
                        <a:pt x="1821" y="610"/>
                      </a:lnTo>
                      <a:lnTo>
                        <a:pt x="1827" y="655"/>
                      </a:lnTo>
                      <a:lnTo>
                        <a:pt x="1831" y="701"/>
                      </a:lnTo>
                      <a:lnTo>
                        <a:pt x="1834" y="750"/>
                      </a:lnTo>
                      <a:lnTo>
                        <a:pt x="1835" y="799"/>
                      </a:lnTo>
                      <a:lnTo>
                        <a:pt x="1292"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3" name="Freeform 8"/>
                <p:cNvSpPr>
                  <a:spLocks noEditPoints="1"/>
                </p:cNvSpPr>
                <p:nvPr userDrawn="1"/>
              </p:nvSpPr>
              <p:spPr bwMode="auto">
                <a:xfrm>
                  <a:off x="1782763" y="2555875"/>
                  <a:ext cx="255587" cy="330200"/>
                </a:xfrm>
                <a:custGeom>
                  <a:avLst/>
                  <a:gdLst/>
                  <a:ahLst/>
                  <a:cxnLst>
                    <a:cxn ang="0">
                      <a:pos x="1767" y="788"/>
                    </a:cxn>
                    <a:cxn ang="0">
                      <a:pos x="1742" y="607"/>
                    </a:cxn>
                    <a:cxn ang="0">
                      <a:pos x="1690" y="445"/>
                    </a:cxn>
                    <a:cxn ang="0">
                      <a:pos x="1612" y="305"/>
                    </a:cxn>
                    <a:cxn ang="0">
                      <a:pos x="1508" y="189"/>
                    </a:cxn>
                    <a:cxn ang="0">
                      <a:pos x="1378" y="99"/>
                    </a:cxn>
                    <a:cxn ang="0">
                      <a:pos x="1222" y="37"/>
                    </a:cxn>
                    <a:cxn ang="0">
                      <a:pos x="1040" y="4"/>
                    </a:cxn>
                    <a:cxn ang="0">
                      <a:pos x="820" y="5"/>
                    </a:cxn>
                    <a:cxn ang="0">
                      <a:pos x="609" y="42"/>
                    </a:cxn>
                    <a:cxn ang="0">
                      <a:pos x="431" y="114"/>
                    </a:cxn>
                    <a:cxn ang="0">
                      <a:pos x="285" y="218"/>
                    </a:cxn>
                    <a:cxn ang="0">
                      <a:pos x="171" y="353"/>
                    </a:cxn>
                    <a:cxn ang="0">
                      <a:pos x="87" y="516"/>
                    </a:cxn>
                    <a:cxn ang="0">
                      <a:pos x="31" y="703"/>
                    </a:cxn>
                    <a:cxn ang="0">
                      <a:pos x="3" y="914"/>
                    </a:cxn>
                    <a:cxn ang="0">
                      <a:pos x="3" y="1161"/>
                    </a:cxn>
                    <a:cxn ang="0">
                      <a:pos x="35" y="1412"/>
                    </a:cxn>
                    <a:cxn ang="0">
                      <a:pos x="99" y="1639"/>
                    </a:cxn>
                    <a:cxn ang="0">
                      <a:pos x="198" y="1839"/>
                    </a:cxn>
                    <a:cxn ang="0">
                      <a:pos x="332" y="2006"/>
                    </a:cxn>
                    <a:cxn ang="0">
                      <a:pos x="504" y="2138"/>
                    </a:cxn>
                    <a:cxn ang="0">
                      <a:pos x="713" y="2231"/>
                    </a:cxn>
                    <a:cxn ang="0">
                      <a:pos x="963" y="2279"/>
                    </a:cxn>
                    <a:cxn ang="0">
                      <a:pos x="1182" y="2284"/>
                    </a:cxn>
                    <a:cxn ang="0">
                      <a:pos x="1336" y="2275"/>
                    </a:cxn>
                    <a:cxn ang="0">
                      <a:pos x="1490" y="2254"/>
                    </a:cxn>
                    <a:cxn ang="0">
                      <a:pos x="1641" y="2220"/>
                    </a:cxn>
                    <a:cxn ang="0">
                      <a:pos x="1666" y="1862"/>
                    </a:cxn>
                    <a:cxn ang="0">
                      <a:pos x="1484" y="1909"/>
                    </a:cxn>
                    <a:cxn ang="0">
                      <a:pos x="1376" y="1923"/>
                    </a:cxn>
                    <a:cxn ang="0">
                      <a:pos x="1251" y="1926"/>
                    </a:cxn>
                    <a:cxn ang="0">
                      <a:pos x="1078" y="1896"/>
                    </a:cxn>
                    <a:cxn ang="0">
                      <a:pos x="922" y="1829"/>
                    </a:cxn>
                    <a:cxn ang="0">
                      <a:pos x="787" y="1733"/>
                    </a:cxn>
                    <a:cxn ang="0">
                      <a:pos x="673" y="1609"/>
                    </a:cxn>
                    <a:cxn ang="0">
                      <a:pos x="584" y="1466"/>
                    </a:cxn>
                    <a:cxn ang="0">
                      <a:pos x="520" y="1308"/>
                    </a:cxn>
                    <a:cxn ang="0">
                      <a:pos x="483" y="1139"/>
                    </a:cxn>
                    <a:cxn ang="0">
                      <a:pos x="1771" y="1009"/>
                    </a:cxn>
                    <a:cxn ang="0">
                      <a:pos x="493" y="662"/>
                    </a:cxn>
                    <a:cxn ang="0">
                      <a:pos x="515" y="586"/>
                    </a:cxn>
                    <a:cxn ang="0">
                      <a:pos x="549" y="518"/>
                    </a:cxn>
                    <a:cxn ang="0">
                      <a:pos x="594" y="458"/>
                    </a:cxn>
                    <a:cxn ang="0">
                      <a:pos x="649" y="408"/>
                    </a:cxn>
                    <a:cxn ang="0">
                      <a:pos x="712" y="369"/>
                    </a:cxn>
                    <a:cxn ang="0">
                      <a:pos x="783" y="342"/>
                    </a:cxn>
                    <a:cxn ang="0">
                      <a:pos x="861" y="328"/>
                    </a:cxn>
                    <a:cxn ang="0">
                      <a:pos x="944" y="328"/>
                    </a:cxn>
                    <a:cxn ang="0">
                      <a:pos x="1024" y="341"/>
                    </a:cxn>
                    <a:cxn ang="0">
                      <a:pos x="1096" y="366"/>
                    </a:cxn>
                    <a:cxn ang="0">
                      <a:pos x="1157" y="404"/>
                    </a:cxn>
                    <a:cxn ang="0">
                      <a:pos x="1207" y="452"/>
                    </a:cxn>
                    <a:cxn ang="0">
                      <a:pos x="1246" y="512"/>
                    </a:cxn>
                    <a:cxn ang="0">
                      <a:pos x="1272" y="581"/>
                    </a:cxn>
                    <a:cxn ang="0">
                      <a:pos x="1286" y="659"/>
                    </a:cxn>
                  </a:cxnLst>
                  <a:rect l="0" t="0" r="r" b="b"/>
                  <a:pathLst>
                    <a:path w="1771" h="2285">
                      <a:moveTo>
                        <a:pt x="1771" y="1009"/>
                      </a:moveTo>
                      <a:lnTo>
                        <a:pt x="1771" y="886"/>
                      </a:lnTo>
                      <a:lnTo>
                        <a:pt x="1771" y="837"/>
                      </a:lnTo>
                      <a:lnTo>
                        <a:pt x="1767" y="788"/>
                      </a:lnTo>
                      <a:lnTo>
                        <a:pt x="1764" y="741"/>
                      </a:lnTo>
                      <a:lnTo>
                        <a:pt x="1758" y="695"/>
                      </a:lnTo>
                      <a:lnTo>
                        <a:pt x="1751" y="650"/>
                      </a:lnTo>
                      <a:lnTo>
                        <a:pt x="1742" y="607"/>
                      </a:lnTo>
                      <a:lnTo>
                        <a:pt x="1732" y="564"/>
                      </a:lnTo>
                      <a:lnTo>
                        <a:pt x="1719" y="523"/>
                      </a:lnTo>
                      <a:lnTo>
                        <a:pt x="1705" y="483"/>
                      </a:lnTo>
                      <a:lnTo>
                        <a:pt x="1690" y="445"/>
                      </a:lnTo>
                      <a:lnTo>
                        <a:pt x="1673" y="408"/>
                      </a:lnTo>
                      <a:lnTo>
                        <a:pt x="1654" y="372"/>
                      </a:lnTo>
                      <a:lnTo>
                        <a:pt x="1634" y="338"/>
                      </a:lnTo>
                      <a:lnTo>
                        <a:pt x="1612" y="305"/>
                      </a:lnTo>
                      <a:lnTo>
                        <a:pt x="1589" y="274"/>
                      </a:lnTo>
                      <a:lnTo>
                        <a:pt x="1563" y="243"/>
                      </a:lnTo>
                      <a:lnTo>
                        <a:pt x="1537" y="215"/>
                      </a:lnTo>
                      <a:lnTo>
                        <a:pt x="1508" y="189"/>
                      </a:lnTo>
                      <a:lnTo>
                        <a:pt x="1478" y="164"/>
                      </a:lnTo>
                      <a:lnTo>
                        <a:pt x="1447" y="141"/>
                      </a:lnTo>
                      <a:lnTo>
                        <a:pt x="1413" y="119"/>
                      </a:lnTo>
                      <a:lnTo>
                        <a:pt x="1378" y="99"/>
                      </a:lnTo>
                      <a:lnTo>
                        <a:pt x="1342" y="81"/>
                      </a:lnTo>
                      <a:lnTo>
                        <a:pt x="1304" y="64"/>
                      </a:lnTo>
                      <a:lnTo>
                        <a:pt x="1264" y="49"/>
                      </a:lnTo>
                      <a:lnTo>
                        <a:pt x="1222" y="37"/>
                      </a:lnTo>
                      <a:lnTo>
                        <a:pt x="1179" y="25"/>
                      </a:lnTo>
                      <a:lnTo>
                        <a:pt x="1133" y="17"/>
                      </a:lnTo>
                      <a:lnTo>
                        <a:pt x="1087" y="10"/>
                      </a:lnTo>
                      <a:lnTo>
                        <a:pt x="1040" y="4"/>
                      </a:lnTo>
                      <a:lnTo>
                        <a:pt x="989" y="1"/>
                      </a:lnTo>
                      <a:lnTo>
                        <a:pt x="938" y="0"/>
                      </a:lnTo>
                      <a:lnTo>
                        <a:pt x="878" y="1"/>
                      </a:lnTo>
                      <a:lnTo>
                        <a:pt x="820" y="5"/>
                      </a:lnTo>
                      <a:lnTo>
                        <a:pt x="765" y="11"/>
                      </a:lnTo>
                      <a:lnTo>
                        <a:pt x="711" y="19"/>
                      </a:lnTo>
                      <a:lnTo>
                        <a:pt x="658" y="30"/>
                      </a:lnTo>
                      <a:lnTo>
                        <a:pt x="609" y="42"/>
                      </a:lnTo>
                      <a:lnTo>
                        <a:pt x="562" y="57"/>
                      </a:lnTo>
                      <a:lnTo>
                        <a:pt x="516" y="74"/>
                      </a:lnTo>
                      <a:lnTo>
                        <a:pt x="472" y="93"/>
                      </a:lnTo>
                      <a:lnTo>
                        <a:pt x="431" y="114"/>
                      </a:lnTo>
                      <a:lnTo>
                        <a:pt x="391" y="137"/>
                      </a:lnTo>
                      <a:lnTo>
                        <a:pt x="355" y="163"/>
                      </a:lnTo>
                      <a:lnTo>
                        <a:pt x="319" y="190"/>
                      </a:lnTo>
                      <a:lnTo>
                        <a:pt x="285" y="218"/>
                      </a:lnTo>
                      <a:lnTo>
                        <a:pt x="254" y="250"/>
                      </a:lnTo>
                      <a:lnTo>
                        <a:pt x="224" y="282"/>
                      </a:lnTo>
                      <a:lnTo>
                        <a:pt x="197" y="317"/>
                      </a:lnTo>
                      <a:lnTo>
                        <a:pt x="171" y="353"/>
                      </a:lnTo>
                      <a:lnTo>
                        <a:pt x="146" y="391"/>
                      </a:lnTo>
                      <a:lnTo>
                        <a:pt x="124" y="431"/>
                      </a:lnTo>
                      <a:lnTo>
                        <a:pt x="104" y="473"/>
                      </a:lnTo>
                      <a:lnTo>
                        <a:pt x="87" y="516"/>
                      </a:lnTo>
                      <a:lnTo>
                        <a:pt x="70" y="560"/>
                      </a:lnTo>
                      <a:lnTo>
                        <a:pt x="55" y="606"/>
                      </a:lnTo>
                      <a:lnTo>
                        <a:pt x="41" y="654"/>
                      </a:lnTo>
                      <a:lnTo>
                        <a:pt x="31" y="703"/>
                      </a:lnTo>
                      <a:lnTo>
                        <a:pt x="21" y="754"/>
                      </a:lnTo>
                      <a:lnTo>
                        <a:pt x="14" y="806"/>
                      </a:lnTo>
                      <a:lnTo>
                        <a:pt x="8" y="860"/>
                      </a:lnTo>
                      <a:lnTo>
                        <a:pt x="3" y="914"/>
                      </a:lnTo>
                      <a:lnTo>
                        <a:pt x="0" y="971"/>
                      </a:lnTo>
                      <a:lnTo>
                        <a:pt x="0" y="1028"/>
                      </a:lnTo>
                      <a:lnTo>
                        <a:pt x="1" y="1095"/>
                      </a:lnTo>
                      <a:lnTo>
                        <a:pt x="3" y="1161"/>
                      </a:lnTo>
                      <a:lnTo>
                        <a:pt x="9" y="1225"/>
                      </a:lnTo>
                      <a:lnTo>
                        <a:pt x="15" y="1289"/>
                      </a:lnTo>
                      <a:lnTo>
                        <a:pt x="24" y="1351"/>
                      </a:lnTo>
                      <a:lnTo>
                        <a:pt x="35" y="1412"/>
                      </a:lnTo>
                      <a:lnTo>
                        <a:pt x="48" y="1471"/>
                      </a:lnTo>
                      <a:lnTo>
                        <a:pt x="63" y="1528"/>
                      </a:lnTo>
                      <a:lnTo>
                        <a:pt x="80" y="1585"/>
                      </a:lnTo>
                      <a:lnTo>
                        <a:pt x="99" y="1639"/>
                      </a:lnTo>
                      <a:lnTo>
                        <a:pt x="121" y="1692"/>
                      </a:lnTo>
                      <a:lnTo>
                        <a:pt x="144" y="1742"/>
                      </a:lnTo>
                      <a:lnTo>
                        <a:pt x="170" y="1791"/>
                      </a:lnTo>
                      <a:lnTo>
                        <a:pt x="198" y="1839"/>
                      </a:lnTo>
                      <a:lnTo>
                        <a:pt x="228" y="1884"/>
                      </a:lnTo>
                      <a:lnTo>
                        <a:pt x="261" y="1927"/>
                      </a:lnTo>
                      <a:lnTo>
                        <a:pt x="295" y="1967"/>
                      </a:lnTo>
                      <a:lnTo>
                        <a:pt x="332" y="2006"/>
                      </a:lnTo>
                      <a:lnTo>
                        <a:pt x="371" y="2043"/>
                      </a:lnTo>
                      <a:lnTo>
                        <a:pt x="413" y="2077"/>
                      </a:lnTo>
                      <a:lnTo>
                        <a:pt x="458" y="2109"/>
                      </a:lnTo>
                      <a:lnTo>
                        <a:pt x="504" y="2138"/>
                      </a:lnTo>
                      <a:lnTo>
                        <a:pt x="552" y="2166"/>
                      </a:lnTo>
                      <a:lnTo>
                        <a:pt x="604" y="2190"/>
                      </a:lnTo>
                      <a:lnTo>
                        <a:pt x="657" y="2212"/>
                      </a:lnTo>
                      <a:lnTo>
                        <a:pt x="713" y="2231"/>
                      </a:lnTo>
                      <a:lnTo>
                        <a:pt x="772" y="2247"/>
                      </a:lnTo>
                      <a:lnTo>
                        <a:pt x="834" y="2261"/>
                      </a:lnTo>
                      <a:lnTo>
                        <a:pt x="897" y="2271"/>
                      </a:lnTo>
                      <a:lnTo>
                        <a:pt x="963" y="2279"/>
                      </a:lnTo>
                      <a:lnTo>
                        <a:pt x="1033" y="2284"/>
                      </a:lnTo>
                      <a:lnTo>
                        <a:pt x="1104" y="2285"/>
                      </a:lnTo>
                      <a:lnTo>
                        <a:pt x="1143" y="2285"/>
                      </a:lnTo>
                      <a:lnTo>
                        <a:pt x="1182" y="2284"/>
                      </a:lnTo>
                      <a:lnTo>
                        <a:pt x="1221" y="2283"/>
                      </a:lnTo>
                      <a:lnTo>
                        <a:pt x="1260" y="2281"/>
                      </a:lnTo>
                      <a:lnTo>
                        <a:pt x="1297" y="2278"/>
                      </a:lnTo>
                      <a:lnTo>
                        <a:pt x="1336" y="2275"/>
                      </a:lnTo>
                      <a:lnTo>
                        <a:pt x="1375" y="2270"/>
                      </a:lnTo>
                      <a:lnTo>
                        <a:pt x="1413" y="2265"/>
                      </a:lnTo>
                      <a:lnTo>
                        <a:pt x="1452" y="2260"/>
                      </a:lnTo>
                      <a:lnTo>
                        <a:pt x="1490" y="2254"/>
                      </a:lnTo>
                      <a:lnTo>
                        <a:pt x="1528" y="2246"/>
                      </a:lnTo>
                      <a:lnTo>
                        <a:pt x="1566" y="2239"/>
                      </a:lnTo>
                      <a:lnTo>
                        <a:pt x="1603" y="2229"/>
                      </a:lnTo>
                      <a:lnTo>
                        <a:pt x="1641" y="2220"/>
                      </a:lnTo>
                      <a:lnTo>
                        <a:pt x="1679" y="2210"/>
                      </a:lnTo>
                      <a:lnTo>
                        <a:pt x="1716" y="2198"/>
                      </a:lnTo>
                      <a:lnTo>
                        <a:pt x="1716" y="1845"/>
                      </a:lnTo>
                      <a:lnTo>
                        <a:pt x="1666" y="1862"/>
                      </a:lnTo>
                      <a:lnTo>
                        <a:pt x="1616" y="1877"/>
                      </a:lnTo>
                      <a:lnTo>
                        <a:pt x="1563" y="1891"/>
                      </a:lnTo>
                      <a:lnTo>
                        <a:pt x="1510" y="1904"/>
                      </a:lnTo>
                      <a:lnTo>
                        <a:pt x="1484" y="1909"/>
                      </a:lnTo>
                      <a:lnTo>
                        <a:pt x="1456" y="1913"/>
                      </a:lnTo>
                      <a:lnTo>
                        <a:pt x="1430" y="1917"/>
                      </a:lnTo>
                      <a:lnTo>
                        <a:pt x="1403" y="1920"/>
                      </a:lnTo>
                      <a:lnTo>
                        <a:pt x="1376" y="1923"/>
                      </a:lnTo>
                      <a:lnTo>
                        <a:pt x="1350" y="1926"/>
                      </a:lnTo>
                      <a:lnTo>
                        <a:pt x="1324" y="1927"/>
                      </a:lnTo>
                      <a:lnTo>
                        <a:pt x="1297" y="1928"/>
                      </a:lnTo>
                      <a:lnTo>
                        <a:pt x="1251" y="1926"/>
                      </a:lnTo>
                      <a:lnTo>
                        <a:pt x="1206" y="1922"/>
                      </a:lnTo>
                      <a:lnTo>
                        <a:pt x="1162" y="1916"/>
                      </a:lnTo>
                      <a:lnTo>
                        <a:pt x="1120" y="1907"/>
                      </a:lnTo>
                      <a:lnTo>
                        <a:pt x="1078" y="1896"/>
                      </a:lnTo>
                      <a:lnTo>
                        <a:pt x="1037" y="1883"/>
                      </a:lnTo>
                      <a:lnTo>
                        <a:pt x="997" y="1867"/>
                      </a:lnTo>
                      <a:lnTo>
                        <a:pt x="959" y="1849"/>
                      </a:lnTo>
                      <a:lnTo>
                        <a:pt x="922" y="1829"/>
                      </a:lnTo>
                      <a:lnTo>
                        <a:pt x="886" y="1808"/>
                      </a:lnTo>
                      <a:lnTo>
                        <a:pt x="852" y="1784"/>
                      </a:lnTo>
                      <a:lnTo>
                        <a:pt x="818" y="1759"/>
                      </a:lnTo>
                      <a:lnTo>
                        <a:pt x="787" y="1733"/>
                      </a:lnTo>
                      <a:lnTo>
                        <a:pt x="756" y="1703"/>
                      </a:lnTo>
                      <a:lnTo>
                        <a:pt x="727" y="1674"/>
                      </a:lnTo>
                      <a:lnTo>
                        <a:pt x="699" y="1643"/>
                      </a:lnTo>
                      <a:lnTo>
                        <a:pt x="673" y="1609"/>
                      </a:lnTo>
                      <a:lnTo>
                        <a:pt x="648" y="1575"/>
                      </a:lnTo>
                      <a:lnTo>
                        <a:pt x="625" y="1540"/>
                      </a:lnTo>
                      <a:lnTo>
                        <a:pt x="604" y="1504"/>
                      </a:lnTo>
                      <a:lnTo>
                        <a:pt x="584" y="1466"/>
                      </a:lnTo>
                      <a:lnTo>
                        <a:pt x="565" y="1428"/>
                      </a:lnTo>
                      <a:lnTo>
                        <a:pt x="548" y="1389"/>
                      </a:lnTo>
                      <a:lnTo>
                        <a:pt x="533" y="1349"/>
                      </a:lnTo>
                      <a:lnTo>
                        <a:pt x="520" y="1308"/>
                      </a:lnTo>
                      <a:lnTo>
                        <a:pt x="507" y="1266"/>
                      </a:lnTo>
                      <a:lnTo>
                        <a:pt x="498" y="1224"/>
                      </a:lnTo>
                      <a:lnTo>
                        <a:pt x="489" y="1182"/>
                      </a:lnTo>
                      <a:lnTo>
                        <a:pt x="483" y="1139"/>
                      </a:lnTo>
                      <a:lnTo>
                        <a:pt x="478" y="1096"/>
                      </a:lnTo>
                      <a:lnTo>
                        <a:pt x="475" y="1054"/>
                      </a:lnTo>
                      <a:lnTo>
                        <a:pt x="474" y="1009"/>
                      </a:lnTo>
                      <a:lnTo>
                        <a:pt x="1771" y="1009"/>
                      </a:lnTo>
                      <a:close/>
                      <a:moveTo>
                        <a:pt x="1288" y="702"/>
                      </a:moveTo>
                      <a:lnTo>
                        <a:pt x="488" y="702"/>
                      </a:lnTo>
                      <a:lnTo>
                        <a:pt x="490" y="681"/>
                      </a:lnTo>
                      <a:lnTo>
                        <a:pt x="493" y="662"/>
                      </a:lnTo>
                      <a:lnTo>
                        <a:pt x="498" y="643"/>
                      </a:lnTo>
                      <a:lnTo>
                        <a:pt x="503" y="623"/>
                      </a:lnTo>
                      <a:lnTo>
                        <a:pt x="509" y="604"/>
                      </a:lnTo>
                      <a:lnTo>
                        <a:pt x="515" y="586"/>
                      </a:lnTo>
                      <a:lnTo>
                        <a:pt x="523" y="568"/>
                      </a:lnTo>
                      <a:lnTo>
                        <a:pt x="531" y="550"/>
                      </a:lnTo>
                      <a:lnTo>
                        <a:pt x="540" y="534"/>
                      </a:lnTo>
                      <a:lnTo>
                        <a:pt x="549" y="518"/>
                      </a:lnTo>
                      <a:lnTo>
                        <a:pt x="560" y="502"/>
                      </a:lnTo>
                      <a:lnTo>
                        <a:pt x="570" y="487"/>
                      </a:lnTo>
                      <a:lnTo>
                        <a:pt x="582" y="472"/>
                      </a:lnTo>
                      <a:lnTo>
                        <a:pt x="594" y="458"/>
                      </a:lnTo>
                      <a:lnTo>
                        <a:pt x="607" y="445"/>
                      </a:lnTo>
                      <a:lnTo>
                        <a:pt x="621" y="432"/>
                      </a:lnTo>
                      <a:lnTo>
                        <a:pt x="634" y="419"/>
                      </a:lnTo>
                      <a:lnTo>
                        <a:pt x="649" y="408"/>
                      </a:lnTo>
                      <a:lnTo>
                        <a:pt x="664" y="397"/>
                      </a:lnTo>
                      <a:lnTo>
                        <a:pt x="679" y="387"/>
                      </a:lnTo>
                      <a:lnTo>
                        <a:pt x="696" y="378"/>
                      </a:lnTo>
                      <a:lnTo>
                        <a:pt x="712" y="369"/>
                      </a:lnTo>
                      <a:lnTo>
                        <a:pt x="730" y="362"/>
                      </a:lnTo>
                      <a:lnTo>
                        <a:pt x="747" y="354"/>
                      </a:lnTo>
                      <a:lnTo>
                        <a:pt x="765" y="348"/>
                      </a:lnTo>
                      <a:lnTo>
                        <a:pt x="783" y="342"/>
                      </a:lnTo>
                      <a:lnTo>
                        <a:pt x="802" y="338"/>
                      </a:lnTo>
                      <a:lnTo>
                        <a:pt x="821" y="333"/>
                      </a:lnTo>
                      <a:lnTo>
                        <a:pt x="841" y="330"/>
                      </a:lnTo>
                      <a:lnTo>
                        <a:pt x="861" y="328"/>
                      </a:lnTo>
                      <a:lnTo>
                        <a:pt x="881" y="327"/>
                      </a:lnTo>
                      <a:lnTo>
                        <a:pt x="901" y="326"/>
                      </a:lnTo>
                      <a:lnTo>
                        <a:pt x="923" y="326"/>
                      </a:lnTo>
                      <a:lnTo>
                        <a:pt x="944" y="328"/>
                      </a:lnTo>
                      <a:lnTo>
                        <a:pt x="965" y="330"/>
                      </a:lnTo>
                      <a:lnTo>
                        <a:pt x="985" y="332"/>
                      </a:lnTo>
                      <a:lnTo>
                        <a:pt x="1005" y="337"/>
                      </a:lnTo>
                      <a:lnTo>
                        <a:pt x="1024" y="341"/>
                      </a:lnTo>
                      <a:lnTo>
                        <a:pt x="1043" y="346"/>
                      </a:lnTo>
                      <a:lnTo>
                        <a:pt x="1061" y="352"/>
                      </a:lnTo>
                      <a:lnTo>
                        <a:pt x="1079" y="359"/>
                      </a:lnTo>
                      <a:lnTo>
                        <a:pt x="1096" y="366"/>
                      </a:lnTo>
                      <a:lnTo>
                        <a:pt x="1111" y="374"/>
                      </a:lnTo>
                      <a:lnTo>
                        <a:pt x="1127" y="384"/>
                      </a:lnTo>
                      <a:lnTo>
                        <a:pt x="1142" y="393"/>
                      </a:lnTo>
                      <a:lnTo>
                        <a:pt x="1157" y="404"/>
                      </a:lnTo>
                      <a:lnTo>
                        <a:pt x="1170" y="415"/>
                      </a:lnTo>
                      <a:lnTo>
                        <a:pt x="1183" y="427"/>
                      </a:lnTo>
                      <a:lnTo>
                        <a:pt x="1196" y="439"/>
                      </a:lnTo>
                      <a:lnTo>
                        <a:pt x="1207" y="452"/>
                      </a:lnTo>
                      <a:lnTo>
                        <a:pt x="1218" y="467"/>
                      </a:lnTo>
                      <a:lnTo>
                        <a:pt x="1228" y="480"/>
                      </a:lnTo>
                      <a:lnTo>
                        <a:pt x="1238" y="496"/>
                      </a:lnTo>
                      <a:lnTo>
                        <a:pt x="1246" y="512"/>
                      </a:lnTo>
                      <a:lnTo>
                        <a:pt x="1253" y="528"/>
                      </a:lnTo>
                      <a:lnTo>
                        <a:pt x="1261" y="545"/>
                      </a:lnTo>
                      <a:lnTo>
                        <a:pt x="1267" y="563"/>
                      </a:lnTo>
                      <a:lnTo>
                        <a:pt x="1272" y="581"/>
                      </a:lnTo>
                      <a:lnTo>
                        <a:pt x="1278" y="600"/>
                      </a:lnTo>
                      <a:lnTo>
                        <a:pt x="1281" y="619"/>
                      </a:lnTo>
                      <a:lnTo>
                        <a:pt x="1284" y="640"/>
                      </a:lnTo>
                      <a:lnTo>
                        <a:pt x="1286" y="659"/>
                      </a:lnTo>
                      <a:lnTo>
                        <a:pt x="1288" y="680"/>
                      </a:lnTo>
                      <a:lnTo>
                        <a:pt x="1288"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4" name="Freeform 9"/>
                <p:cNvSpPr>
                  <a:spLocks/>
                </p:cNvSpPr>
                <p:nvPr userDrawn="1"/>
              </p:nvSpPr>
              <p:spPr bwMode="auto">
                <a:xfrm>
                  <a:off x="2076450" y="2555875"/>
                  <a:ext cx="254000" cy="322263"/>
                </a:xfrm>
                <a:custGeom>
                  <a:avLst/>
                  <a:gdLst/>
                  <a:ahLst/>
                  <a:cxnLst>
                    <a:cxn ang="0">
                      <a:pos x="1252" y="940"/>
                    </a:cxn>
                    <a:cxn ang="0">
                      <a:pos x="1250" y="815"/>
                    </a:cxn>
                    <a:cxn ang="0">
                      <a:pos x="1242" y="710"/>
                    </a:cxn>
                    <a:cxn ang="0">
                      <a:pos x="1223" y="612"/>
                    </a:cxn>
                    <a:cxn ang="0">
                      <a:pos x="1208" y="570"/>
                    </a:cxn>
                    <a:cxn ang="0">
                      <a:pos x="1188" y="537"/>
                    </a:cxn>
                    <a:cxn ang="0">
                      <a:pos x="1166" y="513"/>
                    </a:cxn>
                    <a:cxn ang="0">
                      <a:pos x="1142" y="497"/>
                    </a:cxn>
                    <a:cxn ang="0">
                      <a:pos x="1115" y="487"/>
                    </a:cxn>
                    <a:cxn ang="0">
                      <a:pos x="1065" y="479"/>
                    </a:cxn>
                    <a:cxn ang="0">
                      <a:pos x="993" y="479"/>
                    </a:cxn>
                    <a:cxn ang="0">
                      <a:pos x="898" y="500"/>
                    </a:cxn>
                    <a:cxn ang="0">
                      <a:pos x="816" y="544"/>
                    </a:cxn>
                    <a:cxn ang="0">
                      <a:pos x="744" y="607"/>
                    </a:cxn>
                    <a:cxn ang="0">
                      <a:pos x="683" y="685"/>
                    </a:cxn>
                    <a:cxn ang="0">
                      <a:pos x="631" y="774"/>
                    </a:cxn>
                    <a:cxn ang="0">
                      <a:pos x="589" y="870"/>
                    </a:cxn>
                    <a:cxn ang="0">
                      <a:pos x="556" y="972"/>
                    </a:cxn>
                    <a:cxn ang="0">
                      <a:pos x="533" y="1072"/>
                    </a:cxn>
                    <a:cxn ang="0">
                      <a:pos x="519" y="1171"/>
                    </a:cxn>
                    <a:cxn ang="0">
                      <a:pos x="511" y="1262"/>
                    </a:cxn>
                    <a:cxn ang="0">
                      <a:pos x="0" y="2235"/>
                    </a:cxn>
                    <a:cxn ang="0">
                      <a:pos x="511" y="459"/>
                    </a:cxn>
                    <a:cxn ang="0">
                      <a:pos x="543" y="408"/>
                    </a:cxn>
                    <a:cxn ang="0">
                      <a:pos x="582" y="336"/>
                    </a:cxn>
                    <a:cxn ang="0">
                      <a:pos x="626" y="270"/>
                    </a:cxn>
                    <a:cxn ang="0">
                      <a:pos x="676" y="210"/>
                    </a:cxn>
                    <a:cxn ang="0">
                      <a:pos x="731" y="156"/>
                    </a:cxn>
                    <a:cxn ang="0">
                      <a:pos x="791" y="110"/>
                    </a:cxn>
                    <a:cxn ang="0">
                      <a:pos x="856" y="71"/>
                    </a:cxn>
                    <a:cxn ang="0">
                      <a:pos x="927" y="41"/>
                    </a:cxn>
                    <a:cxn ang="0">
                      <a:pos x="1003" y="19"/>
                    </a:cxn>
                    <a:cxn ang="0">
                      <a:pos x="1083" y="5"/>
                    </a:cxn>
                    <a:cxn ang="0">
                      <a:pos x="1169" y="0"/>
                    </a:cxn>
                    <a:cxn ang="0">
                      <a:pos x="1281" y="10"/>
                    </a:cxn>
                    <a:cxn ang="0">
                      <a:pos x="1379" y="35"/>
                    </a:cxn>
                    <a:cxn ang="0">
                      <a:pos x="1466" y="76"/>
                    </a:cxn>
                    <a:cxn ang="0">
                      <a:pos x="1540" y="129"/>
                    </a:cxn>
                    <a:cxn ang="0">
                      <a:pos x="1603" y="195"/>
                    </a:cxn>
                    <a:cxn ang="0">
                      <a:pos x="1656" y="272"/>
                    </a:cxn>
                    <a:cxn ang="0">
                      <a:pos x="1697" y="357"/>
                    </a:cxn>
                    <a:cxn ang="0">
                      <a:pos x="1728" y="450"/>
                    </a:cxn>
                    <a:cxn ang="0">
                      <a:pos x="1748" y="548"/>
                    </a:cxn>
                    <a:cxn ang="0">
                      <a:pos x="1760" y="651"/>
                    </a:cxn>
                    <a:cxn ang="0">
                      <a:pos x="1762" y="2235"/>
                    </a:cxn>
                  </a:cxnLst>
                  <a:rect l="0" t="0" r="r" b="b"/>
                  <a:pathLst>
                    <a:path w="1762" h="2235">
                      <a:moveTo>
                        <a:pt x="1252" y="2235"/>
                      </a:moveTo>
                      <a:lnTo>
                        <a:pt x="1252" y="986"/>
                      </a:lnTo>
                      <a:lnTo>
                        <a:pt x="1252" y="940"/>
                      </a:lnTo>
                      <a:lnTo>
                        <a:pt x="1252" y="881"/>
                      </a:lnTo>
                      <a:lnTo>
                        <a:pt x="1251" y="848"/>
                      </a:lnTo>
                      <a:lnTo>
                        <a:pt x="1250" y="815"/>
                      </a:lnTo>
                      <a:lnTo>
                        <a:pt x="1248" y="779"/>
                      </a:lnTo>
                      <a:lnTo>
                        <a:pt x="1245" y="744"/>
                      </a:lnTo>
                      <a:lnTo>
                        <a:pt x="1242" y="710"/>
                      </a:lnTo>
                      <a:lnTo>
                        <a:pt x="1237" y="675"/>
                      </a:lnTo>
                      <a:lnTo>
                        <a:pt x="1230" y="643"/>
                      </a:lnTo>
                      <a:lnTo>
                        <a:pt x="1223" y="612"/>
                      </a:lnTo>
                      <a:lnTo>
                        <a:pt x="1218" y="598"/>
                      </a:lnTo>
                      <a:lnTo>
                        <a:pt x="1213" y="584"/>
                      </a:lnTo>
                      <a:lnTo>
                        <a:pt x="1208" y="570"/>
                      </a:lnTo>
                      <a:lnTo>
                        <a:pt x="1202" y="559"/>
                      </a:lnTo>
                      <a:lnTo>
                        <a:pt x="1196" y="547"/>
                      </a:lnTo>
                      <a:lnTo>
                        <a:pt x="1188" y="537"/>
                      </a:lnTo>
                      <a:lnTo>
                        <a:pt x="1181" y="527"/>
                      </a:lnTo>
                      <a:lnTo>
                        <a:pt x="1173" y="519"/>
                      </a:lnTo>
                      <a:lnTo>
                        <a:pt x="1166" y="513"/>
                      </a:lnTo>
                      <a:lnTo>
                        <a:pt x="1159" y="506"/>
                      </a:lnTo>
                      <a:lnTo>
                        <a:pt x="1150" y="501"/>
                      </a:lnTo>
                      <a:lnTo>
                        <a:pt x="1142" y="497"/>
                      </a:lnTo>
                      <a:lnTo>
                        <a:pt x="1133" y="493"/>
                      </a:lnTo>
                      <a:lnTo>
                        <a:pt x="1124" y="490"/>
                      </a:lnTo>
                      <a:lnTo>
                        <a:pt x="1115" y="487"/>
                      </a:lnTo>
                      <a:lnTo>
                        <a:pt x="1105" y="484"/>
                      </a:lnTo>
                      <a:lnTo>
                        <a:pt x="1085" y="481"/>
                      </a:lnTo>
                      <a:lnTo>
                        <a:pt x="1065" y="479"/>
                      </a:lnTo>
                      <a:lnTo>
                        <a:pt x="1045" y="478"/>
                      </a:lnTo>
                      <a:lnTo>
                        <a:pt x="1026" y="478"/>
                      </a:lnTo>
                      <a:lnTo>
                        <a:pt x="993" y="479"/>
                      </a:lnTo>
                      <a:lnTo>
                        <a:pt x="960" y="483"/>
                      </a:lnTo>
                      <a:lnTo>
                        <a:pt x="929" y="491"/>
                      </a:lnTo>
                      <a:lnTo>
                        <a:pt x="898" y="500"/>
                      </a:lnTo>
                      <a:lnTo>
                        <a:pt x="870" y="513"/>
                      </a:lnTo>
                      <a:lnTo>
                        <a:pt x="842" y="527"/>
                      </a:lnTo>
                      <a:lnTo>
                        <a:pt x="816" y="544"/>
                      </a:lnTo>
                      <a:lnTo>
                        <a:pt x="791" y="563"/>
                      </a:lnTo>
                      <a:lnTo>
                        <a:pt x="767" y="584"/>
                      </a:lnTo>
                      <a:lnTo>
                        <a:pt x="744" y="607"/>
                      </a:lnTo>
                      <a:lnTo>
                        <a:pt x="721" y="631"/>
                      </a:lnTo>
                      <a:lnTo>
                        <a:pt x="701" y="657"/>
                      </a:lnTo>
                      <a:lnTo>
                        <a:pt x="683" y="685"/>
                      </a:lnTo>
                      <a:lnTo>
                        <a:pt x="664" y="713"/>
                      </a:lnTo>
                      <a:lnTo>
                        <a:pt x="647" y="743"/>
                      </a:lnTo>
                      <a:lnTo>
                        <a:pt x="631" y="774"/>
                      </a:lnTo>
                      <a:lnTo>
                        <a:pt x="615" y="805"/>
                      </a:lnTo>
                      <a:lnTo>
                        <a:pt x="602" y="838"/>
                      </a:lnTo>
                      <a:lnTo>
                        <a:pt x="589" y="870"/>
                      </a:lnTo>
                      <a:lnTo>
                        <a:pt x="577" y="904"/>
                      </a:lnTo>
                      <a:lnTo>
                        <a:pt x="566" y="937"/>
                      </a:lnTo>
                      <a:lnTo>
                        <a:pt x="556" y="972"/>
                      </a:lnTo>
                      <a:lnTo>
                        <a:pt x="548" y="1005"/>
                      </a:lnTo>
                      <a:lnTo>
                        <a:pt x="540" y="1039"/>
                      </a:lnTo>
                      <a:lnTo>
                        <a:pt x="533" y="1072"/>
                      </a:lnTo>
                      <a:lnTo>
                        <a:pt x="527" y="1106"/>
                      </a:lnTo>
                      <a:lnTo>
                        <a:pt x="522" y="1138"/>
                      </a:lnTo>
                      <a:lnTo>
                        <a:pt x="519" y="1171"/>
                      </a:lnTo>
                      <a:lnTo>
                        <a:pt x="515" y="1202"/>
                      </a:lnTo>
                      <a:lnTo>
                        <a:pt x="513" y="1233"/>
                      </a:lnTo>
                      <a:lnTo>
                        <a:pt x="511" y="1262"/>
                      </a:lnTo>
                      <a:lnTo>
                        <a:pt x="511" y="1290"/>
                      </a:lnTo>
                      <a:lnTo>
                        <a:pt x="511" y="2235"/>
                      </a:lnTo>
                      <a:lnTo>
                        <a:pt x="0" y="2235"/>
                      </a:lnTo>
                      <a:lnTo>
                        <a:pt x="0" y="52"/>
                      </a:lnTo>
                      <a:lnTo>
                        <a:pt x="511" y="52"/>
                      </a:lnTo>
                      <a:lnTo>
                        <a:pt x="511" y="459"/>
                      </a:lnTo>
                      <a:lnTo>
                        <a:pt x="521" y="459"/>
                      </a:lnTo>
                      <a:lnTo>
                        <a:pt x="531" y="433"/>
                      </a:lnTo>
                      <a:lnTo>
                        <a:pt x="543" y="408"/>
                      </a:lnTo>
                      <a:lnTo>
                        <a:pt x="555" y="384"/>
                      </a:lnTo>
                      <a:lnTo>
                        <a:pt x="568" y="360"/>
                      </a:lnTo>
                      <a:lnTo>
                        <a:pt x="582" y="336"/>
                      </a:lnTo>
                      <a:lnTo>
                        <a:pt x="596" y="314"/>
                      </a:lnTo>
                      <a:lnTo>
                        <a:pt x="611" y="292"/>
                      </a:lnTo>
                      <a:lnTo>
                        <a:pt x="626" y="270"/>
                      </a:lnTo>
                      <a:lnTo>
                        <a:pt x="642" y="249"/>
                      </a:lnTo>
                      <a:lnTo>
                        <a:pt x="658" y="229"/>
                      </a:lnTo>
                      <a:lnTo>
                        <a:pt x="676" y="210"/>
                      </a:lnTo>
                      <a:lnTo>
                        <a:pt x="693" y="191"/>
                      </a:lnTo>
                      <a:lnTo>
                        <a:pt x="712" y="173"/>
                      </a:lnTo>
                      <a:lnTo>
                        <a:pt x="731" y="156"/>
                      </a:lnTo>
                      <a:lnTo>
                        <a:pt x="750" y="141"/>
                      </a:lnTo>
                      <a:lnTo>
                        <a:pt x="771" y="125"/>
                      </a:lnTo>
                      <a:lnTo>
                        <a:pt x="791" y="110"/>
                      </a:lnTo>
                      <a:lnTo>
                        <a:pt x="812" y="97"/>
                      </a:lnTo>
                      <a:lnTo>
                        <a:pt x="834" y="84"/>
                      </a:lnTo>
                      <a:lnTo>
                        <a:pt x="856" y="71"/>
                      </a:lnTo>
                      <a:lnTo>
                        <a:pt x="879" y="61"/>
                      </a:lnTo>
                      <a:lnTo>
                        <a:pt x="903" y="51"/>
                      </a:lnTo>
                      <a:lnTo>
                        <a:pt x="927" y="41"/>
                      </a:lnTo>
                      <a:lnTo>
                        <a:pt x="952" y="33"/>
                      </a:lnTo>
                      <a:lnTo>
                        <a:pt x="977" y="25"/>
                      </a:lnTo>
                      <a:lnTo>
                        <a:pt x="1003" y="19"/>
                      </a:lnTo>
                      <a:lnTo>
                        <a:pt x="1029" y="14"/>
                      </a:lnTo>
                      <a:lnTo>
                        <a:pt x="1056" y="9"/>
                      </a:lnTo>
                      <a:lnTo>
                        <a:pt x="1083" y="5"/>
                      </a:lnTo>
                      <a:lnTo>
                        <a:pt x="1111" y="2"/>
                      </a:lnTo>
                      <a:lnTo>
                        <a:pt x="1140" y="1"/>
                      </a:lnTo>
                      <a:lnTo>
                        <a:pt x="1169" y="0"/>
                      </a:lnTo>
                      <a:lnTo>
                        <a:pt x="1207" y="1"/>
                      </a:lnTo>
                      <a:lnTo>
                        <a:pt x="1245" y="4"/>
                      </a:lnTo>
                      <a:lnTo>
                        <a:pt x="1281" y="10"/>
                      </a:lnTo>
                      <a:lnTo>
                        <a:pt x="1314" y="16"/>
                      </a:lnTo>
                      <a:lnTo>
                        <a:pt x="1348" y="24"/>
                      </a:lnTo>
                      <a:lnTo>
                        <a:pt x="1379" y="35"/>
                      </a:lnTo>
                      <a:lnTo>
                        <a:pt x="1409" y="46"/>
                      </a:lnTo>
                      <a:lnTo>
                        <a:pt x="1438" y="60"/>
                      </a:lnTo>
                      <a:lnTo>
                        <a:pt x="1466" y="76"/>
                      </a:lnTo>
                      <a:lnTo>
                        <a:pt x="1492" y="91"/>
                      </a:lnTo>
                      <a:lnTo>
                        <a:pt x="1517" y="110"/>
                      </a:lnTo>
                      <a:lnTo>
                        <a:pt x="1540" y="129"/>
                      </a:lnTo>
                      <a:lnTo>
                        <a:pt x="1562" y="150"/>
                      </a:lnTo>
                      <a:lnTo>
                        <a:pt x="1583" y="172"/>
                      </a:lnTo>
                      <a:lnTo>
                        <a:pt x="1603" y="195"/>
                      </a:lnTo>
                      <a:lnTo>
                        <a:pt x="1622" y="219"/>
                      </a:lnTo>
                      <a:lnTo>
                        <a:pt x="1640" y="245"/>
                      </a:lnTo>
                      <a:lnTo>
                        <a:pt x="1656" y="272"/>
                      </a:lnTo>
                      <a:lnTo>
                        <a:pt x="1671" y="299"/>
                      </a:lnTo>
                      <a:lnTo>
                        <a:pt x="1684" y="327"/>
                      </a:lnTo>
                      <a:lnTo>
                        <a:pt x="1697" y="357"/>
                      </a:lnTo>
                      <a:lnTo>
                        <a:pt x="1708" y="387"/>
                      </a:lnTo>
                      <a:lnTo>
                        <a:pt x="1719" y="418"/>
                      </a:lnTo>
                      <a:lnTo>
                        <a:pt x="1728" y="450"/>
                      </a:lnTo>
                      <a:lnTo>
                        <a:pt x="1736" y="482"/>
                      </a:lnTo>
                      <a:lnTo>
                        <a:pt x="1743" y="515"/>
                      </a:lnTo>
                      <a:lnTo>
                        <a:pt x="1748" y="548"/>
                      </a:lnTo>
                      <a:lnTo>
                        <a:pt x="1754" y="582"/>
                      </a:lnTo>
                      <a:lnTo>
                        <a:pt x="1757" y="616"/>
                      </a:lnTo>
                      <a:lnTo>
                        <a:pt x="1760" y="651"/>
                      </a:lnTo>
                      <a:lnTo>
                        <a:pt x="1761" y="686"/>
                      </a:lnTo>
                      <a:lnTo>
                        <a:pt x="1762" y="721"/>
                      </a:lnTo>
                      <a:lnTo>
                        <a:pt x="1762" y="2235"/>
                      </a:lnTo>
                      <a:lnTo>
                        <a:pt x="1252" y="2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5" name="Freeform 10"/>
                <p:cNvSpPr>
                  <a:spLocks/>
                </p:cNvSpPr>
                <p:nvPr userDrawn="1"/>
              </p:nvSpPr>
              <p:spPr bwMode="auto">
                <a:xfrm>
                  <a:off x="2349500" y="2459038"/>
                  <a:ext cx="228600" cy="427038"/>
                </a:xfrm>
                <a:custGeom>
                  <a:avLst/>
                  <a:gdLst/>
                  <a:ahLst/>
                  <a:cxnLst>
                    <a:cxn ang="0">
                      <a:pos x="939" y="2110"/>
                    </a:cxn>
                    <a:cxn ang="0">
                      <a:pos x="941" y="2205"/>
                    </a:cxn>
                    <a:cxn ang="0">
                      <a:pos x="948" y="2296"/>
                    </a:cxn>
                    <a:cxn ang="0">
                      <a:pos x="956" y="2339"/>
                    </a:cxn>
                    <a:cxn ang="0">
                      <a:pos x="964" y="2378"/>
                    </a:cxn>
                    <a:cxn ang="0">
                      <a:pos x="977" y="2417"/>
                    </a:cxn>
                    <a:cxn ang="0">
                      <a:pos x="992" y="2452"/>
                    </a:cxn>
                    <a:cxn ang="0">
                      <a:pos x="1012" y="2484"/>
                    </a:cxn>
                    <a:cxn ang="0">
                      <a:pos x="1036" y="2514"/>
                    </a:cxn>
                    <a:cxn ang="0">
                      <a:pos x="1063" y="2539"/>
                    </a:cxn>
                    <a:cxn ang="0">
                      <a:pos x="1097" y="2561"/>
                    </a:cxn>
                    <a:cxn ang="0">
                      <a:pos x="1134" y="2578"/>
                    </a:cxn>
                    <a:cxn ang="0">
                      <a:pos x="1179" y="2591"/>
                    </a:cxn>
                    <a:cxn ang="0">
                      <a:pos x="1228" y="2598"/>
                    </a:cxn>
                    <a:cxn ang="0">
                      <a:pos x="1285" y="2602"/>
                    </a:cxn>
                    <a:cxn ang="0">
                      <a:pos x="1343" y="2598"/>
                    </a:cxn>
                    <a:cxn ang="0">
                      <a:pos x="1401" y="2590"/>
                    </a:cxn>
                    <a:cxn ang="0">
                      <a:pos x="1460" y="2578"/>
                    </a:cxn>
                    <a:cxn ang="0">
                      <a:pos x="1519" y="2565"/>
                    </a:cxn>
                    <a:cxn ang="0">
                      <a:pos x="1467" y="2931"/>
                    </a:cxn>
                    <a:cxn ang="0">
                      <a:pos x="1361" y="2944"/>
                    </a:cxn>
                    <a:cxn ang="0">
                      <a:pos x="1256" y="2954"/>
                    </a:cxn>
                    <a:cxn ang="0">
                      <a:pos x="1152" y="2958"/>
                    </a:cxn>
                    <a:cxn ang="0">
                      <a:pos x="1059" y="2959"/>
                    </a:cxn>
                    <a:cxn ang="0">
                      <a:pos x="981" y="2955"/>
                    </a:cxn>
                    <a:cxn ang="0">
                      <a:pos x="907" y="2947"/>
                    </a:cxn>
                    <a:cxn ang="0">
                      <a:pos x="839" y="2936"/>
                    </a:cxn>
                    <a:cxn ang="0">
                      <a:pos x="776" y="2920"/>
                    </a:cxn>
                    <a:cxn ang="0">
                      <a:pos x="718" y="2900"/>
                    </a:cxn>
                    <a:cxn ang="0">
                      <a:pos x="666" y="2875"/>
                    </a:cxn>
                    <a:cxn ang="0">
                      <a:pos x="618" y="2846"/>
                    </a:cxn>
                    <a:cxn ang="0">
                      <a:pos x="576" y="2810"/>
                    </a:cxn>
                    <a:cxn ang="0">
                      <a:pos x="539" y="2770"/>
                    </a:cxn>
                    <a:cxn ang="0">
                      <a:pos x="508" y="2724"/>
                    </a:cxn>
                    <a:cxn ang="0">
                      <a:pos x="482" y="2672"/>
                    </a:cxn>
                    <a:cxn ang="0">
                      <a:pos x="461" y="2614"/>
                    </a:cxn>
                    <a:cxn ang="0">
                      <a:pos x="445" y="2549"/>
                    </a:cxn>
                    <a:cxn ang="0">
                      <a:pos x="434" y="2478"/>
                    </a:cxn>
                    <a:cxn ang="0">
                      <a:pos x="429" y="2400"/>
                    </a:cxn>
                    <a:cxn ang="0">
                      <a:pos x="428" y="1079"/>
                    </a:cxn>
                    <a:cxn ang="0">
                      <a:pos x="0" y="726"/>
                    </a:cxn>
                    <a:cxn ang="0">
                      <a:pos x="428" y="207"/>
                    </a:cxn>
                    <a:cxn ang="0">
                      <a:pos x="939" y="726"/>
                    </a:cxn>
                    <a:cxn ang="0">
                      <a:pos x="1587" y="1079"/>
                    </a:cxn>
                  </a:cxnLst>
                  <a:rect l="0" t="0" r="r" b="b"/>
                  <a:pathLst>
                    <a:path w="1587" h="2959">
                      <a:moveTo>
                        <a:pt x="939" y="1079"/>
                      </a:moveTo>
                      <a:lnTo>
                        <a:pt x="939" y="2110"/>
                      </a:lnTo>
                      <a:lnTo>
                        <a:pt x="940" y="2158"/>
                      </a:lnTo>
                      <a:lnTo>
                        <a:pt x="941" y="2205"/>
                      </a:lnTo>
                      <a:lnTo>
                        <a:pt x="944" y="2252"/>
                      </a:lnTo>
                      <a:lnTo>
                        <a:pt x="948" y="2296"/>
                      </a:lnTo>
                      <a:lnTo>
                        <a:pt x="951" y="2317"/>
                      </a:lnTo>
                      <a:lnTo>
                        <a:pt x="956" y="2339"/>
                      </a:lnTo>
                      <a:lnTo>
                        <a:pt x="960" y="2358"/>
                      </a:lnTo>
                      <a:lnTo>
                        <a:pt x="964" y="2378"/>
                      </a:lnTo>
                      <a:lnTo>
                        <a:pt x="970" y="2398"/>
                      </a:lnTo>
                      <a:lnTo>
                        <a:pt x="977" y="2417"/>
                      </a:lnTo>
                      <a:lnTo>
                        <a:pt x="984" y="2435"/>
                      </a:lnTo>
                      <a:lnTo>
                        <a:pt x="992" y="2452"/>
                      </a:lnTo>
                      <a:lnTo>
                        <a:pt x="1002" y="2469"/>
                      </a:lnTo>
                      <a:lnTo>
                        <a:pt x="1012" y="2484"/>
                      </a:lnTo>
                      <a:lnTo>
                        <a:pt x="1023" y="2500"/>
                      </a:lnTo>
                      <a:lnTo>
                        <a:pt x="1036" y="2514"/>
                      </a:lnTo>
                      <a:lnTo>
                        <a:pt x="1049" y="2527"/>
                      </a:lnTo>
                      <a:lnTo>
                        <a:pt x="1063" y="2539"/>
                      </a:lnTo>
                      <a:lnTo>
                        <a:pt x="1079" y="2550"/>
                      </a:lnTo>
                      <a:lnTo>
                        <a:pt x="1097" y="2561"/>
                      </a:lnTo>
                      <a:lnTo>
                        <a:pt x="1114" y="2570"/>
                      </a:lnTo>
                      <a:lnTo>
                        <a:pt x="1134" y="2578"/>
                      </a:lnTo>
                      <a:lnTo>
                        <a:pt x="1155" y="2585"/>
                      </a:lnTo>
                      <a:lnTo>
                        <a:pt x="1179" y="2591"/>
                      </a:lnTo>
                      <a:lnTo>
                        <a:pt x="1203" y="2595"/>
                      </a:lnTo>
                      <a:lnTo>
                        <a:pt x="1228" y="2598"/>
                      </a:lnTo>
                      <a:lnTo>
                        <a:pt x="1255" y="2601"/>
                      </a:lnTo>
                      <a:lnTo>
                        <a:pt x="1285" y="2602"/>
                      </a:lnTo>
                      <a:lnTo>
                        <a:pt x="1313" y="2601"/>
                      </a:lnTo>
                      <a:lnTo>
                        <a:pt x="1343" y="2598"/>
                      </a:lnTo>
                      <a:lnTo>
                        <a:pt x="1372" y="2594"/>
                      </a:lnTo>
                      <a:lnTo>
                        <a:pt x="1401" y="2590"/>
                      </a:lnTo>
                      <a:lnTo>
                        <a:pt x="1431" y="2584"/>
                      </a:lnTo>
                      <a:lnTo>
                        <a:pt x="1460" y="2578"/>
                      </a:lnTo>
                      <a:lnTo>
                        <a:pt x="1490" y="2571"/>
                      </a:lnTo>
                      <a:lnTo>
                        <a:pt x="1519" y="2565"/>
                      </a:lnTo>
                      <a:lnTo>
                        <a:pt x="1519" y="2922"/>
                      </a:lnTo>
                      <a:lnTo>
                        <a:pt x="1467" y="2931"/>
                      </a:lnTo>
                      <a:lnTo>
                        <a:pt x="1414" y="2938"/>
                      </a:lnTo>
                      <a:lnTo>
                        <a:pt x="1361" y="2944"/>
                      </a:lnTo>
                      <a:lnTo>
                        <a:pt x="1309" y="2950"/>
                      </a:lnTo>
                      <a:lnTo>
                        <a:pt x="1256" y="2954"/>
                      </a:lnTo>
                      <a:lnTo>
                        <a:pt x="1205" y="2957"/>
                      </a:lnTo>
                      <a:lnTo>
                        <a:pt x="1152" y="2958"/>
                      </a:lnTo>
                      <a:lnTo>
                        <a:pt x="1101" y="2959"/>
                      </a:lnTo>
                      <a:lnTo>
                        <a:pt x="1059" y="2959"/>
                      </a:lnTo>
                      <a:lnTo>
                        <a:pt x="1019" y="2957"/>
                      </a:lnTo>
                      <a:lnTo>
                        <a:pt x="981" y="2955"/>
                      </a:lnTo>
                      <a:lnTo>
                        <a:pt x="943" y="2952"/>
                      </a:lnTo>
                      <a:lnTo>
                        <a:pt x="907" y="2947"/>
                      </a:lnTo>
                      <a:lnTo>
                        <a:pt x="873" y="2942"/>
                      </a:lnTo>
                      <a:lnTo>
                        <a:pt x="839" y="2936"/>
                      </a:lnTo>
                      <a:lnTo>
                        <a:pt x="806" y="2929"/>
                      </a:lnTo>
                      <a:lnTo>
                        <a:pt x="776" y="2920"/>
                      </a:lnTo>
                      <a:lnTo>
                        <a:pt x="746" y="2911"/>
                      </a:lnTo>
                      <a:lnTo>
                        <a:pt x="718" y="2900"/>
                      </a:lnTo>
                      <a:lnTo>
                        <a:pt x="692" y="2889"/>
                      </a:lnTo>
                      <a:lnTo>
                        <a:pt x="666" y="2875"/>
                      </a:lnTo>
                      <a:lnTo>
                        <a:pt x="641" y="2862"/>
                      </a:lnTo>
                      <a:lnTo>
                        <a:pt x="618" y="2846"/>
                      </a:lnTo>
                      <a:lnTo>
                        <a:pt x="597" y="2829"/>
                      </a:lnTo>
                      <a:lnTo>
                        <a:pt x="576" y="2810"/>
                      </a:lnTo>
                      <a:lnTo>
                        <a:pt x="557" y="2791"/>
                      </a:lnTo>
                      <a:lnTo>
                        <a:pt x="539" y="2770"/>
                      </a:lnTo>
                      <a:lnTo>
                        <a:pt x="524" y="2748"/>
                      </a:lnTo>
                      <a:lnTo>
                        <a:pt x="508" y="2724"/>
                      </a:lnTo>
                      <a:lnTo>
                        <a:pt x="494" y="2699"/>
                      </a:lnTo>
                      <a:lnTo>
                        <a:pt x="482" y="2672"/>
                      </a:lnTo>
                      <a:lnTo>
                        <a:pt x="470" y="2644"/>
                      </a:lnTo>
                      <a:lnTo>
                        <a:pt x="461" y="2614"/>
                      </a:lnTo>
                      <a:lnTo>
                        <a:pt x="452" y="2583"/>
                      </a:lnTo>
                      <a:lnTo>
                        <a:pt x="445" y="2549"/>
                      </a:lnTo>
                      <a:lnTo>
                        <a:pt x="438" y="2515"/>
                      </a:lnTo>
                      <a:lnTo>
                        <a:pt x="434" y="2478"/>
                      </a:lnTo>
                      <a:lnTo>
                        <a:pt x="431" y="2440"/>
                      </a:lnTo>
                      <a:lnTo>
                        <a:pt x="429" y="2400"/>
                      </a:lnTo>
                      <a:lnTo>
                        <a:pt x="428" y="2358"/>
                      </a:lnTo>
                      <a:lnTo>
                        <a:pt x="428" y="1079"/>
                      </a:lnTo>
                      <a:lnTo>
                        <a:pt x="0" y="1079"/>
                      </a:lnTo>
                      <a:lnTo>
                        <a:pt x="0" y="726"/>
                      </a:lnTo>
                      <a:lnTo>
                        <a:pt x="428" y="726"/>
                      </a:lnTo>
                      <a:lnTo>
                        <a:pt x="428" y="207"/>
                      </a:lnTo>
                      <a:lnTo>
                        <a:pt x="939" y="0"/>
                      </a:lnTo>
                      <a:lnTo>
                        <a:pt x="939" y="726"/>
                      </a:lnTo>
                      <a:lnTo>
                        <a:pt x="1587" y="726"/>
                      </a:lnTo>
                      <a:lnTo>
                        <a:pt x="1587" y="1079"/>
                      </a:lnTo>
                      <a:lnTo>
                        <a:pt x="939" y="10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6" name="Freeform 11"/>
                <p:cNvSpPr>
                  <a:spLocks/>
                </p:cNvSpPr>
                <p:nvPr userDrawn="1"/>
              </p:nvSpPr>
              <p:spPr bwMode="auto">
                <a:xfrm>
                  <a:off x="2609850" y="2563813"/>
                  <a:ext cx="255587" cy="322263"/>
                </a:xfrm>
                <a:custGeom>
                  <a:avLst/>
                  <a:gdLst/>
                  <a:ahLst/>
                  <a:cxnLst>
                    <a:cxn ang="0">
                      <a:pos x="1243" y="1774"/>
                    </a:cxn>
                    <a:cxn ang="0">
                      <a:pos x="1208" y="1849"/>
                    </a:cxn>
                    <a:cxn ang="0">
                      <a:pos x="1167" y="1919"/>
                    </a:cxn>
                    <a:cxn ang="0">
                      <a:pos x="1120" y="1983"/>
                    </a:cxn>
                    <a:cxn ang="0">
                      <a:pos x="1068" y="2040"/>
                    </a:cxn>
                    <a:cxn ang="0">
                      <a:pos x="1012" y="2092"/>
                    </a:cxn>
                    <a:cxn ang="0">
                      <a:pos x="949" y="2136"/>
                    </a:cxn>
                    <a:cxn ang="0">
                      <a:pos x="881" y="2172"/>
                    </a:cxn>
                    <a:cxn ang="0">
                      <a:pos x="810" y="2201"/>
                    </a:cxn>
                    <a:cxn ang="0">
                      <a:pos x="733" y="2220"/>
                    </a:cxn>
                    <a:cxn ang="0">
                      <a:pos x="651" y="2231"/>
                    </a:cxn>
                    <a:cxn ang="0">
                      <a:pos x="555" y="2232"/>
                    </a:cxn>
                    <a:cxn ang="0">
                      <a:pos x="448" y="2217"/>
                    </a:cxn>
                    <a:cxn ang="0">
                      <a:pos x="354" y="2187"/>
                    </a:cxn>
                    <a:cxn ang="0">
                      <a:pos x="271" y="2142"/>
                    </a:cxn>
                    <a:cxn ang="0">
                      <a:pos x="200" y="2084"/>
                    </a:cxn>
                    <a:cxn ang="0">
                      <a:pos x="140" y="2014"/>
                    </a:cxn>
                    <a:cxn ang="0">
                      <a:pos x="92" y="1934"/>
                    </a:cxn>
                    <a:cxn ang="0">
                      <a:pos x="54" y="1846"/>
                    </a:cxn>
                    <a:cxn ang="0">
                      <a:pos x="27" y="1752"/>
                    </a:cxn>
                    <a:cxn ang="0">
                      <a:pos x="9" y="1651"/>
                    </a:cxn>
                    <a:cxn ang="0">
                      <a:pos x="1" y="1548"/>
                    </a:cxn>
                    <a:cxn ang="0">
                      <a:pos x="511" y="0"/>
                    </a:cxn>
                    <a:cxn ang="0">
                      <a:pos x="511" y="1353"/>
                    </a:cxn>
                    <a:cxn ang="0">
                      <a:pos x="516" y="1454"/>
                    </a:cxn>
                    <a:cxn ang="0">
                      <a:pos x="526" y="1558"/>
                    </a:cxn>
                    <a:cxn ang="0">
                      <a:pos x="545" y="1637"/>
                    </a:cxn>
                    <a:cxn ang="0">
                      <a:pos x="561" y="1675"/>
                    </a:cxn>
                    <a:cxn ang="0">
                      <a:pos x="582" y="1707"/>
                    </a:cxn>
                    <a:cxn ang="0">
                      <a:pos x="605" y="1727"/>
                    </a:cxn>
                    <a:cxn ang="0">
                      <a:pos x="630" y="1740"/>
                    </a:cxn>
                    <a:cxn ang="0">
                      <a:pos x="658" y="1749"/>
                    </a:cxn>
                    <a:cxn ang="0">
                      <a:pos x="717" y="1755"/>
                    </a:cxn>
                    <a:cxn ang="0">
                      <a:pos x="804" y="1750"/>
                    </a:cxn>
                    <a:cxn ang="0">
                      <a:pos x="894" y="1720"/>
                    </a:cxn>
                    <a:cxn ang="0">
                      <a:pos x="973" y="1670"/>
                    </a:cxn>
                    <a:cxn ang="0">
                      <a:pos x="1041" y="1602"/>
                    </a:cxn>
                    <a:cxn ang="0">
                      <a:pos x="1099" y="1520"/>
                    </a:cxn>
                    <a:cxn ang="0">
                      <a:pos x="1147" y="1428"/>
                    </a:cxn>
                    <a:cxn ang="0">
                      <a:pos x="1186" y="1330"/>
                    </a:cxn>
                    <a:cxn ang="0">
                      <a:pos x="1216" y="1229"/>
                    </a:cxn>
                    <a:cxn ang="0">
                      <a:pos x="1236" y="1128"/>
                    </a:cxn>
                    <a:cxn ang="0">
                      <a:pos x="1248" y="1032"/>
                    </a:cxn>
                    <a:cxn ang="0">
                      <a:pos x="1252" y="944"/>
                    </a:cxn>
                    <a:cxn ang="0">
                      <a:pos x="1762" y="2183"/>
                    </a:cxn>
                  </a:cxnLst>
                  <a:rect l="0" t="0" r="r" b="b"/>
                  <a:pathLst>
                    <a:path w="1762" h="2233">
                      <a:moveTo>
                        <a:pt x="1252" y="2183"/>
                      </a:moveTo>
                      <a:lnTo>
                        <a:pt x="1252" y="1774"/>
                      </a:lnTo>
                      <a:lnTo>
                        <a:pt x="1243" y="1774"/>
                      </a:lnTo>
                      <a:lnTo>
                        <a:pt x="1232" y="1800"/>
                      </a:lnTo>
                      <a:lnTo>
                        <a:pt x="1220" y="1825"/>
                      </a:lnTo>
                      <a:lnTo>
                        <a:pt x="1208" y="1849"/>
                      </a:lnTo>
                      <a:lnTo>
                        <a:pt x="1195" y="1874"/>
                      </a:lnTo>
                      <a:lnTo>
                        <a:pt x="1181" y="1897"/>
                      </a:lnTo>
                      <a:lnTo>
                        <a:pt x="1167" y="1919"/>
                      </a:lnTo>
                      <a:lnTo>
                        <a:pt x="1151" y="1941"/>
                      </a:lnTo>
                      <a:lnTo>
                        <a:pt x="1137" y="1963"/>
                      </a:lnTo>
                      <a:lnTo>
                        <a:pt x="1120" y="1983"/>
                      </a:lnTo>
                      <a:lnTo>
                        <a:pt x="1103" y="2002"/>
                      </a:lnTo>
                      <a:lnTo>
                        <a:pt x="1086" y="2022"/>
                      </a:lnTo>
                      <a:lnTo>
                        <a:pt x="1068" y="2040"/>
                      </a:lnTo>
                      <a:lnTo>
                        <a:pt x="1050" y="2058"/>
                      </a:lnTo>
                      <a:lnTo>
                        <a:pt x="1031" y="2075"/>
                      </a:lnTo>
                      <a:lnTo>
                        <a:pt x="1012" y="2092"/>
                      </a:lnTo>
                      <a:lnTo>
                        <a:pt x="991" y="2107"/>
                      </a:lnTo>
                      <a:lnTo>
                        <a:pt x="971" y="2122"/>
                      </a:lnTo>
                      <a:lnTo>
                        <a:pt x="949" y="2136"/>
                      </a:lnTo>
                      <a:lnTo>
                        <a:pt x="928" y="2148"/>
                      </a:lnTo>
                      <a:lnTo>
                        <a:pt x="904" y="2161"/>
                      </a:lnTo>
                      <a:lnTo>
                        <a:pt x="881" y="2172"/>
                      </a:lnTo>
                      <a:lnTo>
                        <a:pt x="858" y="2182"/>
                      </a:lnTo>
                      <a:lnTo>
                        <a:pt x="834" y="2191"/>
                      </a:lnTo>
                      <a:lnTo>
                        <a:pt x="810" y="2201"/>
                      </a:lnTo>
                      <a:lnTo>
                        <a:pt x="785" y="2208"/>
                      </a:lnTo>
                      <a:lnTo>
                        <a:pt x="758" y="2214"/>
                      </a:lnTo>
                      <a:lnTo>
                        <a:pt x="733" y="2220"/>
                      </a:lnTo>
                      <a:lnTo>
                        <a:pt x="706" y="2225"/>
                      </a:lnTo>
                      <a:lnTo>
                        <a:pt x="678" y="2229"/>
                      </a:lnTo>
                      <a:lnTo>
                        <a:pt x="651" y="2231"/>
                      </a:lnTo>
                      <a:lnTo>
                        <a:pt x="623" y="2233"/>
                      </a:lnTo>
                      <a:lnTo>
                        <a:pt x="594" y="2233"/>
                      </a:lnTo>
                      <a:lnTo>
                        <a:pt x="555" y="2232"/>
                      </a:lnTo>
                      <a:lnTo>
                        <a:pt x="519" y="2229"/>
                      </a:lnTo>
                      <a:lnTo>
                        <a:pt x="483" y="2225"/>
                      </a:lnTo>
                      <a:lnTo>
                        <a:pt x="448" y="2217"/>
                      </a:lnTo>
                      <a:lnTo>
                        <a:pt x="416" y="2209"/>
                      </a:lnTo>
                      <a:lnTo>
                        <a:pt x="384" y="2198"/>
                      </a:lnTo>
                      <a:lnTo>
                        <a:pt x="354" y="2187"/>
                      </a:lnTo>
                      <a:lnTo>
                        <a:pt x="325" y="2173"/>
                      </a:lnTo>
                      <a:lnTo>
                        <a:pt x="297" y="2159"/>
                      </a:lnTo>
                      <a:lnTo>
                        <a:pt x="271" y="2142"/>
                      </a:lnTo>
                      <a:lnTo>
                        <a:pt x="246" y="2124"/>
                      </a:lnTo>
                      <a:lnTo>
                        <a:pt x="222" y="2104"/>
                      </a:lnTo>
                      <a:lnTo>
                        <a:pt x="200" y="2084"/>
                      </a:lnTo>
                      <a:lnTo>
                        <a:pt x="179" y="2062"/>
                      </a:lnTo>
                      <a:lnTo>
                        <a:pt x="159" y="2038"/>
                      </a:lnTo>
                      <a:lnTo>
                        <a:pt x="140" y="2014"/>
                      </a:lnTo>
                      <a:lnTo>
                        <a:pt x="123" y="1989"/>
                      </a:lnTo>
                      <a:lnTo>
                        <a:pt x="107" y="1962"/>
                      </a:lnTo>
                      <a:lnTo>
                        <a:pt x="92" y="1934"/>
                      </a:lnTo>
                      <a:lnTo>
                        <a:pt x="78" y="1906"/>
                      </a:lnTo>
                      <a:lnTo>
                        <a:pt x="66" y="1877"/>
                      </a:lnTo>
                      <a:lnTo>
                        <a:pt x="54" y="1846"/>
                      </a:lnTo>
                      <a:lnTo>
                        <a:pt x="44" y="1816"/>
                      </a:lnTo>
                      <a:lnTo>
                        <a:pt x="35" y="1784"/>
                      </a:lnTo>
                      <a:lnTo>
                        <a:pt x="27" y="1752"/>
                      </a:lnTo>
                      <a:lnTo>
                        <a:pt x="19" y="1719"/>
                      </a:lnTo>
                      <a:lnTo>
                        <a:pt x="14" y="1686"/>
                      </a:lnTo>
                      <a:lnTo>
                        <a:pt x="9" y="1651"/>
                      </a:lnTo>
                      <a:lnTo>
                        <a:pt x="6" y="1618"/>
                      </a:lnTo>
                      <a:lnTo>
                        <a:pt x="3" y="1583"/>
                      </a:lnTo>
                      <a:lnTo>
                        <a:pt x="1" y="1548"/>
                      </a:lnTo>
                      <a:lnTo>
                        <a:pt x="0" y="1513"/>
                      </a:lnTo>
                      <a:lnTo>
                        <a:pt x="0" y="0"/>
                      </a:lnTo>
                      <a:lnTo>
                        <a:pt x="511" y="0"/>
                      </a:lnTo>
                      <a:lnTo>
                        <a:pt x="511" y="1247"/>
                      </a:lnTo>
                      <a:lnTo>
                        <a:pt x="511" y="1294"/>
                      </a:lnTo>
                      <a:lnTo>
                        <a:pt x="511" y="1353"/>
                      </a:lnTo>
                      <a:lnTo>
                        <a:pt x="512" y="1385"/>
                      </a:lnTo>
                      <a:lnTo>
                        <a:pt x="513" y="1420"/>
                      </a:lnTo>
                      <a:lnTo>
                        <a:pt x="516" y="1454"/>
                      </a:lnTo>
                      <a:lnTo>
                        <a:pt x="518" y="1489"/>
                      </a:lnTo>
                      <a:lnTo>
                        <a:pt x="522" y="1525"/>
                      </a:lnTo>
                      <a:lnTo>
                        <a:pt x="526" y="1558"/>
                      </a:lnTo>
                      <a:lnTo>
                        <a:pt x="532" y="1591"/>
                      </a:lnTo>
                      <a:lnTo>
                        <a:pt x="541" y="1622"/>
                      </a:lnTo>
                      <a:lnTo>
                        <a:pt x="545" y="1637"/>
                      </a:lnTo>
                      <a:lnTo>
                        <a:pt x="550" y="1650"/>
                      </a:lnTo>
                      <a:lnTo>
                        <a:pt x="555" y="1663"/>
                      </a:lnTo>
                      <a:lnTo>
                        <a:pt x="561" y="1675"/>
                      </a:lnTo>
                      <a:lnTo>
                        <a:pt x="567" y="1687"/>
                      </a:lnTo>
                      <a:lnTo>
                        <a:pt x="574" y="1697"/>
                      </a:lnTo>
                      <a:lnTo>
                        <a:pt x="582" y="1707"/>
                      </a:lnTo>
                      <a:lnTo>
                        <a:pt x="589" y="1714"/>
                      </a:lnTo>
                      <a:lnTo>
                        <a:pt x="596" y="1722"/>
                      </a:lnTo>
                      <a:lnTo>
                        <a:pt x="605" y="1727"/>
                      </a:lnTo>
                      <a:lnTo>
                        <a:pt x="612" y="1732"/>
                      </a:lnTo>
                      <a:lnTo>
                        <a:pt x="621" y="1736"/>
                      </a:lnTo>
                      <a:lnTo>
                        <a:pt x="630" y="1740"/>
                      </a:lnTo>
                      <a:lnTo>
                        <a:pt x="640" y="1744"/>
                      </a:lnTo>
                      <a:lnTo>
                        <a:pt x="649" y="1747"/>
                      </a:lnTo>
                      <a:lnTo>
                        <a:pt x="658" y="1749"/>
                      </a:lnTo>
                      <a:lnTo>
                        <a:pt x="677" y="1752"/>
                      </a:lnTo>
                      <a:lnTo>
                        <a:pt x="697" y="1754"/>
                      </a:lnTo>
                      <a:lnTo>
                        <a:pt x="717" y="1755"/>
                      </a:lnTo>
                      <a:lnTo>
                        <a:pt x="737" y="1756"/>
                      </a:lnTo>
                      <a:lnTo>
                        <a:pt x="771" y="1754"/>
                      </a:lnTo>
                      <a:lnTo>
                        <a:pt x="804" y="1750"/>
                      </a:lnTo>
                      <a:lnTo>
                        <a:pt x="835" y="1743"/>
                      </a:lnTo>
                      <a:lnTo>
                        <a:pt x="865" y="1733"/>
                      </a:lnTo>
                      <a:lnTo>
                        <a:pt x="894" y="1720"/>
                      </a:lnTo>
                      <a:lnTo>
                        <a:pt x="921" y="1706"/>
                      </a:lnTo>
                      <a:lnTo>
                        <a:pt x="948" y="1689"/>
                      </a:lnTo>
                      <a:lnTo>
                        <a:pt x="973" y="1670"/>
                      </a:lnTo>
                      <a:lnTo>
                        <a:pt x="997" y="1649"/>
                      </a:lnTo>
                      <a:lnTo>
                        <a:pt x="1019" y="1627"/>
                      </a:lnTo>
                      <a:lnTo>
                        <a:pt x="1041" y="1602"/>
                      </a:lnTo>
                      <a:lnTo>
                        <a:pt x="1061" y="1577"/>
                      </a:lnTo>
                      <a:lnTo>
                        <a:pt x="1081" y="1550"/>
                      </a:lnTo>
                      <a:lnTo>
                        <a:pt x="1099" y="1520"/>
                      </a:lnTo>
                      <a:lnTo>
                        <a:pt x="1117" y="1491"/>
                      </a:lnTo>
                      <a:lnTo>
                        <a:pt x="1133" y="1461"/>
                      </a:lnTo>
                      <a:lnTo>
                        <a:pt x="1147" y="1428"/>
                      </a:lnTo>
                      <a:lnTo>
                        <a:pt x="1161" y="1397"/>
                      </a:lnTo>
                      <a:lnTo>
                        <a:pt x="1175" y="1363"/>
                      </a:lnTo>
                      <a:lnTo>
                        <a:pt x="1186" y="1330"/>
                      </a:lnTo>
                      <a:lnTo>
                        <a:pt x="1197" y="1296"/>
                      </a:lnTo>
                      <a:lnTo>
                        <a:pt x="1207" y="1262"/>
                      </a:lnTo>
                      <a:lnTo>
                        <a:pt x="1216" y="1229"/>
                      </a:lnTo>
                      <a:lnTo>
                        <a:pt x="1223" y="1195"/>
                      </a:lnTo>
                      <a:lnTo>
                        <a:pt x="1230" y="1162"/>
                      </a:lnTo>
                      <a:lnTo>
                        <a:pt x="1236" y="1128"/>
                      </a:lnTo>
                      <a:lnTo>
                        <a:pt x="1241" y="1096"/>
                      </a:lnTo>
                      <a:lnTo>
                        <a:pt x="1245" y="1063"/>
                      </a:lnTo>
                      <a:lnTo>
                        <a:pt x="1248" y="1032"/>
                      </a:lnTo>
                      <a:lnTo>
                        <a:pt x="1250" y="1002"/>
                      </a:lnTo>
                      <a:lnTo>
                        <a:pt x="1251" y="972"/>
                      </a:lnTo>
                      <a:lnTo>
                        <a:pt x="1252" y="944"/>
                      </a:lnTo>
                      <a:lnTo>
                        <a:pt x="1252" y="0"/>
                      </a:lnTo>
                      <a:lnTo>
                        <a:pt x="1762" y="0"/>
                      </a:lnTo>
                      <a:lnTo>
                        <a:pt x="1762" y="2183"/>
                      </a:lnTo>
                      <a:lnTo>
                        <a:pt x="1252" y="2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7" name="Freeform 12"/>
                <p:cNvSpPr>
                  <a:spLocks/>
                </p:cNvSpPr>
                <p:nvPr userDrawn="1"/>
              </p:nvSpPr>
              <p:spPr bwMode="auto">
                <a:xfrm>
                  <a:off x="2911475" y="2555875"/>
                  <a:ext cx="177800" cy="322263"/>
                </a:xfrm>
                <a:custGeom>
                  <a:avLst/>
                  <a:gdLst/>
                  <a:ahLst/>
                  <a:cxnLst>
                    <a:cxn ang="0">
                      <a:pos x="511" y="2235"/>
                    </a:cxn>
                    <a:cxn ang="0">
                      <a:pos x="0" y="52"/>
                    </a:cxn>
                    <a:cxn ang="0">
                      <a:pos x="511" y="455"/>
                    </a:cxn>
                    <a:cxn ang="0">
                      <a:pos x="536" y="427"/>
                    </a:cxn>
                    <a:cxn ang="0">
                      <a:pos x="568" y="373"/>
                    </a:cxn>
                    <a:cxn ang="0">
                      <a:pos x="600" y="324"/>
                    </a:cxn>
                    <a:cxn ang="0">
                      <a:pos x="634" y="278"/>
                    </a:cxn>
                    <a:cxn ang="0">
                      <a:pos x="667" y="235"/>
                    </a:cxn>
                    <a:cxn ang="0">
                      <a:pos x="703" y="196"/>
                    </a:cxn>
                    <a:cxn ang="0">
                      <a:pos x="740" y="161"/>
                    </a:cxn>
                    <a:cxn ang="0">
                      <a:pos x="779" y="129"/>
                    </a:cxn>
                    <a:cxn ang="0">
                      <a:pos x="821" y="101"/>
                    </a:cxn>
                    <a:cxn ang="0">
                      <a:pos x="864" y="76"/>
                    </a:cxn>
                    <a:cxn ang="0">
                      <a:pos x="910" y="55"/>
                    </a:cxn>
                    <a:cxn ang="0">
                      <a:pos x="960" y="37"/>
                    </a:cxn>
                    <a:cxn ang="0">
                      <a:pos x="1013" y="22"/>
                    </a:cxn>
                    <a:cxn ang="0">
                      <a:pos x="1069" y="12"/>
                    </a:cxn>
                    <a:cxn ang="0">
                      <a:pos x="1130" y="4"/>
                    </a:cxn>
                    <a:cxn ang="0">
                      <a:pos x="1194" y="1"/>
                    </a:cxn>
                    <a:cxn ang="0">
                      <a:pos x="1228" y="533"/>
                    </a:cxn>
                    <a:cxn ang="0">
                      <a:pos x="1134" y="536"/>
                    </a:cxn>
                    <a:cxn ang="0">
                      <a:pos x="1047" y="543"/>
                    </a:cxn>
                    <a:cxn ang="0">
                      <a:pos x="967" y="558"/>
                    </a:cxn>
                    <a:cxn ang="0">
                      <a:pos x="895" y="577"/>
                    </a:cxn>
                    <a:cxn ang="0">
                      <a:pos x="829" y="602"/>
                    </a:cxn>
                    <a:cxn ang="0">
                      <a:pos x="770" y="632"/>
                    </a:cxn>
                    <a:cxn ang="0">
                      <a:pos x="719" y="669"/>
                    </a:cxn>
                    <a:cxn ang="0">
                      <a:pos x="673" y="712"/>
                    </a:cxn>
                    <a:cxn ang="0">
                      <a:pos x="633" y="760"/>
                    </a:cxn>
                    <a:cxn ang="0">
                      <a:pos x="599" y="815"/>
                    </a:cxn>
                    <a:cxn ang="0">
                      <a:pos x="572" y="875"/>
                    </a:cxn>
                    <a:cxn ang="0">
                      <a:pos x="549" y="943"/>
                    </a:cxn>
                    <a:cxn ang="0">
                      <a:pos x="532" y="1017"/>
                    </a:cxn>
                    <a:cxn ang="0">
                      <a:pos x="520" y="1096"/>
                    </a:cxn>
                    <a:cxn ang="0">
                      <a:pos x="513" y="1182"/>
                    </a:cxn>
                    <a:cxn ang="0">
                      <a:pos x="511" y="1276"/>
                    </a:cxn>
                  </a:cxnLst>
                  <a:rect l="0" t="0" r="r" b="b"/>
                  <a:pathLst>
                    <a:path w="1228" h="2235">
                      <a:moveTo>
                        <a:pt x="511" y="1276"/>
                      </a:moveTo>
                      <a:lnTo>
                        <a:pt x="511" y="2235"/>
                      </a:lnTo>
                      <a:lnTo>
                        <a:pt x="0" y="2235"/>
                      </a:lnTo>
                      <a:lnTo>
                        <a:pt x="0" y="52"/>
                      </a:lnTo>
                      <a:lnTo>
                        <a:pt x="511" y="52"/>
                      </a:lnTo>
                      <a:lnTo>
                        <a:pt x="511" y="455"/>
                      </a:lnTo>
                      <a:lnTo>
                        <a:pt x="519" y="455"/>
                      </a:lnTo>
                      <a:lnTo>
                        <a:pt x="536" y="427"/>
                      </a:lnTo>
                      <a:lnTo>
                        <a:pt x="552" y="400"/>
                      </a:lnTo>
                      <a:lnTo>
                        <a:pt x="568" y="373"/>
                      </a:lnTo>
                      <a:lnTo>
                        <a:pt x="583" y="348"/>
                      </a:lnTo>
                      <a:lnTo>
                        <a:pt x="600" y="324"/>
                      </a:lnTo>
                      <a:lnTo>
                        <a:pt x="617" y="301"/>
                      </a:lnTo>
                      <a:lnTo>
                        <a:pt x="634" y="278"/>
                      </a:lnTo>
                      <a:lnTo>
                        <a:pt x="651" y="256"/>
                      </a:lnTo>
                      <a:lnTo>
                        <a:pt x="667" y="235"/>
                      </a:lnTo>
                      <a:lnTo>
                        <a:pt x="685" y="215"/>
                      </a:lnTo>
                      <a:lnTo>
                        <a:pt x="703" y="196"/>
                      </a:lnTo>
                      <a:lnTo>
                        <a:pt x="721" y="178"/>
                      </a:lnTo>
                      <a:lnTo>
                        <a:pt x="740" y="161"/>
                      </a:lnTo>
                      <a:lnTo>
                        <a:pt x="760" y="145"/>
                      </a:lnTo>
                      <a:lnTo>
                        <a:pt x="779" y="129"/>
                      </a:lnTo>
                      <a:lnTo>
                        <a:pt x="800" y="114"/>
                      </a:lnTo>
                      <a:lnTo>
                        <a:pt x="821" y="101"/>
                      </a:lnTo>
                      <a:lnTo>
                        <a:pt x="842" y="87"/>
                      </a:lnTo>
                      <a:lnTo>
                        <a:pt x="864" y="76"/>
                      </a:lnTo>
                      <a:lnTo>
                        <a:pt x="887" y="64"/>
                      </a:lnTo>
                      <a:lnTo>
                        <a:pt x="910" y="55"/>
                      </a:lnTo>
                      <a:lnTo>
                        <a:pt x="936" y="45"/>
                      </a:lnTo>
                      <a:lnTo>
                        <a:pt x="960" y="37"/>
                      </a:lnTo>
                      <a:lnTo>
                        <a:pt x="986" y="28"/>
                      </a:lnTo>
                      <a:lnTo>
                        <a:pt x="1013" y="22"/>
                      </a:lnTo>
                      <a:lnTo>
                        <a:pt x="1041" y="17"/>
                      </a:lnTo>
                      <a:lnTo>
                        <a:pt x="1069" y="12"/>
                      </a:lnTo>
                      <a:lnTo>
                        <a:pt x="1099" y="8"/>
                      </a:lnTo>
                      <a:lnTo>
                        <a:pt x="1130" y="4"/>
                      </a:lnTo>
                      <a:lnTo>
                        <a:pt x="1162" y="2"/>
                      </a:lnTo>
                      <a:lnTo>
                        <a:pt x="1194" y="1"/>
                      </a:lnTo>
                      <a:lnTo>
                        <a:pt x="1228" y="0"/>
                      </a:lnTo>
                      <a:lnTo>
                        <a:pt x="1228" y="533"/>
                      </a:lnTo>
                      <a:lnTo>
                        <a:pt x="1180" y="534"/>
                      </a:lnTo>
                      <a:lnTo>
                        <a:pt x="1134" y="536"/>
                      </a:lnTo>
                      <a:lnTo>
                        <a:pt x="1089" y="539"/>
                      </a:lnTo>
                      <a:lnTo>
                        <a:pt x="1047" y="543"/>
                      </a:lnTo>
                      <a:lnTo>
                        <a:pt x="1006" y="549"/>
                      </a:lnTo>
                      <a:lnTo>
                        <a:pt x="967" y="558"/>
                      </a:lnTo>
                      <a:lnTo>
                        <a:pt x="930" y="566"/>
                      </a:lnTo>
                      <a:lnTo>
                        <a:pt x="895" y="577"/>
                      </a:lnTo>
                      <a:lnTo>
                        <a:pt x="861" y="588"/>
                      </a:lnTo>
                      <a:lnTo>
                        <a:pt x="829" y="602"/>
                      </a:lnTo>
                      <a:lnTo>
                        <a:pt x="799" y="616"/>
                      </a:lnTo>
                      <a:lnTo>
                        <a:pt x="770" y="632"/>
                      </a:lnTo>
                      <a:lnTo>
                        <a:pt x="744" y="650"/>
                      </a:lnTo>
                      <a:lnTo>
                        <a:pt x="719" y="669"/>
                      </a:lnTo>
                      <a:lnTo>
                        <a:pt x="695" y="690"/>
                      </a:lnTo>
                      <a:lnTo>
                        <a:pt x="673" y="712"/>
                      </a:lnTo>
                      <a:lnTo>
                        <a:pt x="652" y="735"/>
                      </a:lnTo>
                      <a:lnTo>
                        <a:pt x="633" y="760"/>
                      </a:lnTo>
                      <a:lnTo>
                        <a:pt x="616" y="787"/>
                      </a:lnTo>
                      <a:lnTo>
                        <a:pt x="599" y="815"/>
                      </a:lnTo>
                      <a:lnTo>
                        <a:pt x="584" y="845"/>
                      </a:lnTo>
                      <a:lnTo>
                        <a:pt x="572" y="875"/>
                      </a:lnTo>
                      <a:lnTo>
                        <a:pt x="559" y="909"/>
                      </a:lnTo>
                      <a:lnTo>
                        <a:pt x="549" y="943"/>
                      </a:lnTo>
                      <a:lnTo>
                        <a:pt x="539" y="979"/>
                      </a:lnTo>
                      <a:lnTo>
                        <a:pt x="532" y="1017"/>
                      </a:lnTo>
                      <a:lnTo>
                        <a:pt x="526" y="1056"/>
                      </a:lnTo>
                      <a:lnTo>
                        <a:pt x="520" y="1096"/>
                      </a:lnTo>
                      <a:lnTo>
                        <a:pt x="516" y="1138"/>
                      </a:lnTo>
                      <a:lnTo>
                        <a:pt x="513" y="1182"/>
                      </a:lnTo>
                      <a:lnTo>
                        <a:pt x="511" y="1229"/>
                      </a:lnTo>
                      <a:lnTo>
                        <a:pt x="511" y="1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8" name="Freeform 13"/>
                <p:cNvSpPr>
                  <a:spLocks noEditPoints="1"/>
                </p:cNvSpPr>
                <p:nvPr userDrawn="1"/>
              </p:nvSpPr>
              <p:spPr bwMode="auto">
                <a:xfrm>
                  <a:off x="3103563" y="2555875"/>
                  <a:ext cx="255587" cy="330200"/>
                </a:xfrm>
                <a:custGeom>
                  <a:avLst/>
                  <a:gdLst/>
                  <a:ahLst/>
                  <a:cxnLst>
                    <a:cxn ang="0">
                      <a:pos x="1768" y="788"/>
                    </a:cxn>
                    <a:cxn ang="0">
                      <a:pos x="1742" y="607"/>
                    </a:cxn>
                    <a:cxn ang="0">
                      <a:pos x="1690" y="445"/>
                    </a:cxn>
                    <a:cxn ang="0">
                      <a:pos x="1612" y="305"/>
                    </a:cxn>
                    <a:cxn ang="0">
                      <a:pos x="1508" y="189"/>
                    </a:cxn>
                    <a:cxn ang="0">
                      <a:pos x="1378" y="99"/>
                    </a:cxn>
                    <a:cxn ang="0">
                      <a:pos x="1222" y="37"/>
                    </a:cxn>
                    <a:cxn ang="0">
                      <a:pos x="1039" y="4"/>
                    </a:cxn>
                    <a:cxn ang="0">
                      <a:pos x="821" y="5"/>
                    </a:cxn>
                    <a:cxn ang="0">
                      <a:pos x="609" y="42"/>
                    </a:cxn>
                    <a:cxn ang="0">
                      <a:pos x="432" y="114"/>
                    </a:cxn>
                    <a:cxn ang="0">
                      <a:pos x="286" y="218"/>
                    </a:cxn>
                    <a:cxn ang="0">
                      <a:pos x="171" y="353"/>
                    </a:cxn>
                    <a:cxn ang="0">
                      <a:pos x="86" y="516"/>
                    </a:cxn>
                    <a:cxn ang="0">
                      <a:pos x="30" y="703"/>
                    </a:cxn>
                    <a:cxn ang="0">
                      <a:pos x="3" y="914"/>
                    </a:cxn>
                    <a:cxn ang="0">
                      <a:pos x="4" y="1161"/>
                    </a:cxn>
                    <a:cxn ang="0">
                      <a:pos x="35" y="1412"/>
                    </a:cxn>
                    <a:cxn ang="0">
                      <a:pos x="100" y="1639"/>
                    </a:cxn>
                    <a:cxn ang="0">
                      <a:pos x="197" y="1839"/>
                    </a:cxn>
                    <a:cxn ang="0">
                      <a:pos x="332" y="2006"/>
                    </a:cxn>
                    <a:cxn ang="0">
                      <a:pos x="503" y="2138"/>
                    </a:cxn>
                    <a:cxn ang="0">
                      <a:pos x="714" y="2231"/>
                    </a:cxn>
                    <a:cxn ang="0">
                      <a:pos x="964" y="2279"/>
                    </a:cxn>
                    <a:cxn ang="0">
                      <a:pos x="1181" y="2284"/>
                    </a:cxn>
                    <a:cxn ang="0">
                      <a:pos x="1337" y="2275"/>
                    </a:cxn>
                    <a:cxn ang="0">
                      <a:pos x="1490" y="2254"/>
                    </a:cxn>
                    <a:cxn ang="0">
                      <a:pos x="1642" y="2220"/>
                    </a:cxn>
                    <a:cxn ang="0">
                      <a:pos x="1667" y="1862"/>
                    </a:cxn>
                    <a:cxn ang="0">
                      <a:pos x="1483" y="1909"/>
                    </a:cxn>
                    <a:cxn ang="0">
                      <a:pos x="1376" y="1923"/>
                    </a:cxn>
                    <a:cxn ang="0">
                      <a:pos x="1252" y="1926"/>
                    </a:cxn>
                    <a:cxn ang="0">
                      <a:pos x="1077" y="1896"/>
                    </a:cxn>
                    <a:cxn ang="0">
                      <a:pos x="922" y="1829"/>
                    </a:cxn>
                    <a:cxn ang="0">
                      <a:pos x="787" y="1733"/>
                    </a:cxn>
                    <a:cxn ang="0">
                      <a:pos x="674" y="1609"/>
                    </a:cxn>
                    <a:cxn ang="0">
                      <a:pos x="583" y="1466"/>
                    </a:cxn>
                    <a:cxn ang="0">
                      <a:pos x="519" y="1308"/>
                    </a:cxn>
                    <a:cxn ang="0">
                      <a:pos x="482" y="1139"/>
                    </a:cxn>
                    <a:cxn ang="0">
                      <a:pos x="1771" y="1009"/>
                    </a:cxn>
                    <a:cxn ang="0">
                      <a:pos x="494" y="662"/>
                    </a:cxn>
                    <a:cxn ang="0">
                      <a:pos x="515" y="586"/>
                    </a:cxn>
                    <a:cxn ang="0">
                      <a:pos x="550" y="518"/>
                    </a:cxn>
                    <a:cxn ang="0">
                      <a:pos x="594" y="458"/>
                    </a:cxn>
                    <a:cxn ang="0">
                      <a:pos x="648" y="408"/>
                    </a:cxn>
                    <a:cxn ang="0">
                      <a:pos x="712" y="369"/>
                    </a:cxn>
                    <a:cxn ang="0">
                      <a:pos x="783" y="342"/>
                    </a:cxn>
                    <a:cxn ang="0">
                      <a:pos x="861" y="328"/>
                    </a:cxn>
                    <a:cxn ang="0">
                      <a:pos x="945" y="328"/>
                    </a:cxn>
                    <a:cxn ang="0">
                      <a:pos x="1025" y="341"/>
                    </a:cxn>
                    <a:cxn ang="0">
                      <a:pos x="1095" y="366"/>
                    </a:cxn>
                    <a:cxn ang="0">
                      <a:pos x="1156" y="404"/>
                    </a:cxn>
                    <a:cxn ang="0">
                      <a:pos x="1207" y="452"/>
                    </a:cxn>
                    <a:cxn ang="0">
                      <a:pos x="1245" y="512"/>
                    </a:cxn>
                    <a:cxn ang="0">
                      <a:pos x="1273" y="581"/>
                    </a:cxn>
                    <a:cxn ang="0">
                      <a:pos x="1286" y="659"/>
                    </a:cxn>
                  </a:cxnLst>
                  <a:rect l="0" t="0" r="r" b="b"/>
                  <a:pathLst>
                    <a:path w="1771" h="2285">
                      <a:moveTo>
                        <a:pt x="1771" y="1009"/>
                      </a:moveTo>
                      <a:lnTo>
                        <a:pt x="1771" y="886"/>
                      </a:lnTo>
                      <a:lnTo>
                        <a:pt x="1770" y="837"/>
                      </a:lnTo>
                      <a:lnTo>
                        <a:pt x="1768" y="788"/>
                      </a:lnTo>
                      <a:lnTo>
                        <a:pt x="1764" y="741"/>
                      </a:lnTo>
                      <a:lnTo>
                        <a:pt x="1758" y="695"/>
                      </a:lnTo>
                      <a:lnTo>
                        <a:pt x="1751" y="650"/>
                      </a:lnTo>
                      <a:lnTo>
                        <a:pt x="1742" y="607"/>
                      </a:lnTo>
                      <a:lnTo>
                        <a:pt x="1731" y="564"/>
                      </a:lnTo>
                      <a:lnTo>
                        <a:pt x="1719" y="523"/>
                      </a:lnTo>
                      <a:lnTo>
                        <a:pt x="1706" y="483"/>
                      </a:lnTo>
                      <a:lnTo>
                        <a:pt x="1690" y="445"/>
                      </a:lnTo>
                      <a:lnTo>
                        <a:pt x="1673" y="408"/>
                      </a:lnTo>
                      <a:lnTo>
                        <a:pt x="1654" y="372"/>
                      </a:lnTo>
                      <a:lnTo>
                        <a:pt x="1634" y="338"/>
                      </a:lnTo>
                      <a:lnTo>
                        <a:pt x="1612" y="305"/>
                      </a:lnTo>
                      <a:lnTo>
                        <a:pt x="1588" y="274"/>
                      </a:lnTo>
                      <a:lnTo>
                        <a:pt x="1564" y="243"/>
                      </a:lnTo>
                      <a:lnTo>
                        <a:pt x="1537" y="215"/>
                      </a:lnTo>
                      <a:lnTo>
                        <a:pt x="1508" y="189"/>
                      </a:lnTo>
                      <a:lnTo>
                        <a:pt x="1478" y="164"/>
                      </a:lnTo>
                      <a:lnTo>
                        <a:pt x="1446" y="141"/>
                      </a:lnTo>
                      <a:lnTo>
                        <a:pt x="1413" y="119"/>
                      </a:lnTo>
                      <a:lnTo>
                        <a:pt x="1378" y="99"/>
                      </a:lnTo>
                      <a:lnTo>
                        <a:pt x="1341" y="81"/>
                      </a:lnTo>
                      <a:lnTo>
                        <a:pt x="1303" y="64"/>
                      </a:lnTo>
                      <a:lnTo>
                        <a:pt x="1263" y="49"/>
                      </a:lnTo>
                      <a:lnTo>
                        <a:pt x="1222" y="37"/>
                      </a:lnTo>
                      <a:lnTo>
                        <a:pt x="1179" y="25"/>
                      </a:lnTo>
                      <a:lnTo>
                        <a:pt x="1134" y="17"/>
                      </a:lnTo>
                      <a:lnTo>
                        <a:pt x="1088" y="10"/>
                      </a:lnTo>
                      <a:lnTo>
                        <a:pt x="1039" y="4"/>
                      </a:lnTo>
                      <a:lnTo>
                        <a:pt x="990" y="1"/>
                      </a:lnTo>
                      <a:lnTo>
                        <a:pt x="938" y="0"/>
                      </a:lnTo>
                      <a:lnTo>
                        <a:pt x="879" y="1"/>
                      </a:lnTo>
                      <a:lnTo>
                        <a:pt x="821" y="5"/>
                      </a:lnTo>
                      <a:lnTo>
                        <a:pt x="764" y="11"/>
                      </a:lnTo>
                      <a:lnTo>
                        <a:pt x="710" y="19"/>
                      </a:lnTo>
                      <a:lnTo>
                        <a:pt x="659" y="30"/>
                      </a:lnTo>
                      <a:lnTo>
                        <a:pt x="609" y="42"/>
                      </a:lnTo>
                      <a:lnTo>
                        <a:pt x="562" y="57"/>
                      </a:lnTo>
                      <a:lnTo>
                        <a:pt x="516" y="74"/>
                      </a:lnTo>
                      <a:lnTo>
                        <a:pt x="473" y="93"/>
                      </a:lnTo>
                      <a:lnTo>
                        <a:pt x="432" y="114"/>
                      </a:lnTo>
                      <a:lnTo>
                        <a:pt x="392" y="137"/>
                      </a:lnTo>
                      <a:lnTo>
                        <a:pt x="354" y="163"/>
                      </a:lnTo>
                      <a:lnTo>
                        <a:pt x="319" y="190"/>
                      </a:lnTo>
                      <a:lnTo>
                        <a:pt x="286" y="218"/>
                      </a:lnTo>
                      <a:lnTo>
                        <a:pt x="254" y="250"/>
                      </a:lnTo>
                      <a:lnTo>
                        <a:pt x="225" y="282"/>
                      </a:lnTo>
                      <a:lnTo>
                        <a:pt x="196" y="317"/>
                      </a:lnTo>
                      <a:lnTo>
                        <a:pt x="171" y="353"/>
                      </a:lnTo>
                      <a:lnTo>
                        <a:pt x="147" y="391"/>
                      </a:lnTo>
                      <a:lnTo>
                        <a:pt x="125" y="431"/>
                      </a:lnTo>
                      <a:lnTo>
                        <a:pt x="104" y="473"/>
                      </a:lnTo>
                      <a:lnTo>
                        <a:pt x="86" y="516"/>
                      </a:lnTo>
                      <a:lnTo>
                        <a:pt x="69" y="560"/>
                      </a:lnTo>
                      <a:lnTo>
                        <a:pt x="54" y="606"/>
                      </a:lnTo>
                      <a:lnTo>
                        <a:pt x="42" y="654"/>
                      </a:lnTo>
                      <a:lnTo>
                        <a:pt x="30" y="703"/>
                      </a:lnTo>
                      <a:lnTo>
                        <a:pt x="21" y="754"/>
                      </a:lnTo>
                      <a:lnTo>
                        <a:pt x="13" y="806"/>
                      </a:lnTo>
                      <a:lnTo>
                        <a:pt x="7" y="860"/>
                      </a:lnTo>
                      <a:lnTo>
                        <a:pt x="3" y="914"/>
                      </a:lnTo>
                      <a:lnTo>
                        <a:pt x="1" y="971"/>
                      </a:lnTo>
                      <a:lnTo>
                        <a:pt x="0" y="1028"/>
                      </a:lnTo>
                      <a:lnTo>
                        <a:pt x="1" y="1095"/>
                      </a:lnTo>
                      <a:lnTo>
                        <a:pt x="4" y="1161"/>
                      </a:lnTo>
                      <a:lnTo>
                        <a:pt x="8" y="1225"/>
                      </a:lnTo>
                      <a:lnTo>
                        <a:pt x="16" y="1289"/>
                      </a:lnTo>
                      <a:lnTo>
                        <a:pt x="24" y="1351"/>
                      </a:lnTo>
                      <a:lnTo>
                        <a:pt x="35" y="1412"/>
                      </a:lnTo>
                      <a:lnTo>
                        <a:pt x="48" y="1471"/>
                      </a:lnTo>
                      <a:lnTo>
                        <a:pt x="63" y="1528"/>
                      </a:lnTo>
                      <a:lnTo>
                        <a:pt x="80" y="1585"/>
                      </a:lnTo>
                      <a:lnTo>
                        <a:pt x="100" y="1639"/>
                      </a:lnTo>
                      <a:lnTo>
                        <a:pt x="121" y="1692"/>
                      </a:lnTo>
                      <a:lnTo>
                        <a:pt x="144" y="1742"/>
                      </a:lnTo>
                      <a:lnTo>
                        <a:pt x="170" y="1791"/>
                      </a:lnTo>
                      <a:lnTo>
                        <a:pt x="197" y="1839"/>
                      </a:lnTo>
                      <a:lnTo>
                        <a:pt x="228" y="1884"/>
                      </a:lnTo>
                      <a:lnTo>
                        <a:pt x="260" y="1927"/>
                      </a:lnTo>
                      <a:lnTo>
                        <a:pt x="295" y="1967"/>
                      </a:lnTo>
                      <a:lnTo>
                        <a:pt x="332" y="2006"/>
                      </a:lnTo>
                      <a:lnTo>
                        <a:pt x="372" y="2043"/>
                      </a:lnTo>
                      <a:lnTo>
                        <a:pt x="413" y="2077"/>
                      </a:lnTo>
                      <a:lnTo>
                        <a:pt x="457" y="2109"/>
                      </a:lnTo>
                      <a:lnTo>
                        <a:pt x="503" y="2138"/>
                      </a:lnTo>
                      <a:lnTo>
                        <a:pt x="553" y="2166"/>
                      </a:lnTo>
                      <a:lnTo>
                        <a:pt x="603" y="2190"/>
                      </a:lnTo>
                      <a:lnTo>
                        <a:pt x="657" y="2212"/>
                      </a:lnTo>
                      <a:lnTo>
                        <a:pt x="714" y="2231"/>
                      </a:lnTo>
                      <a:lnTo>
                        <a:pt x="772" y="2247"/>
                      </a:lnTo>
                      <a:lnTo>
                        <a:pt x="833" y="2261"/>
                      </a:lnTo>
                      <a:lnTo>
                        <a:pt x="897" y="2271"/>
                      </a:lnTo>
                      <a:lnTo>
                        <a:pt x="964" y="2279"/>
                      </a:lnTo>
                      <a:lnTo>
                        <a:pt x="1032" y="2284"/>
                      </a:lnTo>
                      <a:lnTo>
                        <a:pt x="1105" y="2285"/>
                      </a:lnTo>
                      <a:lnTo>
                        <a:pt x="1142" y="2285"/>
                      </a:lnTo>
                      <a:lnTo>
                        <a:pt x="1181" y="2284"/>
                      </a:lnTo>
                      <a:lnTo>
                        <a:pt x="1220" y="2283"/>
                      </a:lnTo>
                      <a:lnTo>
                        <a:pt x="1259" y="2281"/>
                      </a:lnTo>
                      <a:lnTo>
                        <a:pt x="1298" y="2278"/>
                      </a:lnTo>
                      <a:lnTo>
                        <a:pt x="1337" y="2275"/>
                      </a:lnTo>
                      <a:lnTo>
                        <a:pt x="1375" y="2270"/>
                      </a:lnTo>
                      <a:lnTo>
                        <a:pt x="1414" y="2265"/>
                      </a:lnTo>
                      <a:lnTo>
                        <a:pt x="1451" y="2260"/>
                      </a:lnTo>
                      <a:lnTo>
                        <a:pt x="1490" y="2254"/>
                      </a:lnTo>
                      <a:lnTo>
                        <a:pt x="1528" y="2246"/>
                      </a:lnTo>
                      <a:lnTo>
                        <a:pt x="1566" y="2239"/>
                      </a:lnTo>
                      <a:lnTo>
                        <a:pt x="1604" y="2229"/>
                      </a:lnTo>
                      <a:lnTo>
                        <a:pt x="1642" y="2220"/>
                      </a:lnTo>
                      <a:lnTo>
                        <a:pt x="1678" y="2210"/>
                      </a:lnTo>
                      <a:lnTo>
                        <a:pt x="1715" y="2198"/>
                      </a:lnTo>
                      <a:lnTo>
                        <a:pt x="1715" y="1845"/>
                      </a:lnTo>
                      <a:lnTo>
                        <a:pt x="1667" y="1862"/>
                      </a:lnTo>
                      <a:lnTo>
                        <a:pt x="1615" y="1877"/>
                      </a:lnTo>
                      <a:lnTo>
                        <a:pt x="1563" y="1891"/>
                      </a:lnTo>
                      <a:lnTo>
                        <a:pt x="1510" y="1904"/>
                      </a:lnTo>
                      <a:lnTo>
                        <a:pt x="1483" y="1909"/>
                      </a:lnTo>
                      <a:lnTo>
                        <a:pt x="1457" y="1913"/>
                      </a:lnTo>
                      <a:lnTo>
                        <a:pt x="1429" y="1917"/>
                      </a:lnTo>
                      <a:lnTo>
                        <a:pt x="1403" y="1920"/>
                      </a:lnTo>
                      <a:lnTo>
                        <a:pt x="1376" y="1923"/>
                      </a:lnTo>
                      <a:lnTo>
                        <a:pt x="1349" y="1926"/>
                      </a:lnTo>
                      <a:lnTo>
                        <a:pt x="1323" y="1927"/>
                      </a:lnTo>
                      <a:lnTo>
                        <a:pt x="1298" y="1928"/>
                      </a:lnTo>
                      <a:lnTo>
                        <a:pt x="1252" y="1926"/>
                      </a:lnTo>
                      <a:lnTo>
                        <a:pt x="1207" y="1922"/>
                      </a:lnTo>
                      <a:lnTo>
                        <a:pt x="1162" y="1916"/>
                      </a:lnTo>
                      <a:lnTo>
                        <a:pt x="1119" y="1907"/>
                      </a:lnTo>
                      <a:lnTo>
                        <a:pt x="1077" y="1896"/>
                      </a:lnTo>
                      <a:lnTo>
                        <a:pt x="1037" y="1883"/>
                      </a:lnTo>
                      <a:lnTo>
                        <a:pt x="997" y="1867"/>
                      </a:lnTo>
                      <a:lnTo>
                        <a:pt x="959" y="1849"/>
                      </a:lnTo>
                      <a:lnTo>
                        <a:pt x="922" y="1829"/>
                      </a:lnTo>
                      <a:lnTo>
                        <a:pt x="886" y="1808"/>
                      </a:lnTo>
                      <a:lnTo>
                        <a:pt x="851" y="1784"/>
                      </a:lnTo>
                      <a:lnTo>
                        <a:pt x="819" y="1759"/>
                      </a:lnTo>
                      <a:lnTo>
                        <a:pt x="787" y="1733"/>
                      </a:lnTo>
                      <a:lnTo>
                        <a:pt x="757" y="1703"/>
                      </a:lnTo>
                      <a:lnTo>
                        <a:pt x="727" y="1674"/>
                      </a:lnTo>
                      <a:lnTo>
                        <a:pt x="700" y="1643"/>
                      </a:lnTo>
                      <a:lnTo>
                        <a:pt x="674" y="1609"/>
                      </a:lnTo>
                      <a:lnTo>
                        <a:pt x="648" y="1575"/>
                      </a:lnTo>
                      <a:lnTo>
                        <a:pt x="625" y="1540"/>
                      </a:lnTo>
                      <a:lnTo>
                        <a:pt x="603" y="1504"/>
                      </a:lnTo>
                      <a:lnTo>
                        <a:pt x="583" y="1466"/>
                      </a:lnTo>
                      <a:lnTo>
                        <a:pt x="565" y="1428"/>
                      </a:lnTo>
                      <a:lnTo>
                        <a:pt x="548" y="1389"/>
                      </a:lnTo>
                      <a:lnTo>
                        <a:pt x="533" y="1349"/>
                      </a:lnTo>
                      <a:lnTo>
                        <a:pt x="519" y="1308"/>
                      </a:lnTo>
                      <a:lnTo>
                        <a:pt x="507" y="1266"/>
                      </a:lnTo>
                      <a:lnTo>
                        <a:pt x="497" y="1224"/>
                      </a:lnTo>
                      <a:lnTo>
                        <a:pt x="489" y="1182"/>
                      </a:lnTo>
                      <a:lnTo>
                        <a:pt x="482" y="1139"/>
                      </a:lnTo>
                      <a:lnTo>
                        <a:pt x="478" y="1096"/>
                      </a:lnTo>
                      <a:lnTo>
                        <a:pt x="475" y="1054"/>
                      </a:lnTo>
                      <a:lnTo>
                        <a:pt x="474" y="1009"/>
                      </a:lnTo>
                      <a:lnTo>
                        <a:pt x="1771" y="1009"/>
                      </a:lnTo>
                      <a:close/>
                      <a:moveTo>
                        <a:pt x="1289" y="702"/>
                      </a:moveTo>
                      <a:lnTo>
                        <a:pt x="488" y="702"/>
                      </a:lnTo>
                      <a:lnTo>
                        <a:pt x="490" y="681"/>
                      </a:lnTo>
                      <a:lnTo>
                        <a:pt x="494" y="662"/>
                      </a:lnTo>
                      <a:lnTo>
                        <a:pt x="498" y="643"/>
                      </a:lnTo>
                      <a:lnTo>
                        <a:pt x="503" y="623"/>
                      </a:lnTo>
                      <a:lnTo>
                        <a:pt x="509" y="604"/>
                      </a:lnTo>
                      <a:lnTo>
                        <a:pt x="515" y="586"/>
                      </a:lnTo>
                      <a:lnTo>
                        <a:pt x="522" y="568"/>
                      </a:lnTo>
                      <a:lnTo>
                        <a:pt x="531" y="550"/>
                      </a:lnTo>
                      <a:lnTo>
                        <a:pt x="540" y="534"/>
                      </a:lnTo>
                      <a:lnTo>
                        <a:pt x="550" y="518"/>
                      </a:lnTo>
                      <a:lnTo>
                        <a:pt x="559" y="502"/>
                      </a:lnTo>
                      <a:lnTo>
                        <a:pt x="571" y="487"/>
                      </a:lnTo>
                      <a:lnTo>
                        <a:pt x="582" y="472"/>
                      </a:lnTo>
                      <a:lnTo>
                        <a:pt x="594" y="458"/>
                      </a:lnTo>
                      <a:lnTo>
                        <a:pt x="607" y="445"/>
                      </a:lnTo>
                      <a:lnTo>
                        <a:pt x="620" y="432"/>
                      </a:lnTo>
                      <a:lnTo>
                        <a:pt x="635" y="419"/>
                      </a:lnTo>
                      <a:lnTo>
                        <a:pt x="648" y="408"/>
                      </a:lnTo>
                      <a:lnTo>
                        <a:pt x="664" y="397"/>
                      </a:lnTo>
                      <a:lnTo>
                        <a:pt x="680" y="387"/>
                      </a:lnTo>
                      <a:lnTo>
                        <a:pt x="696" y="378"/>
                      </a:lnTo>
                      <a:lnTo>
                        <a:pt x="712" y="369"/>
                      </a:lnTo>
                      <a:lnTo>
                        <a:pt x="729" y="362"/>
                      </a:lnTo>
                      <a:lnTo>
                        <a:pt x="747" y="354"/>
                      </a:lnTo>
                      <a:lnTo>
                        <a:pt x="765" y="348"/>
                      </a:lnTo>
                      <a:lnTo>
                        <a:pt x="783" y="342"/>
                      </a:lnTo>
                      <a:lnTo>
                        <a:pt x="802" y="338"/>
                      </a:lnTo>
                      <a:lnTo>
                        <a:pt x="821" y="333"/>
                      </a:lnTo>
                      <a:lnTo>
                        <a:pt x="841" y="330"/>
                      </a:lnTo>
                      <a:lnTo>
                        <a:pt x="861" y="328"/>
                      </a:lnTo>
                      <a:lnTo>
                        <a:pt x="881" y="327"/>
                      </a:lnTo>
                      <a:lnTo>
                        <a:pt x="902" y="326"/>
                      </a:lnTo>
                      <a:lnTo>
                        <a:pt x="923" y="326"/>
                      </a:lnTo>
                      <a:lnTo>
                        <a:pt x="945" y="328"/>
                      </a:lnTo>
                      <a:lnTo>
                        <a:pt x="965" y="330"/>
                      </a:lnTo>
                      <a:lnTo>
                        <a:pt x="986" y="332"/>
                      </a:lnTo>
                      <a:lnTo>
                        <a:pt x="1005" y="337"/>
                      </a:lnTo>
                      <a:lnTo>
                        <a:pt x="1025" y="341"/>
                      </a:lnTo>
                      <a:lnTo>
                        <a:pt x="1043" y="346"/>
                      </a:lnTo>
                      <a:lnTo>
                        <a:pt x="1061" y="352"/>
                      </a:lnTo>
                      <a:lnTo>
                        <a:pt x="1078" y="359"/>
                      </a:lnTo>
                      <a:lnTo>
                        <a:pt x="1095" y="366"/>
                      </a:lnTo>
                      <a:lnTo>
                        <a:pt x="1111" y="374"/>
                      </a:lnTo>
                      <a:lnTo>
                        <a:pt x="1127" y="384"/>
                      </a:lnTo>
                      <a:lnTo>
                        <a:pt x="1142" y="393"/>
                      </a:lnTo>
                      <a:lnTo>
                        <a:pt x="1156" y="404"/>
                      </a:lnTo>
                      <a:lnTo>
                        <a:pt x="1170" y="415"/>
                      </a:lnTo>
                      <a:lnTo>
                        <a:pt x="1182" y="427"/>
                      </a:lnTo>
                      <a:lnTo>
                        <a:pt x="1195" y="439"/>
                      </a:lnTo>
                      <a:lnTo>
                        <a:pt x="1207" y="452"/>
                      </a:lnTo>
                      <a:lnTo>
                        <a:pt x="1217" y="467"/>
                      </a:lnTo>
                      <a:lnTo>
                        <a:pt x="1228" y="480"/>
                      </a:lnTo>
                      <a:lnTo>
                        <a:pt x="1237" y="496"/>
                      </a:lnTo>
                      <a:lnTo>
                        <a:pt x="1245" y="512"/>
                      </a:lnTo>
                      <a:lnTo>
                        <a:pt x="1254" y="528"/>
                      </a:lnTo>
                      <a:lnTo>
                        <a:pt x="1261" y="545"/>
                      </a:lnTo>
                      <a:lnTo>
                        <a:pt x="1267" y="563"/>
                      </a:lnTo>
                      <a:lnTo>
                        <a:pt x="1273" y="581"/>
                      </a:lnTo>
                      <a:lnTo>
                        <a:pt x="1277" y="600"/>
                      </a:lnTo>
                      <a:lnTo>
                        <a:pt x="1281" y="619"/>
                      </a:lnTo>
                      <a:lnTo>
                        <a:pt x="1284" y="640"/>
                      </a:lnTo>
                      <a:lnTo>
                        <a:pt x="1286" y="659"/>
                      </a:lnTo>
                      <a:lnTo>
                        <a:pt x="1287" y="680"/>
                      </a:lnTo>
                      <a:lnTo>
                        <a:pt x="1289"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grpSp>
      </p:grpSp>
      <p:sp>
        <p:nvSpPr>
          <p:cNvPr id="69" name="Freeform 5"/>
          <p:cNvSpPr>
            <a:spLocks noChangeAspect="1" noEditPoints="1"/>
          </p:cNvSpPr>
          <p:nvPr userDrawn="1"/>
        </p:nvSpPr>
        <p:spPr bwMode="auto">
          <a:xfrm>
            <a:off x="5095815" y="845968"/>
            <a:ext cx="3618831" cy="188723"/>
          </a:xfrm>
          <a:custGeom>
            <a:avLst/>
            <a:gdLst>
              <a:gd name="T0" fmla="*/ 140 w 13706"/>
              <a:gd name="T1" fmla="*/ 64 h 628"/>
              <a:gd name="T2" fmla="*/ 13662 w 13706"/>
              <a:gd name="T3" fmla="*/ 399 h 628"/>
              <a:gd name="T4" fmla="*/ 13634 w 13706"/>
              <a:gd name="T5" fmla="*/ 304 h 628"/>
              <a:gd name="T6" fmla="*/ 13214 w 13706"/>
              <a:gd name="T7" fmla="*/ 479 h 628"/>
              <a:gd name="T8" fmla="*/ 13011 w 13706"/>
              <a:gd name="T9" fmla="*/ 199 h 628"/>
              <a:gd name="T10" fmla="*/ 12760 w 13706"/>
              <a:gd name="T11" fmla="*/ 169 h 628"/>
              <a:gd name="T12" fmla="*/ 12653 w 13706"/>
              <a:gd name="T13" fmla="*/ 486 h 628"/>
              <a:gd name="T14" fmla="*/ 12694 w 13706"/>
              <a:gd name="T15" fmla="*/ 206 h 628"/>
              <a:gd name="T16" fmla="*/ 12403 w 13706"/>
              <a:gd name="T17" fmla="*/ 338 h 628"/>
              <a:gd name="T18" fmla="*/ 12281 w 13706"/>
              <a:gd name="T19" fmla="*/ 248 h 628"/>
              <a:gd name="T20" fmla="*/ 12096 w 13706"/>
              <a:gd name="T21" fmla="*/ 229 h 628"/>
              <a:gd name="T22" fmla="*/ 11969 w 13706"/>
              <a:gd name="T23" fmla="*/ 477 h 628"/>
              <a:gd name="T24" fmla="*/ 11969 w 13706"/>
              <a:gd name="T25" fmla="*/ 477 h 628"/>
              <a:gd name="T26" fmla="*/ 11505 w 13706"/>
              <a:gd name="T27" fmla="*/ 221 h 628"/>
              <a:gd name="T28" fmla="*/ 11116 w 13706"/>
              <a:gd name="T29" fmla="*/ 253 h 628"/>
              <a:gd name="T30" fmla="*/ 10813 w 13706"/>
              <a:gd name="T31" fmla="*/ 0 h 628"/>
              <a:gd name="T32" fmla="*/ 10560 w 13706"/>
              <a:gd name="T33" fmla="*/ 169 h 628"/>
              <a:gd name="T34" fmla="*/ 10112 w 13706"/>
              <a:gd name="T35" fmla="*/ 479 h 628"/>
              <a:gd name="T36" fmla="*/ 10024 w 13706"/>
              <a:gd name="T37" fmla="*/ 559 h 628"/>
              <a:gd name="T38" fmla="*/ 9827 w 13706"/>
              <a:gd name="T39" fmla="*/ 161 h 628"/>
              <a:gd name="T40" fmla="*/ 9369 w 13706"/>
              <a:gd name="T41" fmla="*/ 199 h 628"/>
              <a:gd name="T42" fmla="*/ 9123 w 13706"/>
              <a:gd name="T43" fmla="*/ 307 h 628"/>
              <a:gd name="T44" fmla="*/ 9167 w 13706"/>
              <a:gd name="T45" fmla="*/ 257 h 628"/>
              <a:gd name="T46" fmla="*/ 8669 w 13706"/>
              <a:gd name="T47" fmla="*/ 29 h 628"/>
              <a:gd name="T48" fmla="*/ 8458 w 13706"/>
              <a:gd name="T49" fmla="*/ 161 h 628"/>
              <a:gd name="T50" fmla="*/ 8103 w 13706"/>
              <a:gd name="T51" fmla="*/ 257 h 628"/>
              <a:gd name="T52" fmla="*/ 8210 w 13706"/>
              <a:gd name="T53" fmla="*/ 449 h 628"/>
              <a:gd name="T54" fmla="*/ 7930 w 13706"/>
              <a:gd name="T55" fmla="*/ 479 h 628"/>
              <a:gd name="T56" fmla="*/ 7250 w 13706"/>
              <a:gd name="T57" fmla="*/ 479 h 628"/>
              <a:gd name="T58" fmla="*/ 7061 w 13706"/>
              <a:gd name="T59" fmla="*/ 438 h 628"/>
              <a:gd name="T60" fmla="*/ 7105 w 13706"/>
              <a:gd name="T61" fmla="*/ 479 h 628"/>
              <a:gd name="T62" fmla="*/ 6762 w 13706"/>
              <a:gd name="T63" fmla="*/ 68 h 628"/>
              <a:gd name="T64" fmla="*/ 6549 w 13706"/>
              <a:gd name="T65" fmla="*/ 169 h 628"/>
              <a:gd name="T66" fmla="*/ 6330 w 13706"/>
              <a:gd name="T67" fmla="*/ 199 h 628"/>
              <a:gd name="T68" fmla="*/ 6403 w 13706"/>
              <a:gd name="T69" fmla="*/ 219 h 628"/>
              <a:gd name="T70" fmla="*/ 6091 w 13706"/>
              <a:gd name="T71" fmla="*/ 479 h 628"/>
              <a:gd name="T72" fmla="*/ 5808 w 13706"/>
              <a:gd name="T73" fmla="*/ 437 h 628"/>
              <a:gd name="T74" fmla="*/ 5823 w 13706"/>
              <a:gd name="T75" fmla="*/ 29 h 628"/>
              <a:gd name="T76" fmla="*/ 5107 w 13706"/>
              <a:gd name="T77" fmla="*/ 318 h 628"/>
              <a:gd name="T78" fmla="*/ 5105 w 13706"/>
              <a:gd name="T79" fmla="*/ 219 h 628"/>
              <a:gd name="T80" fmla="*/ 5107 w 13706"/>
              <a:gd name="T81" fmla="*/ 420 h 628"/>
              <a:gd name="T82" fmla="*/ 4667 w 13706"/>
              <a:gd name="T83" fmla="*/ 240 h 628"/>
              <a:gd name="T84" fmla="*/ 4467 w 13706"/>
              <a:gd name="T85" fmla="*/ 88 h 628"/>
              <a:gd name="T86" fmla="*/ 4230 w 13706"/>
              <a:gd name="T87" fmla="*/ 169 h 628"/>
              <a:gd name="T88" fmla="*/ 4406 w 13706"/>
              <a:gd name="T89" fmla="*/ 443 h 628"/>
              <a:gd name="T90" fmla="*/ 3866 w 13706"/>
              <a:gd name="T91" fmla="*/ 486 h 628"/>
              <a:gd name="T92" fmla="*/ 3964 w 13706"/>
              <a:gd name="T93" fmla="*/ 479 h 628"/>
              <a:gd name="T94" fmla="*/ 3634 w 13706"/>
              <a:gd name="T95" fmla="*/ 199 h 628"/>
              <a:gd name="T96" fmla="*/ 3367 w 13706"/>
              <a:gd name="T97" fmla="*/ 206 h 628"/>
              <a:gd name="T98" fmla="*/ 3457 w 13706"/>
              <a:gd name="T99" fmla="*/ 479 h 628"/>
              <a:gd name="T100" fmla="*/ 3031 w 13706"/>
              <a:gd name="T101" fmla="*/ 486 h 628"/>
              <a:gd name="T102" fmla="*/ 2749 w 13706"/>
              <a:gd name="T103" fmla="*/ 444 h 628"/>
              <a:gd name="T104" fmla="*/ 1793 w 13706"/>
              <a:gd name="T105" fmla="*/ 169 h 628"/>
              <a:gd name="T106" fmla="*/ 1562 w 13706"/>
              <a:gd name="T107" fmla="*/ 326 h 628"/>
              <a:gd name="T108" fmla="*/ 1699 w 13706"/>
              <a:gd name="T109" fmla="*/ 169 h 628"/>
              <a:gd name="T110" fmla="*/ 1349 w 13706"/>
              <a:gd name="T111" fmla="*/ 199 h 628"/>
              <a:gd name="T112" fmla="*/ 1281 w 13706"/>
              <a:gd name="T113" fmla="*/ 313 h 628"/>
              <a:gd name="T114" fmla="*/ 1061 w 13706"/>
              <a:gd name="T115" fmla="*/ 169 h 628"/>
              <a:gd name="T116" fmla="*/ 1187 w 13706"/>
              <a:gd name="T117" fmla="*/ 483 h 628"/>
              <a:gd name="T118" fmla="*/ 803 w 13706"/>
              <a:gd name="T119" fmla="*/ 486 h 628"/>
              <a:gd name="T120" fmla="*/ 899 w 13706"/>
              <a:gd name="T121" fmla="*/ 479 h 628"/>
              <a:gd name="T122" fmla="*/ 545 w 13706"/>
              <a:gd name="T123" fmla="*/ 479 h 628"/>
              <a:gd name="T124" fmla="*/ 400 w 13706"/>
              <a:gd name="T125" fmla="*/ 1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6" h="628">
                <a:moveTo>
                  <a:pt x="5" y="420"/>
                </a:moveTo>
                <a:cubicBezTo>
                  <a:pt x="40" y="435"/>
                  <a:pt x="76" y="444"/>
                  <a:pt x="115" y="444"/>
                </a:cubicBezTo>
                <a:cubicBezTo>
                  <a:pt x="163" y="444"/>
                  <a:pt x="212" y="422"/>
                  <a:pt x="212" y="367"/>
                </a:cubicBezTo>
                <a:cubicBezTo>
                  <a:pt x="212" y="317"/>
                  <a:pt x="176" y="299"/>
                  <a:pt x="137" y="276"/>
                </a:cubicBezTo>
                <a:lnTo>
                  <a:pt x="97" y="254"/>
                </a:lnTo>
                <a:cubicBezTo>
                  <a:pt x="48" y="227"/>
                  <a:pt x="0" y="203"/>
                  <a:pt x="0" y="137"/>
                </a:cubicBezTo>
                <a:cubicBezTo>
                  <a:pt x="0" y="53"/>
                  <a:pt x="72" y="22"/>
                  <a:pt x="145" y="22"/>
                </a:cubicBezTo>
                <a:cubicBezTo>
                  <a:pt x="177" y="22"/>
                  <a:pt x="208" y="28"/>
                  <a:pt x="239" y="34"/>
                </a:cubicBezTo>
                <a:lnTo>
                  <a:pt x="239" y="84"/>
                </a:lnTo>
                <a:cubicBezTo>
                  <a:pt x="208" y="71"/>
                  <a:pt x="174" y="64"/>
                  <a:pt x="140" y="64"/>
                </a:cubicBezTo>
                <a:cubicBezTo>
                  <a:pt x="97" y="64"/>
                  <a:pt x="56" y="84"/>
                  <a:pt x="56" y="133"/>
                </a:cubicBezTo>
                <a:cubicBezTo>
                  <a:pt x="56" y="174"/>
                  <a:pt x="99" y="195"/>
                  <a:pt x="131" y="213"/>
                </a:cubicBezTo>
                <a:lnTo>
                  <a:pt x="172" y="236"/>
                </a:lnTo>
                <a:cubicBezTo>
                  <a:pt x="225" y="266"/>
                  <a:pt x="268" y="292"/>
                  <a:pt x="268" y="360"/>
                </a:cubicBezTo>
                <a:cubicBezTo>
                  <a:pt x="268" y="454"/>
                  <a:pt x="191" y="486"/>
                  <a:pt x="109" y="486"/>
                </a:cubicBezTo>
                <a:cubicBezTo>
                  <a:pt x="73" y="486"/>
                  <a:pt x="39" y="481"/>
                  <a:pt x="5" y="473"/>
                </a:cubicBezTo>
                <a:lnTo>
                  <a:pt x="5" y="420"/>
                </a:lnTo>
                <a:close/>
                <a:moveTo>
                  <a:pt x="13506" y="433"/>
                </a:moveTo>
                <a:cubicBezTo>
                  <a:pt x="13532" y="441"/>
                  <a:pt x="13558" y="449"/>
                  <a:pt x="13586" y="449"/>
                </a:cubicBezTo>
                <a:cubicBezTo>
                  <a:pt x="13619" y="449"/>
                  <a:pt x="13662" y="440"/>
                  <a:pt x="13662" y="399"/>
                </a:cubicBezTo>
                <a:cubicBezTo>
                  <a:pt x="13662" y="368"/>
                  <a:pt x="13628" y="355"/>
                  <a:pt x="13606" y="343"/>
                </a:cubicBezTo>
                <a:lnTo>
                  <a:pt x="13577" y="328"/>
                </a:lnTo>
                <a:cubicBezTo>
                  <a:pt x="13541" y="309"/>
                  <a:pt x="13507" y="291"/>
                  <a:pt x="13507" y="244"/>
                </a:cubicBezTo>
                <a:cubicBezTo>
                  <a:pt x="13507" y="183"/>
                  <a:pt x="13560" y="161"/>
                  <a:pt x="13613" y="161"/>
                </a:cubicBezTo>
                <a:cubicBezTo>
                  <a:pt x="13639" y="161"/>
                  <a:pt x="13662" y="166"/>
                  <a:pt x="13686" y="172"/>
                </a:cubicBezTo>
                <a:lnTo>
                  <a:pt x="13686" y="213"/>
                </a:lnTo>
                <a:cubicBezTo>
                  <a:pt x="13664" y="205"/>
                  <a:pt x="13637" y="199"/>
                  <a:pt x="13614" y="199"/>
                </a:cubicBezTo>
                <a:cubicBezTo>
                  <a:pt x="13590" y="199"/>
                  <a:pt x="13551" y="209"/>
                  <a:pt x="13551" y="239"/>
                </a:cubicBezTo>
                <a:cubicBezTo>
                  <a:pt x="13551" y="265"/>
                  <a:pt x="13589" y="277"/>
                  <a:pt x="13607" y="288"/>
                </a:cubicBezTo>
                <a:lnTo>
                  <a:pt x="13634" y="304"/>
                </a:lnTo>
                <a:cubicBezTo>
                  <a:pt x="13672" y="326"/>
                  <a:pt x="13706" y="342"/>
                  <a:pt x="13706" y="392"/>
                </a:cubicBezTo>
                <a:cubicBezTo>
                  <a:pt x="13706" y="462"/>
                  <a:pt x="13652" y="486"/>
                  <a:pt x="13590" y="486"/>
                </a:cubicBezTo>
                <a:cubicBezTo>
                  <a:pt x="13562" y="486"/>
                  <a:pt x="13534" y="482"/>
                  <a:pt x="13506" y="473"/>
                </a:cubicBezTo>
                <a:lnTo>
                  <a:pt x="13506" y="433"/>
                </a:lnTo>
                <a:close/>
                <a:moveTo>
                  <a:pt x="13392" y="479"/>
                </a:moveTo>
                <a:lnTo>
                  <a:pt x="13392" y="307"/>
                </a:lnTo>
                <a:cubicBezTo>
                  <a:pt x="13392" y="272"/>
                  <a:pt x="13398" y="206"/>
                  <a:pt x="13346" y="206"/>
                </a:cubicBezTo>
                <a:cubicBezTo>
                  <a:pt x="13284" y="206"/>
                  <a:pt x="13258" y="303"/>
                  <a:pt x="13258" y="351"/>
                </a:cubicBezTo>
                <a:lnTo>
                  <a:pt x="13258" y="479"/>
                </a:lnTo>
                <a:lnTo>
                  <a:pt x="13214" y="479"/>
                </a:lnTo>
                <a:lnTo>
                  <a:pt x="13214" y="169"/>
                </a:lnTo>
                <a:lnTo>
                  <a:pt x="13258" y="169"/>
                </a:lnTo>
                <a:lnTo>
                  <a:pt x="13258" y="240"/>
                </a:lnTo>
                <a:lnTo>
                  <a:pt x="13260" y="240"/>
                </a:lnTo>
                <a:cubicBezTo>
                  <a:pt x="13275" y="192"/>
                  <a:pt x="13303" y="161"/>
                  <a:pt x="13357" y="161"/>
                </a:cubicBezTo>
                <a:cubicBezTo>
                  <a:pt x="13411" y="161"/>
                  <a:pt x="13436" y="208"/>
                  <a:pt x="13436" y="257"/>
                </a:cubicBezTo>
                <a:lnTo>
                  <a:pt x="13436" y="479"/>
                </a:lnTo>
                <a:lnTo>
                  <a:pt x="13392" y="479"/>
                </a:lnTo>
                <a:close/>
                <a:moveTo>
                  <a:pt x="13088" y="324"/>
                </a:moveTo>
                <a:cubicBezTo>
                  <a:pt x="13088" y="274"/>
                  <a:pt x="13076" y="199"/>
                  <a:pt x="13011" y="199"/>
                </a:cubicBezTo>
                <a:cubicBezTo>
                  <a:pt x="12946" y="199"/>
                  <a:pt x="12935" y="274"/>
                  <a:pt x="12935" y="324"/>
                </a:cubicBezTo>
                <a:cubicBezTo>
                  <a:pt x="12935" y="373"/>
                  <a:pt x="12946" y="449"/>
                  <a:pt x="13011" y="449"/>
                </a:cubicBezTo>
                <a:cubicBezTo>
                  <a:pt x="13076" y="449"/>
                  <a:pt x="13088" y="374"/>
                  <a:pt x="13088" y="324"/>
                </a:cubicBezTo>
                <a:close/>
                <a:moveTo>
                  <a:pt x="12884" y="325"/>
                </a:moveTo>
                <a:cubicBezTo>
                  <a:pt x="12884" y="241"/>
                  <a:pt x="12914" y="161"/>
                  <a:pt x="13011" y="161"/>
                </a:cubicBezTo>
                <a:cubicBezTo>
                  <a:pt x="13108" y="161"/>
                  <a:pt x="13139" y="241"/>
                  <a:pt x="13139" y="325"/>
                </a:cubicBezTo>
                <a:cubicBezTo>
                  <a:pt x="13139" y="409"/>
                  <a:pt x="13108" y="486"/>
                  <a:pt x="13011" y="486"/>
                </a:cubicBezTo>
                <a:cubicBezTo>
                  <a:pt x="12914" y="486"/>
                  <a:pt x="12884" y="409"/>
                  <a:pt x="12884" y="325"/>
                </a:cubicBezTo>
                <a:close/>
                <a:moveTo>
                  <a:pt x="12760" y="479"/>
                </a:moveTo>
                <a:lnTo>
                  <a:pt x="12760" y="169"/>
                </a:lnTo>
                <a:lnTo>
                  <a:pt x="12804" y="169"/>
                </a:lnTo>
                <a:lnTo>
                  <a:pt x="12804" y="479"/>
                </a:lnTo>
                <a:lnTo>
                  <a:pt x="12760" y="479"/>
                </a:lnTo>
                <a:close/>
                <a:moveTo>
                  <a:pt x="12752" y="88"/>
                </a:moveTo>
                <a:lnTo>
                  <a:pt x="12752" y="29"/>
                </a:lnTo>
                <a:lnTo>
                  <a:pt x="12811" y="29"/>
                </a:lnTo>
                <a:lnTo>
                  <a:pt x="12811" y="88"/>
                </a:lnTo>
                <a:lnTo>
                  <a:pt x="12752" y="88"/>
                </a:lnTo>
                <a:close/>
                <a:moveTo>
                  <a:pt x="12692" y="483"/>
                </a:moveTo>
                <a:cubicBezTo>
                  <a:pt x="12679" y="485"/>
                  <a:pt x="12666" y="486"/>
                  <a:pt x="12653" y="486"/>
                </a:cubicBezTo>
                <a:cubicBezTo>
                  <a:pt x="12594" y="486"/>
                  <a:pt x="12567" y="467"/>
                  <a:pt x="12567" y="406"/>
                </a:cubicBezTo>
                <a:lnTo>
                  <a:pt x="12567" y="206"/>
                </a:lnTo>
                <a:lnTo>
                  <a:pt x="12516" y="206"/>
                </a:lnTo>
                <a:lnTo>
                  <a:pt x="12516" y="169"/>
                </a:lnTo>
                <a:lnTo>
                  <a:pt x="12567" y="169"/>
                </a:lnTo>
                <a:lnTo>
                  <a:pt x="12567" y="96"/>
                </a:lnTo>
                <a:lnTo>
                  <a:pt x="12611" y="68"/>
                </a:lnTo>
                <a:lnTo>
                  <a:pt x="12611" y="169"/>
                </a:lnTo>
                <a:lnTo>
                  <a:pt x="12694" y="169"/>
                </a:lnTo>
                <a:lnTo>
                  <a:pt x="12694" y="206"/>
                </a:lnTo>
                <a:lnTo>
                  <a:pt x="12611" y="206"/>
                </a:lnTo>
                <a:lnTo>
                  <a:pt x="12611" y="397"/>
                </a:lnTo>
                <a:cubicBezTo>
                  <a:pt x="12611" y="430"/>
                  <a:pt x="12626" y="449"/>
                  <a:pt x="12662" y="449"/>
                </a:cubicBezTo>
                <a:cubicBezTo>
                  <a:pt x="12674" y="449"/>
                  <a:pt x="12681" y="448"/>
                  <a:pt x="12692" y="443"/>
                </a:cubicBezTo>
                <a:lnTo>
                  <a:pt x="12692" y="483"/>
                </a:lnTo>
                <a:close/>
                <a:moveTo>
                  <a:pt x="12377" y="338"/>
                </a:moveTo>
                <a:cubicBezTo>
                  <a:pt x="12338" y="338"/>
                  <a:pt x="12276" y="355"/>
                  <a:pt x="12276" y="404"/>
                </a:cubicBezTo>
                <a:cubicBezTo>
                  <a:pt x="12276" y="430"/>
                  <a:pt x="12293" y="449"/>
                  <a:pt x="12319" y="449"/>
                </a:cubicBezTo>
                <a:cubicBezTo>
                  <a:pt x="12349" y="449"/>
                  <a:pt x="12379" y="429"/>
                  <a:pt x="12392" y="401"/>
                </a:cubicBezTo>
                <a:cubicBezTo>
                  <a:pt x="12402" y="378"/>
                  <a:pt x="12403" y="364"/>
                  <a:pt x="12403" y="338"/>
                </a:cubicBezTo>
                <a:lnTo>
                  <a:pt x="12377" y="338"/>
                </a:lnTo>
                <a:close/>
                <a:moveTo>
                  <a:pt x="12405" y="479"/>
                </a:moveTo>
                <a:lnTo>
                  <a:pt x="12405" y="438"/>
                </a:lnTo>
                <a:lnTo>
                  <a:pt x="12403" y="438"/>
                </a:lnTo>
                <a:cubicBezTo>
                  <a:pt x="12386" y="471"/>
                  <a:pt x="12343" y="486"/>
                  <a:pt x="12308" y="486"/>
                </a:cubicBezTo>
                <a:cubicBezTo>
                  <a:pt x="12254" y="486"/>
                  <a:pt x="12225" y="452"/>
                  <a:pt x="12225" y="400"/>
                </a:cubicBezTo>
                <a:cubicBezTo>
                  <a:pt x="12225" y="330"/>
                  <a:pt x="12305" y="301"/>
                  <a:pt x="12403" y="301"/>
                </a:cubicBezTo>
                <a:lnTo>
                  <a:pt x="12403" y="295"/>
                </a:lnTo>
                <a:cubicBezTo>
                  <a:pt x="12403" y="248"/>
                  <a:pt x="12406" y="199"/>
                  <a:pt x="12345" y="199"/>
                </a:cubicBezTo>
                <a:cubicBezTo>
                  <a:pt x="12307" y="199"/>
                  <a:pt x="12287" y="211"/>
                  <a:pt x="12281" y="248"/>
                </a:cubicBezTo>
                <a:lnTo>
                  <a:pt x="12232" y="248"/>
                </a:lnTo>
                <a:cubicBezTo>
                  <a:pt x="12234" y="186"/>
                  <a:pt x="12287" y="161"/>
                  <a:pt x="12343" y="161"/>
                </a:cubicBezTo>
                <a:cubicBezTo>
                  <a:pt x="12414" y="161"/>
                  <a:pt x="12448" y="191"/>
                  <a:pt x="12448" y="261"/>
                </a:cubicBezTo>
                <a:lnTo>
                  <a:pt x="12448" y="479"/>
                </a:lnTo>
                <a:lnTo>
                  <a:pt x="12405" y="479"/>
                </a:lnTo>
                <a:close/>
                <a:moveTo>
                  <a:pt x="12050" y="479"/>
                </a:moveTo>
                <a:lnTo>
                  <a:pt x="12050" y="169"/>
                </a:lnTo>
                <a:lnTo>
                  <a:pt x="12095" y="169"/>
                </a:lnTo>
                <a:lnTo>
                  <a:pt x="12095" y="229"/>
                </a:lnTo>
                <a:lnTo>
                  <a:pt x="12096" y="229"/>
                </a:lnTo>
                <a:cubicBezTo>
                  <a:pt x="12116" y="184"/>
                  <a:pt x="12150" y="161"/>
                  <a:pt x="12200" y="161"/>
                </a:cubicBezTo>
                <a:lnTo>
                  <a:pt x="12200" y="209"/>
                </a:lnTo>
                <a:cubicBezTo>
                  <a:pt x="12119" y="209"/>
                  <a:pt x="12095" y="283"/>
                  <a:pt x="12095" y="351"/>
                </a:cubicBezTo>
                <a:lnTo>
                  <a:pt x="12095" y="479"/>
                </a:lnTo>
                <a:lnTo>
                  <a:pt x="12050" y="479"/>
                </a:lnTo>
                <a:close/>
                <a:moveTo>
                  <a:pt x="11925" y="257"/>
                </a:moveTo>
                <a:cubicBezTo>
                  <a:pt x="11925" y="223"/>
                  <a:pt x="11900" y="199"/>
                  <a:pt x="11866" y="199"/>
                </a:cubicBezTo>
                <a:cubicBezTo>
                  <a:pt x="11828" y="199"/>
                  <a:pt x="11808" y="223"/>
                  <a:pt x="11800" y="257"/>
                </a:cubicBezTo>
                <a:lnTo>
                  <a:pt x="11925" y="257"/>
                </a:lnTo>
                <a:close/>
                <a:moveTo>
                  <a:pt x="11969" y="477"/>
                </a:moveTo>
                <a:cubicBezTo>
                  <a:pt x="11946" y="484"/>
                  <a:pt x="11922" y="486"/>
                  <a:pt x="11898" y="486"/>
                </a:cubicBezTo>
                <a:cubicBezTo>
                  <a:pt x="11790" y="486"/>
                  <a:pt x="11746" y="415"/>
                  <a:pt x="11746" y="313"/>
                </a:cubicBezTo>
                <a:cubicBezTo>
                  <a:pt x="11746" y="233"/>
                  <a:pt x="11776" y="161"/>
                  <a:pt x="11868" y="161"/>
                </a:cubicBezTo>
                <a:cubicBezTo>
                  <a:pt x="11939" y="161"/>
                  <a:pt x="11976" y="210"/>
                  <a:pt x="11976" y="280"/>
                </a:cubicBezTo>
                <a:lnTo>
                  <a:pt x="11976" y="295"/>
                </a:lnTo>
                <a:lnTo>
                  <a:pt x="11797" y="295"/>
                </a:lnTo>
                <a:lnTo>
                  <a:pt x="11797" y="313"/>
                </a:lnTo>
                <a:cubicBezTo>
                  <a:pt x="11797" y="381"/>
                  <a:pt x="11831" y="449"/>
                  <a:pt x="11907" y="449"/>
                </a:cubicBezTo>
                <a:cubicBezTo>
                  <a:pt x="11929" y="449"/>
                  <a:pt x="11948" y="446"/>
                  <a:pt x="11969" y="441"/>
                </a:cubicBezTo>
                <a:lnTo>
                  <a:pt x="11969" y="477"/>
                </a:lnTo>
                <a:close/>
                <a:moveTo>
                  <a:pt x="11642" y="313"/>
                </a:moveTo>
                <a:cubicBezTo>
                  <a:pt x="11642" y="270"/>
                  <a:pt x="11634" y="199"/>
                  <a:pt x="11577" y="199"/>
                </a:cubicBezTo>
                <a:cubicBezTo>
                  <a:pt x="11520" y="199"/>
                  <a:pt x="11504" y="279"/>
                  <a:pt x="11504" y="323"/>
                </a:cubicBezTo>
                <a:cubicBezTo>
                  <a:pt x="11504" y="366"/>
                  <a:pt x="11517" y="449"/>
                  <a:pt x="11576" y="449"/>
                </a:cubicBezTo>
                <a:cubicBezTo>
                  <a:pt x="11637" y="449"/>
                  <a:pt x="11642" y="356"/>
                  <a:pt x="11642" y="313"/>
                </a:cubicBezTo>
                <a:close/>
                <a:moveTo>
                  <a:pt x="11460" y="619"/>
                </a:moveTo>
                <a:lnTo>
                  <a:pt x="11460" y="169"/>
                </a:lnTo>
                <a:lnTo>
                  <a:pt x="11504" y="169"/>
                </a:lnTo>
                <a:lnTo>
                  <a:pt x="11504" y="221"/>
                </a:lnTo>
                <a:lnTo>
                  <a:pt x="11505" y="221"/>
                </a:lnTo>
                <a:cubicBezTo>
                  <a:pt x="11516" y="185"/>
                  <a:pt x="11548" y="161"/>
                  <a:pt x="11586" y="161"/>
                </a:cubicBezTo>
                <a:cubicBezTo>
                  <a:pt x="11676" y="161"/>
                  <a:pt x="11693" y="249"/>
                  <a:pt x="11693" y="321"/>
                </a:cubicBezTo>
                <a:cubicBezTo>
                  <a:pt x="11693" y="388"/>
                  <a:pt x="11672" y="486"/>
                  <a:pt x="11587" y="486"/>
                </a:cubicBezTo>
                <a:cubicBezTo>
                  <a:pt x="11547" y="486"/>
                  <a:pt x="11518" y="467"/>
                  <a:pt x="11505" y="428"/>
                </a:cubicBezTo>
                <a:lnTo>
                  <a:pt x="11504" y="428"/>
                </a:lnTo>
                <a:lnTo>
                  <a:pt x="11504" y="619"/>
                </a:lnTo>
                <a:lnTo>
                  <a:pt x="11460" y="619"/>
                </a:lnTo>
                <a:close/>
                <a:moveTo>
                  <a:pt x="11325" y="253"/>
                </a:moveTo>
                <a:cubicBezTo>
                  <a:pt x="11325" y="182"/>
                  <a:pt x="11315" y="64"/>
                  <a:pt x="11221" y="64"/>
                </a:cubicBezTo>
                <a:cubicBezTo>
                  <a:pt x="11126" y="64"/>
                  <a:pt x="11116" y="182"/>
                  <a:pt x="11116" y="253"/>
                </a:cubicBezTo>
                <a:cubicBezTo>
                  <a:pt x="11116" y="324"/>
                  <a:pt x="11126" y="444"/>
                  <a:pt x="11221" y="444"/>
                </a:cubicBezTo>
                <a:cubicBezTo>
                  <a:pt x="11315" y="444"/>
                  <a:pt x="11325" y="323"/>
                  <a:pt x="11325" y="253"/>
                </a:cubicBezTo>
                <a:close/>
                <a:moveTo>
                  <a:pt x="11060" y="253"/>
                </a:moveTo>
                <a:cubicBezTo>
                  <a:pt x="11060" y="144"/>
                  <a:pt x="11088" y="22"/>
                  <a:pt x="11221" y="22"/>
                </a:cubicBezTo>
                <a:cubicBezTo>
                  <a:pt x="11353" y="22"/>
                  <a:pt x="11381" y="146"/>
                  <a:pt x="11381" y="253"/>
                </a:cubicBezTo>
                <a:cubicBezTo>
                  <a:pt x="11381" y="360"/>
                  <a:pt x="11353" y="486"/>
                  <a:pt x="11221" y="486"/>
                </a:cubicBezTo>
                <a:cubicBezTo>
                  <a:pt x="11088" y="486"/>
                  <a:pt x="11060" y="360"/>
                  <a:pt x="11060" y="253"/>
                </a:cubicBezTo>
                <a:close/>
                <a:moveTo>
                  <a:pt x="10779" y="628"/>
                </a:moveTo>
                <a:lnTo>
                  <a:pt x="10779" y="0"/>
                </a:lnTo>
                <a:lnTo>
                  <a:pt x="10813" y="0"/>
                </a:lnTo>
                <a:lnTo>
                  <a:pt x="10813" y="628"/>
                </a:lnTo>
                <a:lnTo>
                  <a:pt x="10779" y="628"/>
                </a:lnTo>
                <a:close/>
                <a:moveTo>
                  <a:pt x="10364" y="605"/>
                </a:moveTo>
                <a:lnTo>
                  <a:pt x="10408" y="479"/>
                </a:lnTo>
                <a:lnTo>
                  <a:pt x="10289" y="169"/>
                </a:lnTo>
                <a:lnTo>
                  <a:pt x="10337" y="169"/>
                </a:lnTo>
                <a:lnTo>
                  <a:pt x="10427" y="413"/>
                </a:lnTo>
                <a:lnTo>
                  <a:pt x="10429" y="413"/>
                </a:lnTo>
                <a:lnTo>
                  <a:pt x="10512" y="169"/>
                </a:lnTo>
                <a:lnTo>
                  <a:pt x="10560" y="169"/>
                </a:lnTo>
                <a:lnTo>
                  <a:pt x="10410" y="605"/>
                </a:lnTo>
                <a:lnTo>
                  <a:pt x="10364" y="605"/>
                </a:lnTo>
                <a:close/>
                <a:moveTo>
                  <a:pt x="10196" y="318"/>
                </a:moveTo>
                <a:cubicBezTo>
                  <a:pt x="10196" y="275"/>
                  <a:pt x="10178" y="199"/>
                  <a:pt x="10123" y="199"/>
                </a:cubicBezTo>
                <a:cubicBezTo>
                  <a:pt x="10065" y="199"/>
                  <a:pt x="10058" y="286"/>
                  <a:pt x="10058" y="326"/>
                </a:cubicBezTo>
                <a:cubicBezTo>
                  <a:pt x="10058" y="367"/>
                  <a:pt x="10066" y="442"/>
                  <a:pt x="10121" y="442"/>
                </a:cubicBezTo>
                <a:cubicBezTo>
                  <a:pt x="10178" y="442"/>
                  <a:pt x="10196" y="362"/>
                  <a:pt x="10196" y="318"/>
                </a:cubicBezTo>
                <a:close/>
                <a:moveTo>
                  <a:pt x="10196" y="420"/>
                </a:moveTo>
                <a:lnTo>
                  <a:pt x="10194" y="420"/>
                </a:lnTo>
                <a:cubicBezTo>
                  <a:pt x="10182" y="457"/>
                  <a:pt x="10151" y="479"/>
                  <a:pt x="10112" y="479"/>
                </a:cubicBezTo>
                <a:cubicBezTo>
                  <a:pt x="10027" y="479"/>
                  <a:pt x="10007" y="396"/>
                  <a:pt x="10007" y="326"/>
                </a:cubicBezTo>
                <a:cubicBezTo>
                  <a:pt x="10007" y="259"/>
                  <a:pt x="10028" y="161"/>
                  <a:pt x="10113" y="161"/>
                </a:cubicBezTo>
                <a:cubicBezTo>
                  <a:pt x="10151" y="161"/>
                  <a:pt x="10184" y="183"/>
                  <a:pt x="10194" y="219"/>
                </a:cubicBezTo>
                <a:lnTo>
                  <a:pt x="10196" y="219"/>
                </a:lnTo>
                <a:lnTo>
                  <a:pt x="10196" y="169"/>
                </a:lnTo>
                <a:lnTo>
                  <a:pt x="10240" y="169"/>
                </a:lnTo>
                <a:lnTo>
                  <a:pt x="10240" y="480"/>
                </a:lnTo>
                <a:cubicBezTo>
                  <a:pt x="10240" y="569"/>
                  <a:pt x="10198" y="615"/>
                  <a:pt x="10108" y="615"/>
                </a:cubicBezTo>
                <a:cubicBezTo>
                  <a:pt x="10078" y="615"/>
                  <a:pt x="10053" y="610"/>
                  <a:pt x="10024" y="604"/>
                </a:cubicBezTo>
                <a:lnTo>
                  <a:pt x="10024" y="559"/>
                </a:lnTo>
                <a:cubicBezTo>
                  <a:pt x="10049" y="572"/>
                  <a:pt x="10074" y="578"/>
                  <a:pt x="10102" y="578"/>
                </a:cubicBezTo>
                <a:cubicBezTo>
                  <a:pt x="10173" y="578"/>
                  <a:pt x="10196" y="541"/>
                  <a:pt x="10196" y="475"/>
                </a:cubicBezTo>
                <a:lnTo>
                  <a:pt x="10196" y="420"/>
                </a:lnTo>
                <a:close/>
                <a:moveTo>
                  <a:pt x="9904" y="324"/>
                </a:moveTo>
                <a:cubicBezTo>
                  <a:pt x="9904" y="274"/>
                  <a:pt x="9892" y="199"/>
                  <a:pt x="9827" y="199"/>
                </a:cubicBezTo>
                <a:cubicBezTo>
                  <a:pt x="9762" y="199"/>
                  <a:pt x="9751" y="274"/>
                  <a:pt x="9751" y="324"/>
                </a:cubicBezTo>
                <a:cubicBezTo>
                  <a:pt x="9751" y="373"/>
                  <a:pt x="9762" y="449"/>
                  <a:pt x="9827" y="449"/>
                </a:cubicBezTo>
                <a:cubicBezTo>
                  <a:pt x="9892" y="449"/>
                  <a:pt x="9904" y="374"/>
                  <a:pt x="9904" y="324"/>
                </a:cubicBezTo>
                <a:close/>
                <a:moveTo>
                  <a:pt x="9700" y="325"/>
                </a:moveTo>
                <a:cubicBezTo>
                  <a:pt x="9700" y="241"/>
                  <a:pt x="9730" y="161"/>
                  <a:pt x="9827" y="161"/>
                </a:cubicBezTo>
                <a:cubicBezTo>
                  <a:pt x="9924" y="161"/>
                  <a:pt x="9955" y="241"/>
                  <a:pt x="9955" y="325"/>
                </a:cubicBezTo>
                <a:cubicBezTo>
                  <a:pt x="9955" y="409"/>
                  <a:pt x="9924" y="486"/>
                  <a:pt x="9827" y="486"/>
                </a:cubicBezTo>
                <a:cubicBezTo>
                  <a:pt x="9730" y="486"/>
                  <a:pt x="9700" y="409"/>
                  <a:pt x="9700" y="325"/>
                </a:cubicBezTo>
                <a:close/>
                <a:moveTo>
                  <a:pt x="9576" y="479"/>
                </a:moveTo>
                <a:lnTo>
                  <a:pt x="9576" y="29"/>
                </a:lnTo>
                <a:lnTo>
                  <a:pt x="9620" y="29"/>
                </a:lnTo>
                <a:lnTo>
                  <a:pt x="9620" y="479"/>
                </a:lnTo>
                <a:lnTo>
                  <a:pt x="9576" y="479"/>
                </a:lnTo>
                <a:close/>
                <a:moveTo>
                  <a:pt x="9446" y="324"/>
                </a:moveTo>
                <a:cubicBezTo>
                  <a:pt x="9446" y="274"/>
                  <a:pt x="9433" y="199"/>
                  <a:pt x="9369" y="199"/>
                </a:cubicBezTo>
                <a:cubicBezTo>
                  <a:pt x="9304" y="199"/>
                  <a:pt x="9293" y="274"/>
                  <a:pt x="9293" y="324"/>
                </a:cubicBezTo>
                <a:cubicBezTo>
                  <a:pt x="9293" y="373"/>
                  <a:pt x="9304" y="449"/>
                  <a:pt x="9369" y="449"/>
                </a:cubicBezTo>
                <a:cubicBezTo>
                  <a:pt x="9434" y="449"/>
                  <a:pt x="9446" y="374"/>
                  <a:pt x="9446" y="324"/>
                </a:cubicBezTo>
                <a:close/>
                <a:moveTo>
                  <a:pt x="9242" y="325"/>
                </a:moveTo>
                <a:cubicBezTo>
                  <a:pt x="9242" y="241"/>
                  <a:pt x="9272" y="161"/>
                  <a:pt x="9369" y="161"/>
                </a:cubicBezTo>
                <a:cubicBezTo>
                  <a:pt x="9466" y="161"/>
                  <a:pt x="9497" y="241"/>
                  <a:pt x="9497" y="325"/>
                </a:cubicBezTo>
                <a:cubicBezTo>
                  <a:pt x="9497" y="409"/>
                  <a:pt x="9466" y="486"/>
                  <a:pt x="9369" y="486"/>
                </a:cubicBezTo>
                <a:cubicBezTo>
                  <a:pt x="9272" y="486"/>
                  <a:pt x="9242" y="409"/>
                  <a:pt x="9242" y="325"/>
                </a:cubicBezTo>
                <a:close/>
                <a:moveTo>
                  <a:pt x="9123" y="479"/>
                </a:moveTo>
                <a:lnTo>
                  <a:pt x="9123" y="307"/>
                </a:lnTo>
                <a:cubicBezTo>
                  <a:pt x="9123" y="272"/>
                  <a:pt x="9129" y="206"/>
                  <a:pt x="9077" y="206"/>
                </a:cubicBezTo>
                <a:cubicBezTo>
                  <a:pt x="9015" y="206"/>
                  <a:pt x="8989" y="303"/>
                  <a:pt x="8989" y="351"/>
                </a:cubicBezTo>
                <a:lnTo>
                  <a:pt x="8989" y="479"/>
                </a:lnTo>
                <a:lnTo>
                  <a:pt x="8945" y="479"/>
                </a:lnTo>
                <a:lnTo>
                  <a:pt x="8945" y="169"/>
                </a:lnTo>
                <a:lnTo>
                  <a:pt x="8989" y="169"/>
                </a:lnTo>
                <a:lnTo>
                  <a:pt x="8989" y="240"/>
                </a:lnTo>
                <a:lnTo>
                  <a:pt x="8990" y="240"/>
                </a:lnTo>
                <a:cubicBezTo>
                  <a:pt x="9006" y="192"/>
                  <a:pt x="9033" y="161"/>
                  <a:pt x="9087" y="161"/>
                </a:cubicBezTo>
                <a:cubicBezTo>
                  <a:pt x="9142" y="161"/>
                  <a:pt x="9167" y="208"/>
                  <a:pt x="9167" y="257"/>
                </a:cubicBezTo>
                <a:lnTo>
                  <a:pt x="9167" y="479"/>
                </a:lnTo>
                <a:lnTo>
                  <a:pt x="9123" y="479"/>
                </a:lnTo>
                <a:close/>
                <a:moveTo>
                  <a:pt x="8803" y="479"/>
                </a:moveTo>
                <a:lnTo>
                  <a:pt x="8803" y="307"/>
                </a:lnTo>
                <a:cubicBezTo>
                  <a:pt x="8803" y="272"/>
                  <a:pt x="8809" y="206"/>
                  <a:pt x="8757" y="206"/>
                </a:cubicBezTo>
                <a:cubicBezTo>
                  <a:pt x="8695" y="206"/>
                  <a:pt x="8669" y="303"/>
                  <a:pt x="8669" y="351"/>
                </a:cubicBezTo>
                <a:lnTo>
                  <a:pt x="8669" y="479"/>
                </a:lnTo>
                <a:lnTo>
                  <a:pt x="8625" y="479"/>
                </a:lnTo>
                <a:lnTo>
                  <a:pt x="8625" y="29"/>
                </a:lnTo>
                <a:lnTo>
                  <a:pt x="8669" y="29"/>
                </a:lnTo>
                <a:lnTo>
                  <a:pt x="8669" y="240"/>
                </a:lnTo>
                <a:lnTo>
                  <a:pt x="8670" y="240"/>
                </a:lnTo>
                <a:cubicBezTo>
                  <a:pt x="8686" y="192"/>
                  <a:pt x="8714" y="161"/>
                  <a:pt x="8768" y="161"/>
                </a:cubicBezTo>
                <a:cubicBezTo>
                  <a:pt x="8822" y="161"/>
                  <a:pt x="8847" y="208"/>
                  <a:pt x="8847" y="257"/>
                </a:cubicBezTo>
                <a:lnTo>
                  <a:pt x="8847" y="479"/>
                </a:lnTo>
                <a:lnTo>
                  <a:pt x="8803" y="479"/>
                </a:lnTo>
                <a:close/>
                <a:moveTo>
                  <a:pt x="8556" y="478"/>
                </a:moveTo>
                <a:cubicBezTo>
                  <a:pt x="8534" y="484"/>
                  <a:pt x="8514" y="486"/>
                  <a:pt x="8491" y="486"/>
                </a:cubicBezTo>
                <a:cubicBezTo>
                  <a:pt x="8384" y="486"/>
                  <a:pt x="8331" y="421"/>
                  <a:pt x="8331" y="317"/>
                </a:cubicBezTo>
                <a:cubicBezTo>
                  <a:pt x="8331" y="232"/>
                  <a:pt x="8362" y="161"/>
                  <a:pt x="8458" y="161"/>
                </a:cubicBezTo>
                <a:cubicBezTo>
                  <a:pt x="8523" y="161"/>
                  <a:pt x="8564" y="196"/>
                  <a:pt x="8564" y="263"/>
                </a:cubicBezTo>
                <a:lnTo>
                  <a:pt x="8511" y="263"/>
                </a:lnTo>
                <a:cubicBezTo>
                  <a:pt x="8511" y="227"/>
                  <a:pt x="8495" y="199"/>
                  <a:pt x="8456" y="199"/>
                </a:cubicBezTo>
                <a:cubicBezTo>
                  <a:pt x="8399" y="199"/>
                  <a:pt x="8382" y="261"/>
                  <a:pt x="8382" y="307"/>
                </a:cubicBezTo>
                <a:cubicBezTo>
                  <a:pt x="8382" y="387"/>
                  <a:pt x="8417" y="449"/>
                  <a:pt x="8505" y="449"/>
                </a:cubicBezTo>
                <a:cubicBezTo>
                  <a:pt x="8523" y="449"/>
                  <a:pt x="8540" y="448"/>
                  <a:pt x="8556" y="443"/>
                </a:cubicBezTo>
                <a:lnTo>
                  <a:pt x="8556" y="478"/>
                </a:lnTo>
                <a:close/>
                <a:moveTo>
                  <a:pt x="8228" y="257"/>
                </a:moveTo>
                <a:cubicBezTo>
                  <a:pt x="8228" y="223"/>
                  <a:pt x="8203" y="199"/>
                  <a:pt x="8169" y="199"/>
                </a:cubicBezTo>
                <a:cubicBezTo>
                  <a:pt x="8131" y="199"/>
                  <a:pt x="8111" y="223"/>
                  <a:pt x="8103" y="257"/>
                </a:cubicBezTo>
                <a:lnTo>
                  <a:pt x="8228" y="257"/>
                </a:lnTo>
                <a:close/>
                <a:moveTo>
                  <a:pt x="8272" y="477"/>
                </a:moveTo>
                <a:cubicBezTo>
                  <a:pt x="8249" y="484"/>
                  <a:pt x="8225" y="486"/>
                  <a:pt x="8201" y="486"/>
                </a:cubicBezTo>
                <a:cubicBezTo>
                  <a:pt x="8093" y="486"/>
                  <a:pt x="8049" y="415"/>
                  <a:pt x="8049" y="313"/>
                </a:cubicBezTo>
                <a:cubicBezTo>
                  <a:pt x="8049" y="233"/>
                  <a:pt x="8079" y="161"/>
                  <a:pt x="8171" y="161"/>
                </a:cubicBezTo>
                <a:cubicBezTo>
                  <a:pt x="8242" y="161"/>
                  <a:pt x="8279" y="210"/>
                  <a:pt x="8279" y="280"/>
                </a:cubicBezTo>
                <a:lnTo>
                  <a:pt x="8279" y="295"/>
                </a:lnTo>
                <a:lnTo>
                  <a:pt x="8100" y="295"/>
                </a:lnTo>
                <a:lnTo>
                  <a:pt x="8100" y="313"/>
                </a:lnTo>
                <a:cubicBezTo>
                  <a:pt x="8100" y="381"/>
                  <a:pt x="8134" y="449"/>
                  <a:pt x="8210" y="449"/>
                </a:cubicBezTo>
                <a:cubicBezTo>
                  <a:pt x="8232" y="449"/>
                  <a:pt x="8251" y="446"/>
                  <a:pt x="8272" y="441"/>
                </a:cubicBezTo>
                <a:lnTo>
                  <a:pt x="8272" y="477"/>
                </a:lnTo>
                <a:close/>
                <a:moveTo>
                  <a:pt x="7879" y="479"/>
                </a:moveTo>
                <a:lnTo>
                  <a:pt x="7879" y="71"/>
                </a:lnTo>
                <a:lnTo>
                  <a:pt x="7771" y="71"/>
                </a:lnTo>
                <a:lnTo>
                  <a:pt x="7771" y="29"/>
                </a:lnTo>
                <a:lnTo>
                  <a:pt x="8037" y="29"/>
                </a:lnTo>
                <a:lnTo>
                  <a:pt x="8037" y="71"/>
                </a:lnTo>
                <a:lnTo>
                  <a:pt x="7930" y="71"/>
                </a:lnTo>
                <a:lnTo>
                  <a:pt x="7930" y="479"/>
                </a:lnTo>
                <a:lnTo>
                  <a:pt x="7879" y="479"/>
                </a:lnTo>
                <a:close/>
                <a:moveTo>
                  <a:pt x="7523" y="628"/>
                </a:moveTo>
                <a:lnTo>
                  <a:pt x="7523" y="0"/>
                </a:lnTo>
                <a:lnTo>
                  <a:pt x="7557" y="0"/>
                </a:lnTo>
                <a:lnTo>
                  <a:pt x="7557" y="628"/>
                </a:lnTo>
                <a:lnTo>
                  <a:pt x="7523" y="628"/>
                </a:lnTo>
                <a:close/>
                <a:moveTo>
                  <a:pt x="7206" y="479"/>
                </a:moveTo>
                <a:lnTo>
                  <a:pt x="7206" y="29"/>
                </a:lnTo>
                <a:lnTo>
                  <a:pt x="7250" y="29"/>
                </a:lnTo>
                <a:lnTo>
                  <a:pt x="7250" y="479"/>
                </a:lnTo>
                <a:lnTo>
                  <a:pt x="7206" y="479"/>
                </a:lnTo>
                <a:close/>
                <a:moveTo>
                  <a:pt x="7034" y="338"/>
                </a:moveTo>
                <a:cubicBezTo>
                  <a:pt x="6995" y="338"/>
                  <a:pt x="6933" y="355"/>
                  <a:pt x="6933" y="404"/>
                </a:cubicBezTo>
                <a:cubicBezTo>
                  <a:pt x="6933" y="430"/>
                  <a:pt x="6950" y="449"/>
                  <a:pt x="6976" y="449"/>
                </a:cubicBezTo>
                <a:cubicBezTo>
                  <a:pt x="7006" y="449"/>
                  <a:pt x="7036" y="429"/>
                  <a:pt x="7049" y="401"/>
                </a:cubicBezTo>
                <a:cubicBezTo>
                  <a:pt x="7059" y="378"/>
                  <a:pt x="7061" y="364"/>
                  <a:pt x="7061" y="338"/>
                </a:cubicBezTo>
                <a:lnTo>
                  <a:pt x="7034" y="338"/>
                </a:lnTo>
                <a:close/>
                <a:moveTo>
                  <a:pt x="7062" y="479"/>
                </a:moveTo>
                <a:lnTo>
                  <a:pt x="7062" y="438"/>
                </a:lnTo>
                <a:lnTo>
                  <a:pt x="7061" y="438"/>
                </a:lnTo>
                <a:cubicBezTo>
                  <a:pt x="7044" y="471"/>
                  <a:pt x="7000" y="486"/>
                  <a:pt x="6965" y="486"/>
                </a:cubicBezTo>
                <a:cubicBezTo>
                  <a:pt x="6911" y="486"/>
                  <a:pt x="6882" y="452"/>
                  <a:pt x="6882" y="400"/>
                </a:cubicBezTo>
                <a:cubicBezTo>
                  <a:pt x="6882" y="330"/>
                  <a:pt x="6963" y="301"/>
                  <a:pt x="7061" y="301"/>
                </a:cubicBezTo>
                <a:lnTo>
                  <a:pt x="7061" y="295"/>
                </a:lnTo>
                <a:cubicBezTo>
                  <a:pt x="7061" y="248"/>
                  <a:pt x="7063" y="199"/>
                  <a:pt x="7002" y="199"/>
                </a:cubicBezTo>
                <a:cubicBezTo>
                  <a:pt x="6965" y="199"/>
                  <a:pt x="6944" y="211"/>
                  <a:pt x="6939" y="248"/>
                </a:cubicBezTo>
                <a:lnTo>
                  <a:pt x="6889" y="248"/>
                </a:lnTo>
                <a:cubicBezTo>
                  <a:pt x="6891" y="186"/>
                  <a:pt x="6944" y="161"/>
                  <a:pt x="7001" y="161"/>
                </a:cubicBezTo>
                <a:cubicBezTo>
                  <a:pt x="7071" y="161"/>
                  <a:pt x="7105" y="191"/>
                  <a:pt x="7105" y="261"/>
                </a:cubicBezTo>
                <a:lnTo>
                  <a:pt x="7105" y="479"/>
                </a:lnTo>
                <a:lnTo>
                  <a:pt x="7062" y="479"/>
                </a:lnTo>
                <a:close/>
                <a:moveTo>
                  <a:pt x="6843" y="483"/>
                </a:moveTo>
                <a:cubicBezTo>
                  <a:pt x="6829" y="485"/>
                  <a:pt x="6816" y="486"/>
                  <a:pt x="6803" y="486"/>
                </a:cubicBezTo>
                <a:cubicBezTo>
                  <a:pt x="6745" y="486"/>
                  <a:pt x="6717" y="467"/>
                  <a:pt x="6717" y="406"/>
                </a:cubicBezTo>
                <a:lnTo>
                  <a:pt x="6717" y="206"/>
                </a:lnTo>
                <a:lnTo>
                  <a:pt x="6666" y="206"/>
                </a:lnTo>
                <a:lnTo>
                  <a:pt x="6666" y="169"/>
                </a:lnTo>
                <a:lnTo>
                  <a:pt x="6717" y="169"/>
                </a:lnTo>
                <a:lnTo>
                  <a:pt x="6717" y="96"/>
                </a:lnTo>
                <a:lnTo>
                  <a:pt x="6762" y="68"/>
                </a:lnTo>
                <a:lnTo>
                  <a:pt x="6762" y="169"/>
                </a:lnTo>
                <a:lnTo>
                  <a:pt x="6845" y="169"/>
                </a:lnTo>
                <a:lnTo>
                  <a:pt x="6845" y="206"/>
                </a:lnTo>
                <a:lnTo>
                  <a:pt x="6762" y="206"/>
                </a:lnTo>
                <a:lnTo>
                  <a:pt x="6762" y="397"/>
                </a:lnTo>
                <a:cubicBezTo>
                  <a:pt x="6762" y="430"/>
                  <a:pt x="6777" y="449"/>
                  <a:pt x="6813" y="449"/>
                </a:cubicBezTo>
                <a:cubicBezTo>
                  <a:pt x="6825" y="449"/>
                  <a:pt x="6832" y="448"/>
                  <a:pt x="6843" y="443"/>
                </a:cubicBezTo>
                <a:lnTo>
                  <a:pt x="6843" y="483"/>
                </a:lnTo>
                <a:close/>
                <a:moveTo>
                  <a:pt x="6549" y="479"/>
                </a:moveTo>
                <a:lnTo>
                  <a:pt x="6549" y="169"/>
                </a:lnTo>
                <a:lnTo>
                  <a:pt x="6593" y="169"/>
                </a:lnTo>
                <a:lnTo>
                  <a:pt x="6593" y="479"/>
                </a:lnTo>
                <a:lnTo>
                  <a:pt x="6549" y="479"/>
                </a:lnTo>
                <a:close/>
                <a:moveTo>
                  <a:pt x="6542" y="88"/>
                </a:moveTo>
                <a:lnTo>
                  <a:pt x="6542" y="29"/>
                </a:lnTo>
                <a:lnTo>
                  <a:pt x="6600" y="29"/>
                </a:lnTo>
                <a:lnTo>
                  <a:pt x="6600" y="88"/>
                </a:lnTo>
                <a:lnTo>
                  <a:pt x="6542" y="88"/>
                </a:lnTo>
                <a:close/>
                <a:moveTo>
                  <a:pt x="6403" y="318"/>
                </a:moveTo>
                <a:cubicBezTo>
                  <a:pt x="6403" y="275"/>
                  <a:pt x="6386" y="199"/>
                  <a:pt x="6330" y="199"/>
                </a:cubicBezTo>
                <a:cubicBezTo>
                  <a:pt x="6273" y="199"/>
                  <a:pt x="6266" y="286"/>
                  <a:pt x="6266" y="326"/>
                </a:cubicBezTo>
                <a:cubicBezTo>
                  <a:pt x="6266" y="367"/>
                  <a:pt x="6274" y="442"/>
                  <a:pt x="6329" y="442"/>
                </a:cubicBezTo>
                <a:cubicBezTo>
                  <a:pt x="6386" y="442"/>
                  <a:pt x="6403" y="362"/>
                  <a:pt x="6403" y="318"/>
                </a:cubicBezTo>
                <a:close/>
                <a:moveTo>
                  <a:pt x="6403" y="420"/>
                </a:moveTo>
                <a:lnTo>
                  <a:pt x="6402" y="420"/>
                </a:lnTo>
                <a:cubicBezTo>
                  <a:pt x="6390" y="457"/>
                  <a:pt x="6358" y="479"/>
                  <a:pt x="6320" y="479"/>
                </a:cubicBezTo>
                <a:cubicBezTo>
                  <a:pt x="6234" y="479"/>
                  <a:pt x="6215" y="396"/>
                  <a:pt x="6215" y="326"/>
                </a:cubicBezTo>
                <a:cubicBezTo>
                  <a:pt x="6215" y="259"/>
                  <a:pt x="6236" y="161"/>
                  <a:pt x="6321" y="161"/>
                </a:cubicBezTo>
                <a:cubicBezTo>
                  <a:pt x="6358" y="161"/>
                  <a:pt x="6392" y="183"/>
                  <a:pt x="6402" y="219"/>
                </a:cubicBezTo>
                <a:lnTo>
                  <a:pt x="6403" y="219"/>
                </a:lnTo>
                <a:lnTo>
                  <a:pt x="6403" y="169"/>
                </a:lnTo>
                <a:lnTo>
                  <a:pt x="6448" y="169"/>
                </a:lnTo>
                <a:lnTo>
                  <a:pt x="6448" y="480"/>
                </a:lnTo>
                <a:cubicBezTo>
                  <a:pt x="6448" y="569"/>
                  <a:pt x="6405" y="615"/>
                  <a:pt x="6316" y="615"/>
                </a:cubicBezTo>
                <a:cubicBezTo>
                  <a:pt x="6285" y="615"/>
                  <a:pt x="6260" y="610"/>
                  <a:pt x="6232" y="604"/>
                </a:cubicBezTo>
                <a:lnTo>
                  <a:pt x="6232" y="559"/>
                </a:lnTo>
                <a:cubicBezTo>
                  <a:pt x="6257" y="572"/>
                  <a:pt x="6281" y="578"/>
                  <a:pt x="6309" y="578"/>
                </a:cubicBezTo>
                <a:cubicBezTo>
                  <a:pt x="6381" y="578"/>
                  <a:pt x="6403" y="541"/>
                  <a:pt x="6403" y="475"/>
                </a:cubicBezTo>
                <a:lnTo>
                  <a:pt x="6403" y="420"/>
                </a:lnTo>
                <a:close/>
                <a:moveTo>
                  <a:pt x="6091" y="479"/>
                </a:moveTo>
                <a:lnTo>
                  <a:pt x="6091" y="169"/>
                </a:lnTo>
                <a:lnTo>
                  <a:pt x="6135" y="169"/>
                </a:lnTo>
                <a:lnTo>
                  <a:pt x="6135" y="479"/>
                </a:lnTo>
                <a:lnTo>
                  <a:pt x="6091" y="479"/>
                </a:lnTo>
                <a:close/>
                <a:moveTo>
                  <a:pt x="6084" y="88"/>
                </a:moveTo>
                <a:lnTo>
                  <a:pt x="6084" y="29"/>
                </a:lnTo>
                <a:lnTo>
                  <a:pt x="6142" y="29"/>
                </a:lnTo>
                <a:lnTo>
                  <a:pt x="6142" y="88"/>
                </a:lnTo>
                <a:lnTo>
                  <a:pt x="6084" y="88"/>
                </a:lnTo>
                <a:close/>
                <a:moveTo>
                  <a:pt x="5808" y="437"/>
                </a:moveTo>
                <a:cubicBezTo>
                  <a:pt x="5833" y="437"/>
                  <a:pt x="5860" y="435"/>
                  <a:pt x="5884" y="424"/>
                </a:cubicBezTo>
                <a:cubicBezTo>
                  <a:pt x="5947" y="395"/>
                  <a:pt x="5952" y="313"/>
                  <a:pt x="5952" y="253"/>
                </a:cubicBezTo>
                <a:cubicBezTo>
                  <a:pt x="5952" y="189"/>
                  <a:pt x="5946" y="107"/>
                  <a:pt x="5875" y="81"/>
                </a:cubicBezTo>
                <a:cubicBezTo>
                  <a:pt x="5852" y="73"/>
                  <a:pt x="5827" y="71"/>
                  <a:pt x="5802" y="71"/>
                </a:cubicBezTo>
                <a:lnTo>
                  <a:pt x="5773" y="71"/>
                </a:lnTo>
                <a:lnTo>
                  <a:pt x="5773" y="437"/>
                </a:lnTo>
                <a:lnTo>
                  <a:pt x="5808" y="437"/>
                </a:lnTo>
                <a:close/>
                <a:moveTo>
                  <a:pt x="5722" y="479"/>
                </a:moveTo>
                <a:lnTo>
                  <a:pt x="5722" y="29"/>
                </a:lnTo>
                <a:lnTo>
                  <a:pt x="5823" y="29"/>
                </a:lnTo>
                <a:cubicBezTo>
                  <a:pt x="5968" y="29"/>
                  <a:pt x="6008" y="123"/>
                  <a:pt x="6008" y="253"/>
                </a:cubicBezTo>
                <a:cubicBezTo>
                  <a:pt x="6008" y="338"/>
                  <a:pt x="5992" y="435"/>
                  <a:pt x="5901" y="467"/>
                </a:cubicBezTo>
                <a:cubicBezTo>
                  <a:pt x="5870" y="477"/>
                  <a:pt x="5838" y="479"/>
                  <a:pt x="5807" y="479"/>
                </a:cubicBezTo>
                <a:lnTo>
                  <a:pt x="5722" y="479"/>
                </a:lnTo>
                <a:close/>
                <a:moveTo>
                  <a:pt x="5419" y="628"/>
                </a:moveTo>
                <a:lnTo>
                  <a:pt x="5419" y="0"/>
                </a:lnTo>
                <a:lnTo>
                  <a:pt x="5452" y="0"/>
                </a:lnTo>
                <a:lnTo>
                  <a:pt x="5452" y="628"/>
                </a:lnTo>
                <a:lnTo>
                  <a:pt x="5419" y="628"/>
                </a:lnTo>
                <a:close/>
                <a:moveTo>
                  <a:pt x="5107" y="318"/>
                </a:moveTo>
                <a:cubicBezTo>
                  <a:pt x="5107" y="275"/>
                  <a:pt x="5089" y="199"/>
                  <a:pt x="5034" y="199"/>
                </a:cubicBezTo>
                <a:cubicBezTo>
                  <a:pt x="4976" y="199"/>
                  <a:pt x="4969" y="286"/>
                  <a:pt x="4969" y="326"/>
                </a:cubicBezTo>
                <a:cubicBezTo>
                  <a:pt x="4969" y="367"/>
                  <a:pt x="4977" y="442"/>
                  <a:pt x="5032" y="442"/>
                </a:cubicBezTo>
                <a:cubicBezTo>
                  <a:pt x="5089" y="442"/>
                  <a:pt x="5107" y="362"/>
                  <a:pt x="5107" y="318"/>
                </a:cubicBezTo>
                <a:close/>
                <a:moveTo>
                  <a:pt x="5107" y="420"/>
                </a:moveTo>
                <a:lnTo>
                  <a:pt x="5105" y="420"/>
                </a:lnTo>
                <a:cubicBezTo>
                  <a:pt x="5093" y="457"/>
                  <a:pt x="5062" y="479"/>
                  <a:pt x="5023" y="479"/>
                </a:cubicBezTo>
                <a:cubicBezTo>
                  <a:pt x="4938" y="479"/>
                  <a:pt x="4918" y="396"/>
                  <a:pt x="4918" y="326"/>
                </a:cubicBezTo>
                <a:cubicBezTo>
                  <a:pt x="4918" y="259"/>
                  <a:pt x="4939" y="161"/>
                  <a:pt x="5025" y="161"/>
                </a:cubicBezTo>
                <a:cubicBezTo>
                  <a:pt x="5062" y="161"/>
                  <a:pt x="5095" y="183"/>
                  <a:pt x="5105" y="219"/>
                </a:cubicBezTo>
                <a:lnTo>
                  <a:pt x="5107" y="219"/>
                </a:lnTo>
                <a:lnTo>
                  <a:pt x="5107" y="169"/>
                </a:lnTo>
                <a:lnTo>
                  <a:pt x="5151" y="169"/>
                </a:lnTo>
                <a:lnTo>
                  <a:pt x="5151" y="480"/>
                </a:lnTo>
                <a:cubicBezTo>
                  <a:pt x="5151" y="569"/>
                  <a:pt x="5109" y="615"/>
                  <a:pt x="5019" y="615"/>
                </a:cubicBezTo>
                <a:cubicBezTo>
                  <a:pt x="4989" y="615"/>
                  <a:pt x="4964" y="610"/>
                  <a:pt x="4935" y="604"/>
                </a:cubicBezTo>
                <a:lnTo>
                  <a:pt x="4935" y="559"/>
                </a:lnTo>
                <a:cubicBezTo>
                  <a:pt x="4961" y="572"/>
                  <a:pt x="4985" y="578"/>
                  <a:pt x="5013" y="578"/>
                </a:cubicBezTo>
                <a:cubicBezTo>
                  <a:pt x="5085" y="578"/>
                  <a:pt x="5107" y="541"/>
                  <a:pt x="5107" y="475"/>
                </a:cubicBezTo>
                <a:lnTo>
                  <a:pt x="5107" y="420"/>
                </a:lnTo>
                <a:close/>
                <a:moveTo>
                  <a:pt x="4799" y="479"/>
                </a:moveTo>
                <a:lnTo>
                  <a:pt x="4799" y="307"/>
                </a:lnTo>
                <a:cubicBezTo>
                  <a:pt x="4799" y="272"/>
                  <a:pt x="4805" y="206"/>
                  <a:pt x="4754" y="206"/>
                </a:cubicBezTo>
                <a:cubicBezTo>
                  <a:pt x="4692" y="206"/>
                  <a:pt x="4666" y="303"/>
                  <a:pt x="4666" y="351"/>
                </a:cubicBezTo>
                <a:lnTo>
                  <a:pt x="4666" y="479"/>
                </a:lnTo>
                <a:lnTo>
                  <a:pt x="4621" y="479"/>
                </a:lnTo>
                <a:lnTo>
                  <a:pt x="4621" y="169"/>
                </a:lnTo>
                <a:lnTo>
                  <a:pt x="4666" y="169"/>
                </a:lnTo>
                <a:lnTo>
                  <a:pt x="4666" y="240"/>
                </a:lnTo>
                <a:lnTo>
                  <a:pt x="4667" y="240"/>
                </a:lnTo>
                <a:cubicBezTo>
                  <a:pt x="4683" y="192"/>
                  <a:pt x="4710" y="161"/>
                  <a:pt x="4764" y="161"/>
                </a:cubicBezTo>
                <a:cubicBezTo>
                  <a:pt x="4818" y="161"/>
                  <a:pt x="4844" y="208"/>
                  <a:pt x="4844" y="257"/>
                </a:cubicBezTo>
                <a:lnTo>
                  <a:pt x="4844" y="479"/>
                </a:lnTo>
                <a:lnTo>
                  <a:pt x="4799" y="479"/>
                </a:lnTo>
                <a:close/>
                <a:moveTo>
                  <a:pt x="4474" y="479"/>
                </a:moveTo>
                <a:lnTo>
                  <a:pt x="4474" y="169"/>
                </a:lnTo>
                <a:lnTo>
                  <a:pt x="4519" y="169"/>
                </a:lnTo>
                <a:lnTo>
                  <a:pt x="4519" y="479"/>
                </a:lnTo>
                <a:lnTo>
                  <a:pt x="4474" y="479"/>
                </a:lnTo>
                <a:close/>
                <a:moveTo>
                  <a:pt x="4467" y="88"/>
                </a:moveTo>
                <a:lnTo>
                  <a:pt x="4467" y="29"/>
                </a:lnTo>
                <a:lnTo>
                  <a:pt x="4526" y="29"/>
                </a:lnTo>
                <a:lnTo>
                  <a:pt x="4526" y="88"/>
                </a:lnTo>
                <a:lnTo>
                  <a:pt x="4467" y="88"/>
                </a:lnTo>
                <a:close/>
                <a:moveTo>
                  <a:pt x="4406" y="483"/>
                </a:moveTo>
                <a:cubicBezTo>
                  <a:pt x="4393" y="485"/>
                  <a:pt x="4380" y="486"/>
                  <a:pt x="4367" y="486"/>
                </a:cubicBezTo>
                <a:cubicBezTo>
                  <a:pt x="4309" y="486"/>
                  <a:pt x="4281" y="467"/>
                  <a:pt x="4281" y="406"/>
                </a:cubicBezTo>
                <a:lnTo>
                  <a:pt x="4281" y="206"/>
                </a:lnTo>
                <a:lnTo>
                  <a:pt x="4230" y="206"/>
                </a:lnTo>
                <a:lnTo>
                  <a:pt x="4230" y="169"/>
                </a:lnTo>
                <a:lnTo>
                  <a:pt x="4281" y="169"/>
                </a:lnTo>
                <a:lnTo>
                  <a:pt x="4281" y="96"/>
                </a:lnTo>
                <a:lnTo>
                  <a:pt x="4326" y="68"/>
                </a:lnTo>
                <a:lnTo>
                  <a:pt x="4326" y="169"/>
                </a:lnTo>
                <a:lnTo>
                  <a:pt x="4409" y="169"/>
                </a:lnTo>
                <a:lnTo>
                  <a:pt x="4409" y="206"/>
                </a:lnTo>
                <a:lnTo>
                  <a:pt x="4326" y="206"/>
                </a:lnTo>
                <a:lnTo>
                  <a:pt x="4326" y="397"/>
                </a:lnTo>
                <a:cubicBezTo>
                  <a:pt x="4326" y="430"/>
                  <a:pt x="4341" y="449"/>
                  <a:pt x="4376" y="449"/>
                </a:cubicBezTo>
                <a:cubicBezTo>
                  <a:pt x="4389" y="449"/>
                  <a:pt x="4395" y="448"/>
                  <a:pt x="4406" y="443"/>
                </a:cubicBezTo>
                <a:lnTo>
                  <a:pt x="4406" y="483"/>
                </a:lnTo>
                <a:close/>
                <a:moveTo>
                  <a:pt x="4113" y="479"/>
                </a:moveTo>
                <a:lnTo>
                  <a:pt x="4113" y="29"/>
                </a:lnTo>
                <a:lnTo>
                  <a:pt x="4157" y="29"/>
                </a:lnTo>
                <a:lnTo>
                  <a:pt x="4157" y="479"/>
                </a:lnTo>
                <a:lnTo>
                  <a:pt x="4113" y="479"/>
                </a:lnTo>
                <a:close/>
                <a:moveTo>
                  <a:pt x="3964" y="479"/>
                </a:moveTo>
                <a:lnTo>
                  <a:pt x="3964" y="407"/>
                </a:lnTo>
                <a:lnTo>
                  <a:pt x="3963" y="407"/>
                </a:lnTo>
                <a:cubicBezTo>
                  <a:pt x="3948" y="455"/>
                  <a:pt x="3919" y="486"/>
                  <a:pt x="3866" y="486"/>
                </a:cubicBezTo>
                <a:cubicBezTo>
                  <a:pt x="3812" y="486"/>
                  <a:pt x="3787" y="441"/>
                  <a:pt x="3787" y="390"/>
                </a:cubicBezTo>
                <a:lnTo>
                  <a:pt x="3787" y="169"/>
                </a:lnTo>
                <a:lnTo>
                  <a:pt x="3831" y="169"/>
                </a:lnTo>
                <a:lnTo>
                  <a:pt x="3831" y="341"/>
                </a:lnTo>
                <a:cubicBezTo>
                  <a:pt x="3831" y="375"/>
                  <a:pt x="3826" y="442"/>
                  <a:pt x="3877" y="442"/>
                </a:cubicBezTo>
                <a:cubicBezTo>
                  <a:pt x="3939" y="442"/>
                  <a:pt x="3964" y="345"/>
                  <a:pt x="3964" y="296"/>
                </a:cubicBezTo>
                <a:lnTo>
                  <a:pt x="3964" y="169"/>
                </a:lnTo>
                <a:lnTo>
                  <a:pt x="4008" y="169"/>
                </a:lnTo>
                <a:lnTo>
                  <a:pt x="4008" y="479"/>
                </a:lnTo>
                <a:lnTo>
                  <a:pt x="3964" y="479"/>
                </a:lnTo>
                <a:close/>
                <a:moveTo>
                  <a:pt x="3526" y="433"/>
                </a:moveTo>
                <a:cubicBezTo>
                  <a:pt x="3552" y="441"/>
                  <a:pt x="3578" y="449"/>
                  <a:pt x="3606" y="449"/>
                </a:cubicBezTo>
                <a:cubicBezTo>
                  <a:pt x="3640" y="449"/>
                  <a:pt x="3682" y="440"/>
                  <a:pt x="3682" y="399"/>
                </a:cubicBezTo>
                <a:cubicBezTo>
                  <a:pt x="3682" y="368"/>
                  <a:pt x="3649" y="355"/>
                  <a:pt x="3626" y="343"/>
                </a:cubicBezTo>
                <a:lnTo>
                  <a:pt x="3598" y="328"/>
                </a:lnTo>
                <a:cubicBezTo>
                  <a:pt x="3561" y="309"/>
                  <a:pt x="3527" y="291"/>
                  <a:pt x="3527" y="244"/>
                </a:cubicBezTo>
                <a:cubicBezTo>
                  <a:pt x="3527" y="183"/>
                  <a:pt x="3580" y="161"/>
                  <a:pt x="3634" y="161"/>
                </a:cubicBezTo>
                <a:cubicBezTo>
                  <a:pt x="3659" y="161"/>
                  <a:pt x="3683" y="166"/>
                  <a:pt x="3707" y="172"/>
                </a:cubicBezTo>
                <a:lnTo>
                  <a:pt x="3707" y="213"/>
                </a:lnTo>
                <a:cubicBezTo>
                  <a:pt x="3684" y="205"/>
                  <a:pt x="3658" y="199"/>
                  <a:pt x="3634" y="199"/>
                </a:cubicBezTo>
                <a:cubicBezTo>
                  <a:pt x="3610" y="199"/>
                  <a:pt x="3572" y="209"/>
                  <a:pt x="3572" y="239"/>
                </a:cubicBezTo>
                <a:cubicBezTo>
                  <a:pt x="3572" y="265"/>
                  <a:pt x="3610" y="277"/>
                  <a:pt x="3628" y="288"/>
                </a:cubicBezTo>
                <a:lnTo>
                  <a:pt x="3654" y="304"/>
                </a:lnTo>
                <a:cubicBezTo>
                  <a:pt x="3692" y="326"/>
                  <a:pt x="3726" y="342"/>
                  <a:pt x="3726" y="392"/>
                </a:cubicBezTo>
                <a:cubicBezTo>
                  <a:pt x="3726" y="462"/>
                  <a:pt x="3673" y="486"/>
                  <a:pt x="3611" y="486"/>
                </a:cubicBezTo>
                <a:cubicBezTo>
                  <a:pt x="3582" y="486"/>
                  <a:pt x="3554" y="482"/>
                  <a:pt x="3526" y="473"/>
                </a:cubicBezTo>
                <a:lnTo>
                  <a:pt x="3526" y="433"/>
                </a:lnTo>
                <a:close/>
                <a:moveTo>
                  <a:pt x="3412" y="479"/>
                </a:moveTo>
                <a:lnTo>
                  <a:pt x="3412" y="307"/>
                </a:lnTo>
                <a:cubicBezTo>
                  <a:pt x="3412" y="272"/>
                  <a:pt x="3418" y="206"/>
                  <a:pt x="3367" y="206"/>
                </a:cubicBezTo>
                <a:cubicBezTo>
                  <a:pt x="3305" y="206"/>
                  <a:pt x="3279" y="303"/>
                  <a:pt x="3279" y="351"/>
                </a:cubicBezTo>
                <a:lnTo>
                  <a:pt x="3279" y="479"/>
                </a:lnTo>
                <a:lnTo>
                  <a:pt x="3234" y="479"/>
                </a:lnTo>
                <a:lnTo>
                  <a:pt x="3234" y="169"/>
                </a:lnTo>
                <a:lnTo>
                  <a:pt x="3279" y="169"/>
                </a:lnTo>
                <a:lnTo>
                  <a:pt x="3279" y="240"/>
                </a:lnTo>
                <a:lnTo>
                  <a:pt x="3280" y="240"/>
                </a:lnTo>
                <a:cubicBezTo>
                  <a:pt x="3296" y="192"/>
                  <a:pt x="3323" y="161"/>
                  <a:pt x="3377" y="161"/>
                </a:cubicBezTo>
                <a:cubicBezTo>
                  <a:pt x="3431" y="161"/>
                  <a:pt x="3457" y="208"/>
                  <a:pt x="3457" y="257"/>
                </a:cubicBezTo>
                <a:lnTo>
                  <a:pt x="3457" y="479"/>
                </a:lnTo>
                <a:lnTo>
                  <a:pt x="3412" y="479"/>
                </a:lnTo>
                <a:close/>
                <a:moveTo>
                  <a:pt x="3108" y="324"/>
                </a:moveTo>
                <a:cubicBezTo>
                  <a:pt x="3108" y="274"/>
                  <a:pt x="3096" y="199"/>
                  <a:pt x="3031" y="199"/>
                </a:cubicBezTo>
                <a:cubicBezTo>
                  <a:pt x="2967" y="199"/>
                  <a:pt x="2956" y="274"/>
                  <a:pt x="2956" y="324"/>
                </a:cubicBezTo>
                <a:cubicBezTo>
                  <a:pt x="2956" y="373"/>
                  <a:pt x="2967" y="449"/>
                  <a:pt x="3031" y="449"/>
                </a:cubicBezTo>
                <a:cubicBezTo>
                  <a:pt x="3097" y="449"/>
                  <a:pt x="3108" y="374"/>
                  <a:pt x="3108" y="324"/>
                </a:cubicBezTo>
                <a:close/>
                <a:moveTo>
                  <a:pt x="2905" y="325"/>
                </a:moveTo>
                <a:cubicBezTo>
                  <a:pt x="2905" y="241"/>
                  <a:pt x="2935" y="161"/>
                  <a:pt x="3031" y="161"/>
                </a:cubicBezTo>
                <a:cubicBezTo>
                  <a:pt x="3129" y="161"/>
                  <a:pt x="3159" y="241"/>
                  <a:pt x="3159" y="325"/>
                </a:cubicBezTo>
                <a:cubicBezTo>
                  <a:pt x="3159" y="409"/>
                  <a:pt x="3129" y="486"/>
                  <a:pt x="3031" y="486"/>
                </a:cubicBezTo>
                <a:cubicBezTo>
                  <a:pt x="2935" y="486"/>
                  <a:pt x="2905" y="409"/>
                  <a:pt x="2905" y="325"/>
                </a:cubicBezTo>
                <a:close/>
                <a:moveTo>
                  <a:pt x="2856" y="460"/>
                </a:moveTo>
                <a:cubicBezTo>
                  <a:pt x="2814" y="477"/>
                  <a:pt x="2785" y="486"/>
                  <a:pt x="2737" y="486"/>
                </a:cubicBezTo>
                <a:cubicBezTo>
                  <a:pt x="2602" y="486"/>
                  <a:pt x="2564" y="358"/>
                  <a:pt x="2564" y="246"/>
                </a:cubicBezTo>
                <a:cubicBezTo>
                  <a:pt x="2564" y="133"/>
                  <a:pt x="2603" y="22"/>
                  <a:pt x="2734" y="22"/>
                </a:cubicBezTo>
                <a:cubicBezTo>
                  <a:pt x="2813" y="22"/>
                  <a:pt x="2873" y="69"/>
                  <a:pt x="2873" y="152"/>
                </a:cubicBezTo>
                <a:lnTo>
                  <a:pt x="2816" y="152"/>
                </a:lnTo>
                <a:cubicBezTo>
                  <a:pt x="2816" y="101"/>
                  <a:pt x="2786" y="64"/>
                  <a:pt x="2734" y="64"/>
                </a:cubicBezTo>
                <a:cubicBezTo>
                  <a:pt x="2635" y="64"/>
                  <a:pt x="2620" y="171"/>
                  <a:pt x="2620" y="248"/>
                </a:cubicBezTo>
                <a:cubicBezTo>
                  <a:pt x="2620" y="333"/>
                  <a:pt x="2643" y="444"/>
                  <a:pt x="2749" y="444"/>
                </a:cubicBezTo>
                <a:cubicBezTo>
                  <a:pt x="2789" y="444"/>
                  <a:pt x="2826" y="431"/>
                  <a:pt x="2856" y="407"/>
                </a:cubicBezTo>
                <a:lnTo>
                  <a:pt x="2856" y="460"/>
                </a:lnTo>
                <a:close/>
                <a:moveTo>
                  <a:pt x="2283" y="628"/>
                </a:moveTo>
                <a:lnTo>
                  <a:pt x="2283" y="0"/>
                </a:lnTo>
                <a:lnTo>
                  <a:pt x="2317" y="0"/>
                </a:lnTo>
                <a:lnTo>
                  <a:pt x="2317" y="628"/>
                </a:lnTo>
                <a:lnTo>
                  <a:pt x="2283" y="628"/>
                </a:lnTo>
                <a:close/>
                <a:moveTo>
                  <a:pt x="1868" y="605"/>
                </a:moveTo>
                <a:lnTo>
                  <a:pt x="1912" y="479"/>
                </a:lnTo>
                <a:lnTo>
                  <a:pt x="1793" y="169"/>
                </a:lnTo>
                <a:lnTo>
                  <a:pt x="1840" y="169"/>
                </a:lnTo>
                <a:lnTo>
                  <a:pt x="1931" y="413"/>
                </a:lnTo>
                <a:lnTo>
                  <a:pt x="1932" y="413"/>
                </a:lnTo>
                <a:lnTo>
                  <a:pt x="2016" y="169"/>
                </a:lnTo>
                <a:lnTo>
                  <a:pt x="2064" y="169"/>
                </a:lnTo>
                <a:lnTo>
                  <a:pt x="1914" y="605"/>
                </a:lnTo>
                <a:lnTo>
                  <a:pt x="1868" y="605"/>
                </a:lnTo>
                <a:close/>
                <a:moveTo>
                  <a:pt x="1699" y="318"/>
                </a:moveTo>
                <a:cubicBezTo>
                  <a:pt x="1699" y="275"/>
                  <a:pt x="1682" y="199"/>
                  <a:pt x="1626" y="199"/>
                </a:cubicBezTo>
                <a:cubicBezTo>
                  <a:pt x="1569" y="199"/>
                  <a:pt x="1562" y="286"/>
                  <a:pt x="1562" y="326"/>
                </a:cubicBezTo>
                <a:cubicBezTo>
                  <a:pt x="1562" y="367"/>
                  <a:pt x="1570" y="442"/>
                  <a:pt x="1625" y="442"/>
                </a:cubicBezTo>
                <a:cubicBezTo>
                  <a:pt x="1682" y="442"/>
                  <a:pt x="1699" y="362"/>
                  <a:pt x="1699" y="318"/>
                </a:cubicBezTo>
                <a:close/>
                <a:moveTo>
                  <a:pt x="1699" y="420"/>
                </a:moveTo>
                <a:lnTo>
                  <a:pt x="1698" y="420"/>
                </a:lnTo>
                <a:cubicBezTo>
                  <a:pt x="1686" y="457"/>
                  <a:pt x="1654" y="479"/>
                  <a:pt x="1616" y="479"/>
                </a:cubicBezTo>
                <a:cubicBezTo>
                  <a:pt x="1531" y="479"/>
                  <a:pt x="1511" y="396"/>
                  <a:pt x="1511" y="326"/>
                </a:cubicBezTo>
                <a:cubicBezTo>
                  <a:pt x="1511" y="259"/>
                  <a:pt x="1532" y="161"/>
                  <a:pt x="1617" y="161"/>
                </a:cubicBezTo>
                <a:cubicBezTo>
                  <a:pt x="1654" y="161"/>
                  <a:pt x="1688" y="183"/>
                  <a:pt x="1698" y="219"/>
                </a:cubicBezTo>
                <a:lnTo>
                  <a:pt x="1699" y="219"/>
                </a:lnTo>
                <a:lnTo>
                  <a:pt x="1699" y="169"/>
                </a:lnTo>
                <a:lnTo>
                  <a:pt x="1744" y="169"/>
                </a:lnTo>
                <a:lnTo>
                  <a:pt x="1744" y="480"/>
                </a:lnTo>
                <a:cubicBezTo>
                  <a:pt x="1744" y="569"/>
                  <a:pt x="1701" y="615"/>
                  <a:pt x="1612" y="615"/>
                </a:cubicBezTo>
                <a:cubicBezTo>
                  <a:pt x="1581" y="615"/>
                  <a:pt x="1557" y="610"/>
                  <a:pt x="1528" y="604"/>
                </a:cubicBezTo>
                <a:lnTo>
                  <a:pt x="1528" y="559"/>
                </a:lnTo>
                <a:cubicBezTo>
                  <a:pt x="1553" y="572"/>
                  <a:pt x="1577" y="578"/>
                  <a:pt x="1606" y="578"/>
                </a:cubicBezTo>
                <a:cubicBezTo>
                  <a:pt x="1677" y="578"/>
                  <a:pt x="1699" y="541"/>
                  <a:pt x="1699" y="475"/>
                </a:cubicBezTo>
                <a:lnTo>
                  <a:pt x="1699" y="420"/>
                </a:lnTo>
                <a:close/>
                <a:moveTo>
                  <a:pt x="1408" y="257"/>
                </a:moveTo>
                <a:cubicBezTo>
                  <a:pt x="1408" y="223"/>
                  <a:pt x="1383" y="199"/>
                  <a:pt x="1349" y="199"/>
                </a:cubicBezTo>
                <a:cubicBezTo>
                  <a:pt x="1312" y="199"/>
                  <a:pt x="1291" y="223"/>
                  <a:pt x="1284" y="257"/>
                </a:cubicBezTo>
                <a:lnTo>
                  <a:pt x="1408" y="257"/>
                </a:lnTo>
                <a:close/>
                <a:moveTo>
                  <a:pt x="1452" y="477"/>
                </a:moveTo>
                <a:cubicBezTo>
                  <a:pt x="1429" y="484"/>
                  <a:pt x="1405" y="486"/>
                  <a:pt x="1381" y="486"/>
                </a:cubicBezTo>
                <a:cubicBezTo>
                  <a:pt x="1273" y="486"/>
                  <a:pt x="1230" y="415"/>
                  <a:pt x="1230" y="313"/>
                </a:cubicBezTo>
                <a:cubicBezTo>
                  <a:pt x="1230" y="233"/>
                  <a:pt x="1260" y="161"/>
                  <a:pt x="1351" y="161"/>
                </a:cubicBezTo>
                <a:cubicBezTo>
                  <a:pt x="1423" y="161"/>
                  <a:pt x="1459" y="210"/>
                  <a:pt x="1459" y="280"/>
                </a:cubicBezTo>
                <a:lnTo>
                  <a:pt x="1459" y="295"/>
                </a:lnTo>
                <a:lnTo>
                  <a:pt x="1281" y="295"/>
                </a:lnTo>
                <a:lnTo>
                  <a:pt x="1281" y="313"/>
                </a:lnTo>
                <a:cubicBezTo>
                  <a:pt x="1281" y="381"/>
                  <a:pt x="1314" y="449"/>
                  <a:pt x="1391" y="449"/>
                </a:cubicBezTo>
                <a:cubicBezTo>
                  <a:pt x="1412" y="449"/>
                  <a:pt x="1431" y="446"/>
                  <a:pt x="1452" y="441"/>
                </a:cubicBezTo>
                <a:lnTo>
                  <a:pt x="1452" y="477"/>
                </a:lnTo>
                <a:close/>
                <a:moveTo>
                  <a:pt x="1187" y="483"/>
                </a:moveTo>
                <a:cubicBezTo>
                  <a:pt x="1173" y="485"/>
                  <a:pt x="1160" y="486"/>
                  <a:pt x="1147" y="486"/>
                </a:cubicBezTo>
                <a:cubicBezTo>
                  <a:pt x="1089" y="486"/>
                  <a:pt x="1061" y="467"/>
                  <a:pt x="1061" y="406"/>
                </a:cubicBezTo>
                <a:lnTo>
                  <a:pt x="1061" y="206"/>
                </a:lnTo>
                <a:lnTo>
                  <a:pt x="1010" y="206"/>
                </a:lnTo>
                <a:lnTo>
                  <a:pt x="1010" y="169"/>
                </a:lnTo>
                <a:lnTo>
                  <a:pt x="1061" y="169"/>
                </a:lnTo>
                <a:lnTo>
                  <a:pt x="1061" y="96"/>
                </a:lnTo>
                <a:lnTo>
                  <a:pt x="1106" y="68"/>
                </a:lnTo>
                <a:lnTo>
                  <a:pt x="1106" y="169"/>
                </a:lnTo>
                <a:lnTo>
                  <a:pt x="1189" y="169"/>
                </a:lnTo>
                <a:lnTo>
                  <a:pt x="1189" y="206"/>
                </a:lnTo>
                <a:lnTo>
                  <a:pt x="1106" y="206"/>
                </a:lnTo>
                <a:lnTo>
                  <a:pt x="1106" y="397"/>
                </a:lnTo>
                <a:cubicBezTo>
                  <a:pt x="1106" y="430"/>
                  <a:pt x="1121" y="449"/>
                  <a:pt x="1157" y="449"/>
                </a:cubicBezTo>
                <a:cubicBezTo>
                  <a:pt x="1169" y="449"/>
                  <a:pt x="1175" y="448"/>
                  <a:pt x="1187" y="443"/>
                </a:cubicBezTo>
                <a:lnTo>
                  <a:pt x="1187" y="483"/>
                </a:lnTo>
                <a:close/>
                <a:moveTo>
                  <a:pt x="872" y="338"/>
                </a:moveTo>
                <a:cubicBezTo>
                  <a:pt x="833" y="338"/>
                  <a:pt x="770" y="355"/>
                  <a:pt x="770" y="404"/>
                </a:cubicBezTo>
                <a:cubicBezTo>
                  <a:pt x="770" y="430"/>
                  <a:pt x="788" y="449"/>
                  <a:pt x="814" y="449"/>
                </a:cubicBezTo>
                <a:cubicBezTo>
                  <a:pt x="844" y="449"/>
                  <a:pt x="874" y="429"/>
                  <a:pt x="886" y="401"/>
                </a:cubicBezTo>
                <a:cubicBezTo>
                  <a:pt x="897" y="378"/>
                  <a:pt x="898" y="364"/>
                  <a:pt x="898" y="338"/>
                </a:cubicBezTo>
                <a:lnTo>
                  <a:pt x="872" y="338"/>
                </a:lnTo>
                <a:close/>
                <a:moveTo>
                  <a:pt x="899" y="479"/>
                </a:moveTo>
                <a:lnTo>
                  <a:pt x="899" y="438"/>
                </a:lnTo>
                <a:lnTo>
                  <a:pt x="898" y="438"/>
                </a:lnTo>
                <a:cubicBezTo>
                  <a:pt x="881" y="471"/>
                  <a:pt x="837" y="486"/>
                  <a:pt x="803" y="486"/>
                </a:cubicBezTo>
                <a:cubicBezTo>
                  <a:pt x="749" y="486"/>
                  <a:pt x="719" y="452"/>
                  <a:pt x="719" y="400"/>
                </a:cubicBezTo>
                <a:cubicBezTo>
                  <a:pt x="719" y="330"/>
                  <a:pt x="800" y="301"/>
                  <a:pt x="898" y="301"/>
                </a:cubicBezTo>
                <a:lnTo>
                  <a:pt x="898" y="295"/>
                </a:lnTo>
                <a:cubicBezTo>
                  <a:pt x="898" y="248"/>
                  <a:pt x="901" y="199"/>
                  <a:pt x="839" y="199"/>
                </a:cubicBezTo>
                <a:cubicBezTo>
                  <a:pt x="802" y="199"/>
                  <a:pt x="781" y="211"/>
                  <a:pt x="776" y="248"/>
                </a:cubicBezTo>
                <a:lnTo>
                  <a:pt x="726" y="248"/>
                </a:lnTo>
                <a:cubicBezTo>
                  <a:pt x="728" y="186"/>
                  <a:pt x="782" y="161"/>
                  <a:pt x="838" y="161"/>
                </a:cubicBezTo>
                <a:cubicBezTo>
                  <a:pt x="908" y="161"/>
                  <a:pt x="942" y="191"/>
                  <a:pt x="942" y="261"/>
                </a:cubicBezTo>
                <a:lnTo>
                  <a:pt x="942" y="479"/>
                </a:lnTo>
                <a:lnTo>
                  <a:pt x="899" y="479"/>
                </a:lnTo>
                <a:close/>
                <a:moveTo>
                  <a:pt x="545" y="479"/>
                </a:moveTo>
                <a:lnTo>
                  <a:pt x="545" y="169"/>
                </a:lnTo>
                <a:lnTo>
                  <a:pt x="589" y="169"/>
                </a:lnTo>
                <a:lnTo>
                  <a:pt x="589" y="229"/>
                </a:lnTo>
                <a:lnTo>
                  <a:pt x="591" y="229"/>
                </a:lnTo>
                <a:cubicBezTo>
                  <a:pt x="610" y="184"/>
                  <a:pt x="645" y="161"/>
                  <a:pt x="694" y="161"/>
                </a:cubicBezTo>
                <a:lnTo>
                  <a:pt x="694" y="209"/>
                </a:lnTo>
                <a:cubicBezTo>
                  <a:pt x="614" y="209"/>
                  <a:pt x="589" y="283"/>
                  <a:pt x="589" y="351"/>
                </a:cubicBezTo>
                <a:lnTo>
                  <a:pt x="589" y="479"/>
                </a:lnTo>
                <a:lnTo>
                  <a:pt x="545" y="479"/>
                </a:lnTo>
                <a:close/>
                <a:moveTo>
                  <a:pt x="481" y="483"/>
                </a:moveTo>
                <a:cubicBezTo>
                  <a:pt x="468" y="485"/>
                  <a:pt x="455" y="486"/>
                  <a:pt x="442" y="486"/>
                </a:cubicBezTo>
                <a:cubicBezTo>
                  <a:pt x="383" y="486"/>
                  <a:pt x="356" y="467"/>
                  <a:pt x="356" y="406"/>
                </a:cubicBezTo>
                <a:lnTo>
                  <a:pt x="356" y="206"/>
                </a:lnTo>
                <a:lnTo>
                  <a:pt x="305" y="206"/>
                </a:lnTo>
                <a:lnTo>
                  <a:pt x="305" y="169"/>
                </a:lnTo>
                <a:lnTo>
                  <a:pt x="356" y="169"/>
                </a:lnTo>
                <a:lnTo>
                  <a:pt x="356" y="96"/>
                </a:lnTo>
                <a:lnTo>
                  <a:pt x="400" y="68"/>
                </a:lnTo>
                <a:lnTo>
                  <a:pt x="400" y="169"/>
                </a:lnTo>
                <a:lnTo>
                  <a:pt x="484" y="169"/>
                </a:lnTo>
                <a:lnTo>
                  <a:pt x="484" y="206"/>
                </a:lnTo>
                <a:lnTo>
                  <a:pt x="400" y="206"/>
                </a:lnTo>
                <a:lnTo>
                  <a:pt x="400" y="397"/>
                </a:lnTo>
                <a:cubicBezTo>
                  <a:pt x="400" y="430"/>
                  <a:pt x="415" y="449"/>
                  <a:pt x="451" y="449"/>
                </a:cubicBezTo>
                <a:cubicBezTo>
                  <a:pt x="463" y="449"/>
                  <a:pt x="470" y="448"/>
                  <a:pt x="481" y="443"/>
                </a:cubicBezTo>
                <a:lnTo>
                  <a:pt x="481" y="483"/>
                </a:lnTo>
                <a:close/>
              </a:path>
            </a:pathLst>
          </a:custGeom>
          <a:solidFill>
            <a:srgbClr val="0304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11345" y="1240610"/>
            <a:ext cx="1652822" cy="636380"/>
          </a:xfrm>
          <a:prstGeom prst="rect">
            <a:avLst/>
          </a:prstGeom>
        </p:spPr>
      </p:pic>
    </p:spTree>
    <p:extLst>
      <p:ext uri="{BB962C8B-B14F-4D97-AF65-F5344CB8AC3E}">
        <p14:creationId xmlns:p14="http://schemas.microsoft.com/office/powerpoint/2010/main" val="197649773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48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28892929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58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12315678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98137A4-986C-44B7-BC96-9776515981F1}" type="slidenum">
              <a:rPr lang="pt-BR" smtClean="0"/>
              <a:pPr/>
              <a:t>‹nº›</a:t>
            </a:fld>
            <a:endParaRPr lang="pt-BR"/>
          </a:p>
        </p:txBody>
      </p:sp>
      <p:sp>
        <p:nvSpPr>
          <p:cNvPr id="7" name="Rectangle 6"/>
          <p:cNvSpPr txBox="1">
            <a:spLocks noChangeArrowheads="1"/>
          </p:cNvSpPr>
          <p:nvPr userDrawn="1"/>
        </p:nvSpPr>
        <p:spPr>
          <a:xfrm>
            <a:off x="8460432" y="6423025"/>
            <a:ext cx="683568" cy="438150"/>
          </a:xfrm>
          <a:prstGeom prst="rect">
            <a:avLst/>
          </a:prstGeom>
        </p:spPr>
        <p:txBody>
          <a:bodyPr vert="horz" lIns="91440" tIns="45720" rIns="91440" bIns="45720" rtlCol="0" anchor="ctr"/>
          <a:lstStyle>
            <a:defPPr>
              <a:defRPr lang="pt-BR"/>
            </a:defPPr>
            <a:lvl1pPr marL="0" algn="r" defTabSz="914400" rtl="0" eaLnBrk="1" latinLnBrk="0" hangingPunct="1">
              <a:defRPr sz="1400" kern="1200">
                <a:solidFill>
                  <a:schemeClr val="bg1">
                    <a:lumMod val="65000"/>
                  </a:schemeClr>
                </a:solidFill>
                <a:latin typeface="Trebuchet M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2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a:off x="2" y="0"/>
            <a:ext cx="9143999" cy="6858000"/>
          </a:xfrm>
          <a:prstGeom prst="rect">
            <a:avLst/>
          </a:prstGeom>
          <a:solidFill>
            <a:srgbClr val="1F497D">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spTree>
    <p:extLst>
      <p:ext uri="{BB962C8B-B14F-4D97-AF65-F5344CB8AC3E}">
        <p14:creationId xmlns:p14="http://schemas.microsoft.com/office/powerpoint/2010/main" val="274997868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69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20118852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79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278320255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5813" y="4509889"/>
            <a:ext cx="3163634" cy="646331"/>
          </a:xfrm>
          <a:noFill/>
        </p:spPr>
        <p:txBody>
          <a:bodyPr wrap="square" anchor="t" anchorCtr="0">
            <a:spAutoFit/>
          </a:bodyPr>
          <a:lstStyle>
            <a:lvl1pPr>
              <a:defRPr sz="2100">
                <a:solidFill>
                  <a:srgbClr val="002266"/>
                </a:solidFill>
              </a:defRPr>
            </a:lvl1pPr>
          </a:lstStyle>
          <a:p>
            <a:r>
              <a:rPr lang="pt-BR" dirty="0"/>
              <a:t>Click to edit Master title style</a:t>
            </a:r>
          </a:p>
        </p:txBody>
      </p:sp>
      <p:sp>
        <p:nvSpPr>
          <p:cNvPr id="3" name="Subtitle 2"/>
          <p:cNvSpPr>
            <a:spLocks noGrp="1"/>
          </p:cNvSpPr>
          <p:nvPr>
            <p:ph type="subTitle" idx="1"/>
          </p:nvPr>
        </p:nvSpPr>
        <p:spPr>
          <a:xfrm>
            <a:off x="435219" y="5547385"/>
            <a:ext cx="3026996" cy="207749"/>
          </a:xfrm>
        </p:spPr>
        <p:txBody>
          <a:bodyPr/>
          <a:lstStyle>
            <a:lvl1pPr marL="0" indent="0" algn="l">
              <a:buNone/>
              <a:defRPr sz="1350">
                <a:solidFill>
                  <a:srgbClr val="2F539C"/>
                </a:solidFill>
              </a:defRPr>
            </a:lvl1pPr>
            <a:lvl2pPr marL="342883" indent="0" algn="ctr">
              <a:buNone/>
              <a:defRPr>
                <a:solidFill>
                  <a:schemeClr val="tx1">
                    <a:tint val="75000"/>
                  </a:schemeClr>
                </a:solidFill>
              </a:defRPr>
            </a:lvl2pPr>
            <a:lvl3pPr marL="685767" indent="0" algn="ctr">
              <a:buNone/>
              <a:defRPr>
                <a:solidFill>
                  <a:schemeClr val="tx1">
                    <a:tint val="75000"/>
                  </a:schemeClr>
                </a:solidFill>
              </a:defRPr>
            </a:lvl3pPr>
            <a:lvl4pPr marL="1028648"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2" indent="0" algn="ctr">
              <a:buNone/>
              <a:defRPr>
                <a:solidFill>
                  <a:schemeClr val="tx1">
                    <a:tint val="75000"/>
                  </a:schemeClr>
                </a:solidFill>
              </a:defRPr>
            </a:lvl9pPr>
          </a:lstStyle>
          <a:p>
            <a:r>
              <a:rPr lang="pt-BR" dirty="0"/>
              <a:t>Click to edit Master subtitle style</a:t>
            </a:r>
          </a:p>
        </p:txBody>
      </p:sp>
      <p:cxnSp>
        <p:nvCxnSpPr>
          <p:cNvPr id="54" name="Straight Connector 9"/>
          <p:cNvCxnSpPr>
            <a:cxnSpLocks noChangeShapeType="1"/>
          </p:cNvCxnSpPr>
          <p:nvPr userDrawn="1"/>
        </p:nvCxnSpPr>
        <p:spPr bwMode="auto">
          <a:xfrm>
            <a:off x="435221" y="1112935"/>
            <a:ext cx="8708783" cy="0"/>
          </a:xfrm>
          <a:prstGeom prst="line">
            <a:avLst/>
          </a:prstGeom>
          <a:noFill/>
          <a:ln w="12700">
            <a:solidFill>
              <a:schemeClr val="tx1"/>
            </a:solidFill>
            <a:round/>
            <a:headEnd/>
            <a:tailEnd/>
          </a:ln>
        </p:spPr>
      </p:cxnSp>
      <p:grpSp>
        <p:nvGrpSpPr>
          <p:cNvPr id="55" name="Group 54"/>
          <p:cNvGrpSpPr/>
          <p:nvPr userDrawn="1"/>
        </p:nvGrpSpPr>
        <p:grpSpPr>
          <a:xfrm>
            <a:off x="435222" y="366058"/>
            <a:ext cx="2061150" cy="1062376"/>
            <a:chOff x="471488" y="366051"/>
            <a:chExt cx="2232912" cy="1062375"/>
          </a:xfrm>
        </p:grpSpPr>
        <p:sp>
          <p:nvSpPr>
            <p:cNvPr id="56" name="Freeform 14"/>
            <p:cNvSpPr>
              <a:spLocks/>
            </p:cNvSpPr>
            <p:nvPr userDrawn="1"/>
          </p:nvSpPr>
          <p:spPr bwMode="auto">
            <a:xfrm>
              <a:off x="1754457" y="366051"/>
              <a:ext cx="206884" cy="211195"/>
            </a:xfrm>
            <a:custGeom>
              <a:avLst/>
              <a:gdLst/>
              <a:ahLst/>
              <a:cxnLst>
                <a:cxn ang="0">
                  <a:pos x="0" y="0"/>
                </a:cxn>
                <a:cxn ang="0">
                  <a:pos x="0" y="52"/>
                </a:cxn>
                <a:cxn ang="0">
                  <a:pos x="0" y="359"/>
                </a:cxn>
                <a:cxn ang="0">
                  <a:pos x="12" y="364"/>
                </a:cxn>
                <a:cxn ang="0">
                  <a:pos x="44" y="376"/>
                </a:cxn>
                <a:cxn ang="0">
                  <a:pos x="95" y="396"/>
                </a:cxn>
                <a:cxn ang="0">
                  <a:pos x="162" y="421"/>
                </a:cxn>
                <a:cxn ang="0">
                  <a:pos x="241" y="452"/>
                </a:cxn>
                <a:cxn ang="0">
                  <a:pos x="330" y="486"/>
                </a:cxn>
                <a:cxn ang="0">
                  <a:pos x="427" y="524"/>
                </a:cxn>
                <a:cxn ang="0">
                  <a:pos x="529" y="563"/>
                </a:cxn>
                <a:cxn ang="0">
                  <a:pos x="631" y="603"/>
                </a:cxn>
                <a:cxn ang="0">
                  <a:pos x="733" y="642"/>
                </a:cxn>
                <a:cxn ang="0">
                  <a:pos x="832" y="680"/>
                </a:cxn>
                <a:cxn ang="0">
                  <a:pos x="923" y="715"/>
                </a:cxn>
                <a:cxn ang="0">
                  <a:pos x="1005" y="747"/>
                </a:cxn>
                <a:cxn ang="0">
                  <a:pos x="1074" y="773"/>
                </a:cxn>
                <a:cxn ang="0">
                  <a:pos x="1130" y="795"/>
                </a:cxn>
                <a:cxn ang="0">
                  <a:pos x="1167" y="809"/>
                </a:cxn>
                <a:cxn ang="0">
                  <a:pos x="1130" y="824"/>
                </a:cxn>
                <a:cxn ang="0">
                  <a:pos x="1074" y="845"/>
                </a:cxn>
                <a:cxn ang="0">
                  <a:pos x="1005" y="872"/>
                </a:cxn>
                <a:cxn ang="0">
                  <a:pos x="923" y="903"/>
                </a:cxn>
                <a:cxn ang="0">
                  <a:pos x="832" y="939"/>
                </a:cxn>
                <a:cxn ang="0">
                  <a:pos x="733" y="976"/>
                </a:cxn>
                <a:cxn ang="0">
                  <a:pos x="631" y="1016"/>
                </a:cxn>
                <a:cxn ang="0">
                  <a:pos x="529" y="1054"/>
                </a:cxn>
                <a:cxn ang="0">
                  <a:pos x="427" y="1093"/>
                </a:cxn>
                <a:cxn ang="0">
                  <a:pos x="330" y="1131"/>
                </a:cxn>
                <a:cxn ang="0">
                  <a:pos x="241" y="1165"/>
                </a:cxn>
                <a:cxn ang="0">
                  <a:pos x="162" y="1196"/>
                </a:cxn>
                <a:cxn ang="0">
                  <a:pos x="95" y="1221"/>
                </a:cxn>
                <a:cxn ang="0">
                  <a:pos x="44" y="1241"/>
                </a:cxn>
                <a:cxn ang="0">
                  <a:pos x="12" y="1254"/>
                </a:cxn>
                <a:cxn ang="0">
                  <a:pos x="0" y="1258"/>
                </a:cxn>
                <a:cxn ang="0">
                  <a:pos x="0" y="1616"/>
                </a:cxn>
                <a:cxn ang="0">
                  <a:pos x="1587" y="973"/>
                </a:cxn>
                <a:cxn ang="0">
                  <a:pos x="1587" y="644"/>
                </a:cxn>
                <a:cxn ang="0">
                  <a:pos x="0" y="0"/>
                </a:cxn>
              </a:cxnLst>
              <a:rect l="0" t="0" r="r" b="b"/>
              <a:pathLst>
                <a:path w="1587" h="1616">
                  <a:moveTo>
                    <a:pt x="0" y="0"/>
                  </a:moveTo>
                  <a:lnTo>
                    <a:pt x="0" y="52"/>
                  </a:lnTo>
                  <a:lnTo>
                    <a:pt x="0" y="359"/>
                  </a:lnTo>
                  <a:lnTo>
                    <a:pt x="12" y="364"/>
                  </a:lnTo>
                  <a:lnTo>
                    <a:pt x="44" y="376"/>
                  </a:lnTo>
                  <a:lnTo>
                    <a:pt x="95" y="396"/>
                  </a:lnTo>
                  <a:lnTo>
                    <a:pt x="162" y="421"/>
                  </a:lnTo>
                  <a:lnTo>
                    <a:pt x="241" y="452"/>
                  </a:lnTo>
                  <a:lnTo>
                    <a:pt x="330" y="486"/>
                  </a:lnTo>
                  <a:lnTo>
                    <a:pt x="427" y="524"/>
                  </a:lnTo>
                  <a:lnTo>
                    <a:pt x="529" y="563"/>
                  </a:lnTo>
                  <a:lnTo>
                    <a:pt x="631" y="603"/>
                  </a:lnTo>
                  <a:lnTo>
                    <a:pt x="733" y="642"/>
                  </a:lnTo>
                  <a:lnTo>
                    <a:pt x="832" y="680"/>
                  </a:lnTo>
                  <a:lnTo>
                    <a:pt x="923" y="715"/>
                  </a:lnTo>
                  <a:lnTo>
                    <a:pt x="1005" y="747"/>
                  </a:lnTo>
                  <a:lnTo>
                    <a:pt x="1074" y="773"/>
                  </a:lnTo>
                  <a:lnTo>
                    <a:pt x="1130" y="795"/>
                  </a:lnTo>
                  <a:lnTo>
                    <a:pt x="1167" y="809"/>
                  </a:lnTo>
                  <a:lnTo>
                    <a:pt x="1130" y="824"/>
                  </a:lnTo>
                  <a:lnTo>
                    <a:pt x="1074" y="845"/>
                  </a:lnTo>
                  <a:lnTo>
                    <a:pt x="1005" y="872"/>
                  </a:lnTo>
                  <a:lnTo>
                    <a:pt x="923" y="903"/>
                  </a:lnTo>
                  <a:lnTo>
                    <a:pt x="832" y="939"/>
                  </a:lnTo>
                  <a:lnTo>
                    <a:pt x="733" y="976"/>
                  </a:lnTo>
                  <a:lnTo>
                    <a:pt x="631" y="1016"/>
                  </a:lnTo>
                  <a:lnTo>
                    <a:pt x="529" y="1054"/>
                  </a:lnTo>
                  <a:lnTo>
                    <a:pt x="427" y="1093"/>
                  </a:lnTo>
                  <a:lnTo>
                    <a:pt x="330" y="1131"/>
                  </a:lnTo>
                  <a:lnTo>
                    <a:pt x="241" y="1165"/>
                  </a:lnTo>
                  <a:lnTo>
                    <a:pt x="162" y="1196"/>
                  </a:lnTo>
                  <a:lnTo>
                    <a:pt x="95" y="1221"/>
                  </a:lnTo>
                  <a:lnTo>
                    <a:pt x="44" y="1241"/>
                  </a:lnTo>
                  <a:lnTo>
                    <a:pt x="12" y="1254"/>
                  </a:lnTo>
                  <a:lnTo>
                    <a:pt x="0" y="1258"/>
                  </a:lnTo>
                  <a:lnTo>
                    <a:pt x="0" y="1616"/>
                  </a:lnTo>
                  <a:lnTo>
                    <a:pt x="1587" y="973"/>
                  </a:lnTo>
                  <a:lnTo>
                    <a:pt x="1587" y="644"/>
                  </a:lnTo>
                  <a:lnTo>
                    <a:pt x="0" y="0"/>
                  </a:lnTo>
                  <a:close/>
                </a:path>
              </a:pathLst>
            </a:custGeom>
            <a:solidFill>
              <a:srgbClr val="00BBEE"/>
            </a:solid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nvGrpSpPr>
            <p:cNvPr id="57" name="Group 56"/>
            <p:cNvGrpSpPr/>
            <p:nvPr userDrawn="1"/>
          </p:nvGrpSpPr>
          <p:grpSpPr>
            <a:xfrm>
              <a:off x="471488" y="605980"/>
              <a:ext cx="2232912" cy="822446"/>
              <a:chOff x="471488" y="605980"/>
              <a:chExt cx="2232912" cy="822446"/>
            </a:xfrm>
          </p:grpSpPr>
          <p:sp>
            <p:nvSpPr>
              <p:cNvPr id="58" name="Freeform 8"/>
              <p:cNvSpPr>
                <a:spLocks noEditPoints="1"/>
              </p:cNvSpPr>
              <p:nvPr userDrawn="1"/>
            </p:nvSpPr>
            <p:spPr bwMode="auto">
              <a:xfrm>
                <a:off x="483200" y="1226389"/>
                <a:ext cx="2221200" cy="202037"/>
              </a:xfrm>
              <a:custGeom>
                <a:avLst/>
                <a:gdLst/>
                <a:ahLst/>
                <a:cxnLst>
                  <a:cxn ang="0">
                    <a:pos x="13149" y="878"/>
                  </a:cxn>
                  <a:cxn ang="0">
                    <a:pos x="13235" y="367"/>
                  </a:cxn>
                  <a:cxn ang="0">
                    <a:pos x="12964" y="772"/>
                  </a:cxn>
                  <a:cxn ang="0">
                    <a:pos x="13323" y="363"/>
                  </a:cxn>
                  <a:cxn ang="0">
                    <a:pos x="12496" y="598"/>
                  </a:cxn>
                  <a:cxn ang="0">
                    <a:pos x="12646" y="959"/>
                  </a:cxn>
                  <a:cxn ang="0">
                    <a:pos x="12469" y="346"/>
                  </a:cxn>
                  <a:cxn ang="0">
                    <a:pos x="12040" y="947"/>
                  </a:cxn>
                  <a:cxn ang="0">
                    <a:pos x="12139" y="598"/>
                  </a:cxn>
                  <a:cxn ang="0">
                    <a:pos x="11567" y="727"/>
                  </a:cxn>
                  <a:cxn ang="0">
                    <a:pos x="11612" y="935"/>
                  </a:cxn>
                  <a:cxn ang="0">
                    <a:pos x="11573" y="307"/>
                  </a:cxn>
                  <a:cxn ang="0">
                    <a:pos x="11420" y="296"/>
                  </a:cxn>
                  <a:cxn ang="0">
                    <a:pos x="10152" y="380"/>
                  </a:cxn>
                  <a:cxn ang="0">
                    <a:pos x="10243" y="955"/>
                  </a:cxn>
                  <a:cxn ang="0">
                    <a:pos x="9857" y="437"/>
                  </a:cxn>
                  <a:cxn ang="0">
                    <a:pos x="10305" y="453"/>
                  </a:cxn>
                  <a:cxn ang="0">
                    <a:pos x="9631" y="498"/>
                  </a:cxn>
                  <a:cxn ang="0">
                    <a:pos x="9529" y="30"/>
                  </a:cxn>
                  <a:cxn ang="0">
                    <a:pos x="9627" y="860"/>
                  </a:cxn>
                  <a:cxn ang="0">
                    <a:pos x="8359" y="361"/>
                  </a:cxn>
                  <a:cxn ang="0">
                    <a:pos x="8418" y="962"/>
                  </a:cxn>
                  <a:cxn ang="0">
                    <a:pos x="8131" y="389"/>
                  </a:cxn>
                  <a:cxn ang="0">
                    <a:pos x="8564" y="560"/>
                  </a:cxn>
                  <a:cxn ang="0">
                    <a:pos x="7676" y="703"/>
                  </a:cxn>
                  <a:cxn ang="0">
                    <a:pos x="7759" y="943"/>
                  </a:cxn>
                  <a:cxn ang="0">
                    <a:pos x="7683" y="314"/>
                  </a:cxn>
                  <a:cxn ang="0">
                    <a:pos x="7330" y="422"/>
                  </a:cxn>
                  <a:cxn ang="0">
                    <a:pos x="7101" y="379"/>
                  </a:cxn>
                  <a:cxn ang="0">
                    <a:pos x="6529" y="690"/>
                  </a:cxn>
                  <a:cxn ang="0">
                    <a:pos x="6707" y="794"/>
                  </a:cxn>
                  <a:cxn ang="0">
                    <a:pos x="6363" y="801"/>
                  </a:cxn>
                  <a:cxn ang="0">
                    <a:pos x="6673" y="369"/>
                  </a:cxn>
                  <a:cxn ang="0">
                    <a:pos x="6590" y="282"/>
                  </a:cxn>
                  <a:cxn ang="0">
                    <a:pos x="6091" y="378"/>
                  </a:cxn>
                  <a:cxn ang="0">
                    <a:pos x="5748" y="380"/>
                  </a:cxn>
                  <a:cxn ang="0">
                    <a:pos x="5665" y="294"/>
                  </a:cxn>
                  <a:cxn ang="0">
                    <a:pos x="6153" y="294"/>
                  </a:cxn>
                  <a:cxn ang="0">
                    <a:pos x="5307" y="392"/>
                  </a:cxn>
                  <a:cxn ang="0">
                    <a:pos x="4526" y="581"/>
                  </a:cxn>
                  <a:cxn ang="0">
                    <a:pos x="4830" y="751"/>
                  </a:cxn>
                  <a:cxn ang="0">
                    <a:pos x="4502" y="891"/>
                  </a:cxn>
                  <a:cxn ang="0">
                    <a:pos x="4702" y="282"/>
                  </a:cxn>
                  <a:cxn ang="0">
                    <a:pos x="4846" y="911"/>
                  </a:cxn>
                  <a:cxn ang="0">
                    <a:pos x="4109" y="206"/>
                  </a:cxn>
                  <a:cxn ang="0">
                    <a:pos x="3748" y="360"/>
                  </a:cxn>
                  <a:cxn ang="0">
                    <a:pos x="3222" y="369"/>
                  </a:cxn>
                  <a:cxn ang="0">
                    <a:pos x="3209" y="823"/>
                  </a:cxn>
                  <a:cxn ang="0">
                    <a:pos x="3097" y="860"/>
                  </a:cxn>
                  <a:cxn ang="0">
                    <a:pos x="3277" y="281"/>
                  </a:cxn>
                  <a:cxn ang="0">
                    <a:pos x="2577" y="475"/>
                  </a:cxn>
                  <a:cxn ang="0">
                    <a:pos x="2827" y="752"/>
                  </a:cxn>
                  <a:cxn ang="0">
                    <a:pos x="2556" y="840"/>
                  </a:cxn>
                  <a:cxn ang="0">
                    <a:pos x="2934" y="471"/>
                  </a:cxn>
                  <a:cxn ang="0">
                    <a:pos x="1927" y="403"/>
                  </a:cxn>
                  <a:cxn ang="0">
                    <a:pos x="1720" y="364"/>
                  </a:cxn>
                  <a:cxn ang="0">
                    <a:pos x="1117" y="405"/>
                  </a:cxn>
                  <a:cxn ang="0">
                    <a:pos x="1286" y="827"/>
                  </a:cxn>
                  <a:cxn ang="0">
                    <a:pos x="994" y="1115"/>
                  </a:cxn>
                  <a:cxn ang="0">
                    <a:pos x="1262" y="928"/>
                  </a:cxn>
                  <a:cxn ang="0">
                    <a:pos x="1017" y="376"/>
                  </a:cxn>
                  <a:cxn ang="0">
                    <a:pos x="1421" y="1097"/>
                  </a:cxn>
                  <a:cxn ang="0">
                    <a:pos x="604" y="947"/>
                  </a:cxn>
                </a:cxnLst>
                <a:rect l="0" t="0" r="r" b="b"/>
                <a:pathLst>
                  <a:path w="13694" h="1240">
                    <a:moveTo>
                      <a:pt x="13557" y="947"/>
                    </a:moveTo>
                    <a:lnTo>
                      <a:pt x="13557" y="811"/>
                    </a:lnTo>
                    <a:lnTo>
                      <a:pt x="13694" y="811"/>
                    </a:lnTo>
                    <a:lnTo>
                      <a:pt x="13694" y="947"/>
                    </a:lnTo>
                    <a:lnTo>
                      <a:pt x="13557" y="947"/>
                    </a:lnTo>
                    <a:close/>
                    <a:moveTo>
                      <a:pt x="13193" y="359"/>
                    </a:moveTo>
                    <a:lnTo>
                      <a:pt x="13181" y="360"/>
                    </a:lnTo>
                    <a:lnTo>
                      <a:pt x="13170" y="361"/>
                    </a:lnTo>
                    <a:lnTo>
                      <a:pt x="13160" y="365"/>
                    </a:lnTo>
                    <a:lnTo>
                      <a:pt x="13150" y="368"/>
                    </a:lnTo>
                    <a:lnTo>
                      <a:pt x="13142" y="372"/>
                    </a:lnTo>
                    <a:lnTo>
                      <a:pt x="13133" y="378"/>
                    </a:lnTo>
                    <a:lnTo>
                      <a:pt x="13125" y="384"/>
                    </a:lnTo>
                    <a:lnTo>
                      <a:pt x="13118" y="391"/>
                    </a:lnTo>
                    <a:lnTo>
                      <a:pt x="13111" y="399"/>
                    </a:lnTo>
                    <a:lnTo>
                      <a:pt x="13105" y="407"/>
                    </a:lnTo>
                    <a:lnTo>
                      <a:pt x="13098" y="417"/>
                    </a:lnTo>
                    <a:lnTo>
                      <a:pt x="13093" y="426"/>
                    </a:lnTo>
                    <a:lnTo>
                      <a:pt x="13084" y="446"/>
                    </a:lnTo>
                    <a:lnTo>
                      <a:pt x="13076" y="468"/>
                    </a:lnTo>
                    <a:lnTo>
                      <a:pt x="13070" y="492"/>
                    </a:lnTo>
                    <a:lnTo>
                      <a:pt x="13064" y="515"/>
                    </a:lnTo>
                    <a:lnTo>
                      <a:pt x="13061" y="538"/>
                    </a:lnTo>
                    <a:lnTo>
                      <a:pt x="13058" y="562"/>
                    </a:lnTo>
                    <a:lnTo>
                      <a:pt x="13056" y="607"/>
                    </a:lnTo>
                    <a:lnTo>
                      <a:pt x="13055" y="645"/>
                    </a:lnTo>
                    <a:lnTo>
                      <a:pt x="13055" y="662"/>
                    </a:lnTo>
                    <a:lnTo>
                      <a:pt x="13056" y="681"/>
                    </a:lnTo>
                    <a:lnTo>
                      <a:pt x="13057" y="700"/>
                    </a:lnTo>
                    <a:lnTo>
                      <a:pt x="13059" y="721"/>
                    </a:lnTo>
                    <a:lnTo>
                      <a:pt x="13062" y="740"/>
                    </a:lnTo>
                    <a:lnTo>
                      <a:pt x="13066" y="760"/>
                    </a:lnTo>
                    <a:lnTo>
                      <a:pt x="13071" y="779"/>
                    </a:lnTo>
                    <a:lnTo>
                      <a:pt x="13078" y="799"/>
                    </a:lnTo>
                    <a:lnTo>
                      <a:pt x="13085" y="816"/>
                    </a:lnTo>
                    <a:lnTo>
                      <a:pt x="13094" y="833"/>
                    </a:lnTo>
                    <a:lnTo>
                      <a:pt x="13099" y="840"/>
                    </a:lnTo>
                    <a:lnTo>
                      <a:pt x="13106" y="847"/>
                    </a:lnTo>
                    <a:lnTo>
                      <a:pt x="13111" y="853"/>
                    </a:lnTo>
                    <a:lnTo>
                      <a:pt x="13118" y="860"/>
                    </a:lnTo>
                    <a:lnTo>
                      <a:pt x="13125" y="865"/>
                    </a:lnTo>
                    <a:lnTo>
                      <a:pt x="13133" y="870"/>
                    </a:lnTo>
                    <a:lnTo>
                      <a:pt x="13140" y="874"/>
                    </a:lnTo>
                    <a:lnTo>
                      <a:pt x="13149" y="878"/>
                    </a:lnTo>
                    <a:lnTo>
                      <a:pt x="13159" y="880"/>
                    </a:lnTo>
                    <a:lnTo>
                      <a:pt x="13169" y="883"/>
                    </a:lnTo>
                    <a:lnTo>
                      <a:pt x="13178" y="884"/>
                    </a:lnTo>
                    <a:lnTo>
                      <a:pt x="13190" y="885"/>
                    </a:lnTo>
                    <a:lnTo>
                      <a:pt x="13200" y="884"/>
                    </a:lnTo>
                    <a:lnTo>
                      <a:pt x="13211" y="883"/>
                    </a:lnTo>
                    <a:lnTo>
                      <a:pt x="13221" y="880"/>
                    </a:lnTo>
                    <a:lnTo>
                      <a:pt x="13229" y="877"/>
                    </a:lnTo>
                    <a:lnTo>
                      <a:pt x="13239" y="873"/>
                    </a:lnTo>
                    <a:lnTo>
                      <a:pt x="13247" y="869"/>
                    </a:lnTo>
                    <a:lnTo>
                      <a:pt x="13255" y="863"/>
                    </a:lnTo>
                    <a:lnTo>
                      <a:pt x="13263" y="857"/>
                    </a:lnTo>
                    <a:lnTo>
                      <a:pt x="13270" y="850"/>
                    </a:lnTo>
                    <a:lnTo>
                      <a:pt x="13277" y="842"/>
                    </a:lnTo>
                    <a:lnTo>
                      <a:pt x="13284" y="835"/>
                    </a:lnTo>
                    <a:lnTo>
                      <a:pt x="13289" y="826"/>
                    </a:lnTo>
                    <a:lnTo>
                      <a:pt x="13300" y="808"/>
                    </a:lnTo>
                    <a:lnTo>
                      <a:pt x="13310" y="788"/>
                    </a:lnTo>
                    <a:lnTo>
                      <a:pt x="13318" y="768"/>
                    </a:lnTo>
                    <a:lnTo>
                      <a:pt x="13325" y="747"/>
                    </a:lnTo>
                    <a:lnTo>
                      <a:pt x="13331" y="725"/>
                    </a:lnTo>
                    <a:lnTo>
                      <a:pt x="13336" y="703"/>
                    </a:lnTo>
                    <a:lnTo>
                      <a:pt x="13339" y="682"/>
                    </a:lnTo>
                    <a:lnTo>
                      <a:pt x="13341" y="661"/>
                    </a:lnTo>
                    <a:lnTo>
                      <a:pt x="13342" y="643"/>
                    </a:lnTo>
                    <a:lnTo>
                      <a:pt x="13343" y="624"/>
                    </a:lnTo>
                    <a:lnTo>
                      <a:pt x="13342" y="607"/>
                    </a:lnTo>
                    <a:lnTo>
                      <a:pt x="13341" y="587"/>
                    </a:lnTo>
                    <a:lnTo>
                      <a:pt x="13340" y="566"/>
                    </a:lnTo>
                    <a:lnTo>
                      <a:pt x="13337" y="545"/>
                    </a:lnTo>
                    <a:lnTo>
                      <a:pt x="13333" y="522"/>
                    </a:lnTo>
                    <a:lnTo>
                      <a:pt x="13328" y="500"/>
                    </a:lnTo>
                    <a:lnTo>
                      <a:pt x="13322" y="479"/>
                    </a:lnTo>
                    <a:lnTo>
                      <a:pt x="13314" y="458"/>
                    </a:lnTo>
                    <a:lnTo>
                      <a:pt x="13305" y="437"/>
                    </a:lnTo>
                    <a:lnTo>
                      <a:pt x="13295" y="419"/>
                    </a:lnTo>
                    <a:lnTo>
                      <a:pt x="13288" y="410"/>
                    </a:lnTo>
                    <a:lnTo>
                      <a:pt x="13283" y="403"/>
                    </a:lnTo>
                    <a:lnTo>
                      <a:pt x="13275" y="395"/>
                    </a:lnTo>
                    <a:lnTo>
                      <a:pt x="13268" y="388"/>
                    </a:lnTo>
                    <a:lnTo>
                      <a:pt x="13261" y="382"/>
                    </a:lnTo>
                    <a:lnTo>
                      <a:pt x="13252" y="376"/>
                    </a:lnTo>
                    <a:lnTo>
                      <a:pt x="13244" y="371"/>
                    </a:lnTo>
                    <a:lnTo>
                      <a:pt x="13235" y="367"/>
                    </a:lnTo>
                    <a:lnTo>
                      <a:pt x="13225" y="364"/>
                    </a:lnTo>
                    <a:lnTo>
                      <a:pt x="13214" y="361"/>
                    </a:lnTo>
                    <a:lnTo>
                      <a:pt x="13203" y="360"/>
                    </a:lnTo>
                    <a:lnTo>
                      <a:pt x="13193" y="359"/>
                    </a:lnTo>
                    <a:close/>
                    <a:moveTo>
                      <a:pt x="13344" y="947"/>
                    </a:moveTo>
                    <a:lnTo>
                      <a:pt x="13344" y="836"/>
                    </a:lnTo>
                    <a:lnTo>
                      <a:pt x="13341" y="836"/>
                    </a:lnTo>
                    <a:lnTo>
                      <a:pt x="13337" y="850"/>
                    </a:lnTo>
                    <a:lnTo>
                      <a:pt x="13331" y="863"/>
                    </a:lnTo>
                    <a:lnTo>
                      <a:pt x="13324" y="876"/>
                    </a:lnTo>
                    <a:lnTo>
                      <a:pt x="13316" y="888"/>
                    </a:lnTo>
                    <a:lnTo>
                      <a:pt x="13308" y="899"/>
                    </a:lnTo>
                    <a:lnTo>
                      <a:pt x="13299" y="910"/>
                    </a:lnTo>
                    <a:lnTo>
                      <a:pt x="13288" y="918"/>
                    </a:lnTo>
                    <a:lnTo>
                      <a:pt x="13277" y="927"/>
                    </a:lnTo>
                    <a:lnTo>
                      <a:pt x="13266" y="936"/>
                    </a:lnTo>
                    <a:lnTo>
                      <a:pt x="13254" y="942"/>
                    </a:lnTo>
                    <a:lnTo>
                      <a:pt x="13241" y="948"/>
                    </a:lnTo>
                    <a:lnTo>
                      <a:pt x="13228" y="953"/>
                    </a:lnTo>
                    <a:lnTo>
                      <a:pt x="13214" y="958"/>
                    </a:lnTo>
                    <a:lnTo>
                      <a:pt x="13200" y="960"/>
                    </a:lnTo>
                    <a:lnTo>
                      <a:pt x="13186" y="962"/>
                    </a:lnTo>
                    <a:lnTo>
                      <a:pt x="13172" y="962"/>
                    </a:lnTo>
                    <a:lnTo>
                      <a:pt x="13155" y="962"/>
                    </a:lnTo>
                    <a:lnTo>
                      <a:pt x="13138" y="960"/>
                    </a:lnTo>
                    <a:lnTo>
                      <a:pt x="13123" y="958"/>
                    </a:lnTo>
                    <a:lnTo>
                      <a:pt x="13109" y="954"/>
                    </a:lnTo>
                    <a:lnTo>
                      <a:pt x="13095" y="950"/>
                    </a:lnTo>
                    <a:lnTo>
                      <a:pt x="13082" y="945"/>
                    </a:lnTo>
                    <a:lnTo>
                      <a:pt x="13070" y="938"/>
                    </a:lnTo>
                    <a:lnTo>
                      <a:pt x="13058" y="931"/>
                    </a:lnTo>
                    <a:lnTo>
                      <a:pt x="13047" y="924"/>
                    </a:lnTo>
                    <a:lnTo>
                      <a:pt x="13037" y="915"/>
                    </a:lnTo>
                    <a:lnTo>
                      <a:pt x="13028" y="907"/>
                    </a:lnTo>
                    <a:lnTo>
                      <a:pt x="13019" y="897"/>
                    </a:lnTo>
                    <a:lnTo>
                      <a:pt x="13011" y="886"/>
                    </a:lnTo>
                    <a:lnTo>
                      <a:pt x="13004" y="875"/>
                    </a:lnTo>
                    <a:lnTo>
                      <a:pt x="12996" y="863"/>
                    </a:lnTo>
                    <a:lnTo>
                      <a:pt x="12991" y="851"/>
                    </a:lnTo>
                    <a:lnTo>
                      <a:pt x="12984" y="839"/>
                    </a:lnTo>
                    <a:lnTo>
                      <a:pt x="12979" y="826"/>
                    </a:lnTo>
                    <a:lnTo>
                      <a:pt x="12974" y="813"/>
                    </a:lnTo>
                    <a:lnTo>
                      <a:pt x="12970" y="800"/>
                    </a:lnTo>
                    <a:lnTo>
                      <a:pt x="12964" y="772"/>
                    </a:lnTo>
                    <a:lnTo>
                      <a:pt x="12958" y="744"/>
                    </a:lnTo>
                    <a:lnTo>
                      <a:pt x="12954" y="714"/>
                    </a:lnTo>
                    <a:lnTo>
                      <a:pt x="12951" y="685"/>
                    </a:lnTo>
                    <a:lnTo>
                      <a:pt x="12949" y="656"/>
                    </a:lnTo>
                    <a:lnTo>
                      <a:pt x="12949" y="627"/>
                    </a:lnTo>
                    <a:lnTo>
                      <a:pt x="12949" y="600"/>
                    </a:lnTo>
                    <a:lnTo>
                      <a:pt x="12952" y="572"/>
                    </a:lnTo>
                    <a:lnTo>
                      <a:pt x="12954" y="543"/>
                    </a:lnTo>
                    <a:lnTo>
                      <a:pt x="12959" y="513"/>
                    </a:lnTo>
                    <a:lnTo>
                      <a:pt x="12965" y="484"/>
                    </a:lnTo>
                    <a:lnTo>
                      <a:pt x="12972" y="456"/>
                    </a:lnTo>
                    <a:lnTo>
                      <a:pt x="12977" y="442"/>
                    </a:lnTo>
                    <a:lnTo>
                      <a:pt x="12982" y="428"/>
                    </a:lnTo>
                    <a:lnTo>
                      <a:pt x="12987" y="415"/>
                    </a:lnTo>
                    <a:lnTo>
                      <a:pt x="12993" y="402"/>
                    </a:lnTo>
                    <a:lnTo>
                      <a:pt x="12999" y="389"/>
                    </a:lnTo>
                    <a:lnTo>
                      <a:pt x="13007" y="377"/>
                    </a:lnTo>
                    <a:lnTo>
                      <a:pt x="13015" y="365"/>
                    </a:lnTo>
                    <a:lnTo>
                      <a:pt x="13022" y="354"/>
                    </a:lnTo>
                    <a:lnTo>
                      <a:pt x="13031" y="343"/>
                    </a:lnTo>
                    <a:lnTo>
                      <a:pt x="13041" y="333"/>
                    </a:lnTo>
                    <a:lnTo>
                      <a:pt x="13050" y="323"/>
                    </a:lnTo>
                    <a:lnTo>
                      <a:pt x="13061" y="316"/>
                    </a:lnTo>
                    <a:lnTo>
                      <a:pt x="13072" y="308"/>
                    </a:lnTo>
                    <a:lnTo>
                      <a:pt x="13084" y="301"/>
                    </a:lnTo>
                    <a:lnTo>
                      <a:pt x="13097" y="295"/>
                    </a:lnTo>
                    <a:lnTo>
                      <a:pt x="13110" y="290"/>
                    </a:lnTo>
                    <a:lnTo>
                      <a:pt x="13124" y="287"/>
                    </a:lnTo>
                    <a:lnTo>
                      <a:pt x="13138" y="283"/>
                    </a:lnTo>
                    <a:lnTo>
                      <a:pt x="13155" y="282"/>
                    </a:lnTo>
                    <a:lnTo>
                      <a:pt x="13171" y="281"/>
                    </a:lnTo>
                    <a:lnTo>
                      <a:pt x="13186" y="282"/>
                    </a:lnTo>
                    <a:lnTo>
                      <a:pt x="13201" y="283"/>
                    </a:lnTo>
                    <a:lnTo>
                      <a:pt x="13215" y="285"/>
                    </a:lnTo>
                    <a:lnTo>
                      <a:pt x="13229" y="289"/>
                    </a:lnTo>
                    <a:lnTo>
                      <a:pt x="13242" y="293"/>
                    </a:lnTo>
                    <a:lnTo>
                      <a:pt x="13254" y="298"/>
                    </a:lnTo>
                    <a:lnTo>
                      <a:pt x="13266" y="305"/>
                    </a:lnTo>
                    <a:lnTo>
                      <a:pt x="13277" y="313"/>
                    </a:lnTo>
                    <a:lnTo>
                      <a:pt x="13288" y="320"/>
                    </a:lnTo>
                    <a:lnTo>
                      <a:pt x="13298" y="330"/>
                    </a:lnTo>
                    <a:lnTo>
                      <a:pt x="13306" y="340"/>
                    </a:lnTo>
                    <a:lnTo>
                      <a:pt x="13315" y="351"/>
                    </a:lnTo>
                    <a:lnTo>
                      <a:pt x="13323" y="363"/>
                    </a:lnTo>
                    <a:lnTo>
                      <a:pt x="13329" y="376"/>
                    </a:lnTo>
                    <a:lnTo>
                      <a:pt x="13336" y="389"/>
                    </a:lnTo>
                    <a:lnTo>
                      <a:pt x="13341" y="403"/>
                    </a:lnTo>
                    <a:lnTo>
                      <a:pt x="13344" y="403"/>
                    </a:lnTo>
                    <a:lnTo>
                      <a:pt x="13344" y="4"/>
                    </a:lnTo>
                    <a:lnTo>
                      <a:pt x="13437" y="4"/>
                    </a:lnTo>
                    <a:lnTo>
                      <a:pt x="13437" y="947"/>
                    </a:lnTo>
                    <a:lnTo>
                      <a:pt x="13344" y="947"/>
                    </a:lnTo>
                    <a:close/>
                    <a:moveTo>
                      <a:pt x="12639" y="359"/>
                    </a:moveTo>
                    <a:lnTo>
                      <a:pt x="12625" y="360"/>
                    </a:lnTo>
                    <a:lnTo>
                      <a:pt x="12612" y="361"/>
                    </a:lnTo>
                    <a:lnTo>
                      <a:pt x="12599" y="365"/>
                    </a:lnTo>
                    <a:lnTo>
                      <a:pt x="12587" y="369"/>
                    </a:lnTo>
                    <a:lnTo>
                      <a:pt x="12576" y="373"/>
                    </a:lnTo>
                    <a:lnTo>
                      <a:pt x="12565" y="380"/>
                    </a:lnTo>
                    <a:lnTo>
                      <a:pt x="12557" y="386"/>
                    </a:lnTo>
                    <a:lnTo>
                      <a:pt x="12547" y="394"/>
                    </a:lnTo>
                    <a:lnTo>
                      <a:pt x="12539" y="403"/>
                    </a:lnTo>
                    <a:lnTo>
                      <a:pt x="12532" y="412"/>
                    </a:lnTo>
                    <a:lnTo>
                      <a:pt x="12525" y="422"/>
                    </a:lnTo>
                    <a:lnTo>
                      <a:pt x="12519" y="433"/>
                    </a:lnTo>
                    <a:lnTo>
                      <a:pt x="12513" y="445"/>
                    </a:lnTo>
                    <a:lnTo>
                      <a:pt x="12509" y="457"/>
                    </a:lnTo>
                    <a:lnTo>
                      <a:pt x="12506" y="469"/>
                    </a:lnTo>
                    <a:lnTo>
                      <a:pt x="12502" y="482"/>
                    </a:lnTo>
                    <a:lnTo>
                      <a:pt x="12764" y="482"/>
                    </a:lnTo>
                    <a:lnTo>
                      <a:pt x="12763" y="469"/>
                    </a:lnTo>
                    <a:lnTo>
                      <a:pt x="12761" y="457"/>
                    </a:lnTo>
                    <a:lnTo>
                      <a:pt x="12759" y="445"/>
                    </a:lnTo>
                    <a:lnTo>
                      <a:pt x="12754" y="433"/>
                    </a:lnTo>
                    <a:lnTo>
                      <a:pt x="12749" y="422"/>
                    </a:lnTo>
                    <a:lnTo>
                      <a:pt x="12743" y="412"/>
                    </a:lnTo>
                    <a:lnTo>
                      <a:pt x="12736" y="403"/>
                    </a:lnTo>
                    <a:lnTo>
                      <a:pt x="12728" y="394"/>
                    </a:lnTo>
                    <a:lnTo>
                      <a:pt x="12719" y="386"/>
                    </a:lnTo>
                    <a:lnTo>
                      <a:pt x="12710" y="380"/>
                    </a:lnTo>
                    <a:lnTo>
                      <a:pt x="12700" y="373"/>
                    </a:lnTo>
                    <a:lnTo>
                      <a:pt x="12688" y="369"/>
                    </a:lnTo>
                    <a:lnTo>
                      <a:pt x="12677" y="365"/>
                    </a:lnTo>
                    <a:lnTo>
                      <a:pt x="12665" y="361"/>
                    </a:lnTo>
                    <a:lnTo>
                      <a:pt x="12652" y="360"/>
                    </a:lnTo>
                    <a:lnTo>
                      <a:pt x="12639" y="359"/>
                    </a:lnTo>
                    <a:close/>
                    <a:moveTo>
                      <a:pt x="12496" y="560"/>
                    </a:moveTo>
                    <a:lnTo>
                      <a:pt x="12496" y="598"/>
                    </a:lnTo>
                    <a:lnTo>
                      <a:pt x="12496" y="625"/>
                    </a:lnTo>
                    <a:lnTo>
                      <a:pt x="12499" y="651"/>
                    </a:lnTo>
                    <a:lnTo>
                      <a:pt x="12504" y="677"/>
                    </a:lnTo>
                    <a:lnTo>
                      <a:pt x="12509" y="703"/>
                    </a:lnTo>
                    <a:lnTo>
                      <a:pt x="12517" y="727"/>
                    </a:lnTo>
                    <a:lnTo>
                      <a:pt x="12526" y="751"/>
                    </a:lnTo>
                    <a:lnTo>
                      <a:pt x="12532" y="763"/>
                    </a:lnTo>
                    <a:lnTo>
                      <a:pt x="12538" y="774"/>
                    </a:lnTo>
                    <a:lnTo>
                      <a:pt x="12545" y="785"/>
                    </a:lnTo>
                    <a:lnTo>
                      <a:pt x="12551" y="795"/>
                    </a:lnTo>
                    <a:lnTo>
                      <a:pt x="12559" y="804"/>
                    </a:lnTo>
                    <a:lnTo>
                      <a:pt x="12566" y="814"/>
                    </a:lnTo>
                    <a:lnTo>
                      <a:pt x="12574" y="823"/>
                    </a:lnTo>
                    <a:lnTo>
                      <a:pt x="12583" y="832"/>
                    </a:lnTo>
                    <a:lnTo>
                      <a:pt x="12592" y="839"/>
                    </a:lnTo>
                    <a:lnTo>
                      <a:pt x="12602" y="847"/>
                    </a:lnTo>
                    <a:lnTo>
                      <a:pt x="12612" y="853"/>
                    </a:lnTo>
                    <a:lnTo>
                      <a:pt x="12623" y="860"/>
                    </a:lnTo>
                    <a:lnTo>
                      <a:pt x="12634" y="865"/>
                    </a:lnTo>
                    <a:lnTo>
                      <a:pt x="12646" y="871"/>
                    </a:lnTo>
                    <a:lnTo>
                      <a:pt x="12658" y="874"/>
                    </a:lnTo>
                    <a:lnTo>
                      <a:pt x="12671" y="878"/>
                    </a:lnTo>
                    <a:lnTo>
                      <a:pt x="12684" y="880"/>
                    </a:lnTo>
                    <a:lnTo>
                      <a:pt x="12698" y="883"/>
                    </a:lnTo>
                    <a:lnTo>
                      <a:pt x="12712" y="884"/>
                    </a:lnTo>
                    <a:lnTo>
                      <a:pt x="12727" y="885"/>
                    </a:lnTo>
                    <a:lnTo>
                      <a:pt x="12743" y="884"/>
                    </a:lnTo>
                    <a:lnTo>
                      <a:pt x="12760" y="883"/>
                    </a:lnTo>
                    <a:lnTo>
                      <a:pt x="12776" y="882"/>
                    </a:lnTo>
                    <a:lnTo>
                      <a:pt x="12791" y="879"/>
                    </a:lnTo>
                    <a:lnTo>
                      <a:pt x="12823" y="874"/>
                    </a:lnTo>
                    <a:lnTo>
                      <a:pt x="12855" y="866"/>
                    </a:lnTo>
                    <a:lnTo>
                      <a:pt x="12855" y="943"/>
                    </a:lnTo>
                    <a:lnTo>
                      <a:pt x="12837" y="948"/>
                    </a:lnTo>
                    <a:lnTo>
                      <a:pt x="12818" y="952"/>
                    </a:lnTo>
                    <a:lnTo>
                      <a:pt x="12800" y="955"/>
                    </a:lnTo>
                    <a:lnTo>
                      <a:pt x="12781" y="959"/>
                    </a:lnTo>
                    <a:lnTo>
                      <a:pt x="12763" y="960"/>
                    </a:lnTo>
                    <a:lnTo>
                      <a:pt x="12744" y="962"/>
                    </a:lnTo>
                    <a:lnTo>
                      <a:pt x="12725" y="962"/>
                    </a:lnTo>
                    <a:lnTo>
                      <a:pt x="12706" y="962"/>
                    </a:lnTo>
                    <a:lnTo>
                      <a:pt x="12686" y="962"/>
                    </a:lnTo>
                    <a:lnTo>
                      <a:pt x="12665" y="961"/>
                    </a:lnTo>
                    <a:lnTo>
                      <a:pt x="12646" y="959"/>
                    </a:lnTo>
                    <a:lnTo>
                      <a:pt x="12627" y="955"/>
                    </a:lnTo>
                    <a:lnTo>
                      <a:pt x="12610" y="951"/>
                    </a:lnTo>
                    <a:lnTo>
                      <a:pt x="12592" y="947"/>
                    </a:lnTo>
                    <a:lnTo>
                      <a:pt x="12577" y="941"/>
                    </a:lnTo>
                    <a:lnTo>
                      <a:pt x="12561" y="935"/>
                    </a:lnTo>
                    <a:lnTo>
                      <a:pt x="12547" y="928"/>
                    </a:lnTo>
                    <a:lnTo>
                      <a:pt x="12533" y="921"/>
                    </a:lnTo>
                    <a:lnTo>
                      <a:pt x="12519" y="912"/>
                    </a:lnTo>
                    <a:lnTo>
                      <a:pt x="12507" y="903"/>
                    </a:lnTo>
                    <a:lnTo>
                      <a:pt x="12495" y="893"/>
                    </a:lnTo>
                    <a:lnTo>
                      <a:pt x="12483" y="883"/>
                    </a:lnTo>
                    <a:lnTo>
                      <a:pt x="12473" y="872"/>
                    </a:lnTo>
                    <a:lnTo>
                      <a:pt x="12463" y="860"/>
                    </a:lnTo>
                    <a:lnTo>
                      <a:pt x="12454" y="848"/>
                    </a:lnTo>
                    <a:lnTo>
                      <a:pt x="12445" y="835"/>
                    </a:lnTo>
                    <a:lnTo>
                      <a:pt x="12437" y="821"/>
                    </a:lnTo>
                    <a:lnTo>
                      <a:pt x="12430" y="807"/>
                    </a:lnTo>
                    <a:lnTo>
                      <a:pt x="12423" y="793"/>
                    </a:lnTo>
                    <a:lnTo>
                      <a:pt x="12417" y="777"/>
                    </a:lnTo>
                    <a:lnTo>
                      <a:pt x="12411" y="762"/>
                    </a:lnTo>
                    <a:lnTo>
                      <a:pt x="12407" y="746"/>
                    </a:lnTo>
                    <a:lnTo>
                      <a:pt x="12403" y="728"/>
                    </a:lnTo>
                    <a:lnTo>
                      <a:pt x="12399" y="711"/>
                    </a:lnTo>
                    <a:lnTo>
                      <a:pt x="12396" y="694"/>
                    </a:lnTo>
                    <a:lnTo>
                      <a:pt x="12393" y="676"/>
                    </a:lnTo>
                    <a:lnTo>
                      <a:pt x="12392" y="658"/>
                    </a:lnTo>
                    <a:lnTo>
                      <a:pt x="12390" y="638"/>
                    </a:lnTo>
                    <a:lnTo>
                      <a:pt x="12390" y="620"/>
                    </a:lnTo>
                    <a:lnTo>
                      <a:pt x="12389" y="600"/>
                    </a:lnTo>
                    <a:lnTo>
                      <a:pt x="12390" y="569"/>
                    </a:lnTo>
                    <a:lnTo>
                      <a:pt x="12392" y="537"/>
                    </a:lnTo>
                    <a:lnTo>
                      <a:pt x="12396" y="508"/>
                    </a:lnTo>
                    <a:lnTo>
                      <a:pt x="12402" y="479"/>
                    </a:lnTo>
                    <a:lnTo>
                      <a:pt x="12405" y="465"/>
                    </a:lnTo>
                    <a:lnTo>
                      <a:pt x="12409" y="450"/>
                    </a:lnTo>
                    <a:lnTo>
                      <a:pt x="12413" y="437"/>
                    </a:lnTo>
                    <a:lnTo>
                      <a:pt x="12419" y="424"/>
                    </a:lnTo>
                    <a:lnTo>
                      <a:pt x="12424" y="412"/>
                    </a:lnTo>
                    <a:lnTo>
                      <a:pt x="12431" y="399"/>
                    </a:lnTo>
                    <a:lnTo>
                      <a:pt x="12437" y="389"/>
                    </a:lnTo>
                    <a:lnTo>
                      <a:pt x="12444" y="377"/>
                    </a:lnTo>
                    <a:lnTo>
                      <a:pt x="12453" y="366"/>
                    </a:lnTo>
                    <a:lnTo>
                      <a:pt x="12460" y="356"/>
                    </a:lnTo>
                    <a:lnTo>
                      <a:pt x="12469" y="346"/>
                    </a:lnTo>
                    <a:lnTo>
                      <a:pt x="12479" y="338"/>
                    </a:lnTo>
                    <a:lnTo>
                      <a:pt x="12488" y="329"/>
                    </a:lnTo>
                    <a:lnTo>
                      <a:pt x="12499" y="321"/>
                    </a:lnTo>
                    <a:lnTo>
                      <a:pt x="12511" y="314"/>
                    </a:lnTo>
                    <a:lnTo>
                      <a:pt x="12523" y="307"/>
                    </a:lnTo>
                    <a:lnTo>
                      <a:pt x="12535" y="302"/>
                    </a:lnTo>
                    <a:lnTo>
                      <a:pt x="12549" y="296"/>
                    </a:lnTo>
                    <a:lnTo>
                      <a:pt x="12562" y="292"/>
                    </a:lnTo>
                    <a:lnTo>
                      <a:pt x="12577" y="288"/>
                    </a:lnTo>
                    <a:lnTo>
                      <a:pt x="12592" y="285"/>
                    </a:lnTo>
                    <a:lnTo>
                      <a:pt x="12609" y="283"/>
                    </a:lnTo>
                    <a:lnTo>
                      <a:pt x="12626" y="282"/>
                    </a:lnTo>
                    <a:lnTo>
                      <a:pt x="12643" y="281"/>
                    </a:lnTo>
                    <a:lnTo>
                      <a:pt x="12658" y="281"/>
                    </a:lnTo>
                    <a:lnTo>
                      <a:pt x="12671" y="282"/>
                    </a:lnTo>
                    <a:lnTo>
                      <a:pt x="12684" y="284"/>
                    </a:lnTo>
                    <a:lnTo>
                      <a:pt x="12697" y="285"/>
                    </a:lnTo>
                    <a:lnTo>
                      <a:pt x="12709" y="289"/>
                    </a:lnTo>
                    <a:lnTo>
                      <a:pt x="12721" y="292"/>
                    </a:lnTo>
                    <a:lnTo>
                      <a:pt x="12731" y="295"/>
                    </a:lnTo>
                    <a:lnTo>
                      <a:pt x="12742" y="300"/>
                    </a:lnTo>
                    <a:lnTo>
                      <a:pt x="12753" y="305"/>
                    </a:lnTo>
                    <a:lnTo>
                      <a:pt x="12763" y="309"/>
                    </a:lnTo>
                    <a:lnTo>
                      <a:pt x="12773" y="316"/>
                    </a:lnTo>
                    <a:lnTo>
                      <a:pt x="12781" y="321"/>
                    </a:lnTo>
                    <a:lnTo>
                      <a:pt x="12790" y="329"/>
                    </a:lnTo>
                    <a:lnTo>
                      <a:pt x="12799" y="335"/>
                    </a:lnTo>
                    <a:lnTo>
                      <a:pt x="12806" y="343"/>
                    </a:lnTo>
                    <a:lnTo>
                      <a:pt x="12814" y="352"/>
                    </a:lnTo>
                    <a:lnTo>
                      <a:pt x="12820" y="359"/>
                    </a:lnTo>
                    <a:lnTo>
                      <a:pt x="12827" y="368"/>
                    </a:lnTo>
                    <a:lnTo>
                      <a:pt x="12832" y="378"/>
                    </a:lnTo>
                    <a:lnTo>
                      <a:pt x="12838" y="388"/>
                    </a:lnTo>
                    <a:lnTo>
                      <a:pt x="12847" y="408"/>
                    </a:lnTo>
                    <a:lnTo>
                      <a:pt x="12856" y="430"/>
                    </a:lnTo>
                    <a:lnTo>
                      <a:pt x="12862" y="453"/>
                    </a:lnTo>
                    <a:lnTo>
                      <a:pt x="12866" y="477"/>
                    </a:lnTo>
                    <a:lnTo>
                      <a:pt x="12869" y="503"/>
                    </a:lnTo>
                    <a:lnTo>
                      <a:pt x="12870" y="529"/>
                    </a:lnTo>
                    <a:lnTo>
                      <a:pt x="12870" y="560"/>
                    </a:lnTo>
                    <a:lnTo>
                      <a:pt x="12496" y="560"/>
                    </a:lnTo>
                    <a:close/>
                    <a:moveTo>
                      <a:pt x="12132" y="677"/>
                    </a:moveTo>
                    <a:lnTo>
                      <a:pt x="12132" y="947"/>
                    </a:lnTo>
                    <a:lnTo>
                      <a:pt x="12040" y="947"/>
                    </a:lnTo>
                    <a:lnTo>
                      <a:pt x="12040" y="296"/>
                    </a:lnTo>
                    <a:lnTo>
                      <a:pt x="12132" y="296"/>
                    </a:lnTo>
                    <a:lnTo>
                      <a:pt x="12132" y="422"/>
                    </a:lnTo>
                    <a:lnTo>
                      <a:pt x="12136" y="422"/>
                    </a:lnTo>
                    <a:lnTo>
                      <a:pt x="12143" y="405"/>
                    </a:lnTo>
                    <a:lnTo>
                      <a:pt x="12152" y="389"/>
                    </a:lnTo>
                    <a:lnTo>
                      <a:pt x="12162" y="374"/>
                    </a:lnTo>
                    <a:lnTo>
                      <a:pt x="12171" y="360"/>
                    </a:lnTo>
                    <a:lnTo>
                      <a:pt x="12183" y="347"/>
                    </a:lnTo>
                    <a:lnTo>
                      <a:pt x="12194" y="336"/>
                    </a:lnTo>
                    <a:lnTo>
                      <a:pt x="12207" y="326"/>
                    </a:lnTo>
                    <a:lnTo>
                      <a:pt x="12220" y="316"/>
                    </a:lnTo>
                    <a:lnTo>
                      <a:pt x="12234" y="308"/>
                    </a:lnTo>
                    <a:lnTo>
                      <a:pt x="12249" y="301"/>
                    </a:lnTo>
                    <a:lnTo>
                      <a:pt x="12265" y="295"/>
                    </a:lnTo>
                    <a:lnTo>
                      <a:pt x="12281" y="290"/>
                    </a:lnTo>
                    <a:lnTo>
                      <a:pt x="12297" y="287"/>
                    </a:lnTo>
                    <a:lnTo>
                      <a:pt x="12315" y="283"/>
                    </a:lnTo>
                    <a:lnTo>
                      <a:pt x="12333" y="282"/>
                    </a:lnTo>
                    <a:lnTo>
                      <a:pt x="12353" y="281"/>
                    </a:lnTo>
                    <a:lnTo>
                      <a:pt x="12353" y="381"/>
                    </a:lnTo>
                    <a:lnTo>
                      <a:pt x="12338" y="382"/>
                    </a:lnTo>
                    <a:lnTo>
                      <a:pt x="12322" y="383"/>
                    </a:lnTo>
                    <a:lnTo>
                      <a:pt x="12308" y="385"/>
                    </a:lnTo>
                    <a:lnTo>
                      <a:pt x="12295" y="389"/>
                    </a:lnTo>
                    <a:lnTo>
                      <a:pt x="12282" y="392"/>
                    </a:lnTo>
                    <a:lnTo>
                      <a:pt x="12270" y="396"/>
                    </a:lnTo>
                    <a:lnTo>
                      <a:pt x="12258" y="402"/>
                    </a:lnTo>
                    <a:lnTo>
                      <a:pt x="12247" y="407"/>
                    </a:lnTo>
                    <a:lnTo>
                      <a:pt x="12237" y="415"/>
                    </a:lnTo>
                    <a:lnTo>
                      <a:pt x="12227" y="421"/>
                    </a:lnTo>
                    <a:lnTo>
                      <a:pt x="12218" y="429"/>
                    </a:lnTo>
                    <a:lnTo>
                      <a:pt x="12209" y="437"/>
                    </a:lnTo>
                    <a:lnTo>
                      <a:pt x="12201" y="446"/>
                    </a:lnTo>
                    <a:lnTo>
                      <a:pt x="12193" y="456"/>
                    </a:lnTo>
                    <a:lnTo>
                      <a:pt x="12187" y="466"/>
                    </a:lnTo>
                    <a:lnTo>
                      <a:pt x="12179" y="477"/>
                    </a:lnTo>
                    <a:lnTo>
                      <a:pt x="12174" y="487"/>
                    </a:lnTo>
                    <a:lnTo>
                      <a:pt x="12168" y="498"/>
                    </a:lnTo>
                    <a:lnTo>
                      <a:pt x="12163" y="510"/>
                    </a:lnTo>
                    <a:lnTo>
                      <a:pt x="12157" y="521"/>
                    </a:lnTo>
                    <a:lnTo>
                      <a:pt x="12150" y="546"/>
                    </a:lnTo>
                    <a:lnTo>
                      <a:pt x="12143" y="571"/>
                    </a:lnTo>
                    <a:lnTo>
                      <a:pt x="12139" y="598"/>
                    </a:lnTo>
                    <a:lnTo>
                      <a:pt x="12136" y="624"/>
                    </a:lnTo>
                    <a:lnTo>
                      <a:pt x="12134" y="651"/>
                    </a:lnTo>
                    <a:lnTo>
                      <a:pt x="12132" y="677"/>
                    </a:lnTo>
                    <a:close/>
                    <a:moveTo>
                      <a:pt x="11690" y="359"/>
                    </a:moveTo>
                    <a:lnTo>
                      <a:pt x="11676" y="360"/>
                    </a:lnTo>
                    <a:lnTo>
                      <a:pt x="11663" y="361"/>
                    </a:lnTo>
                    <a:lnTo>
                      <a:pt x="11650" y="365"/>
                    </a:lnTo>
                    <a:lnTo>
                      <a:pt x="11638" y="369"/>
                    </a:lnTo>
                    <a:lnTo>
                      <a:pt x="11627" y="373"/>
                    </a:lnTo>
                    <a:lnTo>
                      <a:pt x="11616" y="380"/>
                    </a:lnTo>
                    <a:lnTo>
                      <a:pt x="11606" y="386"/>
                    </a:lnTo>
                    <a:lnTo>
                      <a:pt x="11597" y="394"/>
                    </a:lnTo>
                    <a:lnTo>
                      <a:pt x="11589" y="403"/>
                    </a:lnTo>
                    <a:lnTo>
                      <a:pt x="11582" y="412"/>
                    </a:lnTo>
                    <a:lnTo>
                      <a:pt x="11575" y="422"/>
                    </a:lnTo>
                    <a:lnTo>
                      <a:pt x="11569" y="433"/>
                    </a:lnTo>
                    <a:lnTo>
                      <a:pt x="11564" y="445"/>
                    </a:lnTo>
                    <a:lnTo>
                      <a:pt x="11560" y="457"/>
                    </a:lnTo>
                    <a:lnTo>
                      <a:pt x="11555" y="469"/>
                    </a:lnTo>
                    <a:lnTo>
                      <a:pt x="11553" y="482"/>
                    </a:lnTo>
                    <a:lnTo>
                      <a:pt x="11813" y="482"/>
                    </a:lnTo>
                    <a:lnTo>
                      <a:pt x="11813" y="469"/>
                    </a:lnTo>
                    <a:lnTo>
                      <a:pt x="11811" y="457"/>
                    </a:lnTo>
                    <a:lnTo>
                      <a:pt x="11808" y="445"/>
                    </a:lnTo>
                    <a:lnTo>
                      <a:pt x="11805" y="433"/>
                    </a:lnTo>
                    <a:lnTo>
                      <a:pt x="11799" y="422"/>
                    </a:lnTo>
                    <a:lnTo>
                      <a:pt x="11793" y="412"/>
                    </a:lnTo>
                    <a:lnTo>
                      <a:pt x="11786" y="403"/>
                    </a:lnTo>
                    <a:lnTo>
                      <a:pt x="11779" y="394"/>
                    </a:lnTo>
                    <a:lnTo>
                      <a:pt x="11770" y="386"/>
                    </a:lnTo>
                    <a:lnTo>
                      <a:pt x="11760" y="380"/>
                    </a:lnTo>
                    <a:lnTo>
                      <a:pt x="11749" y="373"/>
                    </a:lnTo>
                    <a:lnTo>
                      <a:pt x="11739" y="369"/>
                    </a:lnTo>
                    <a:lnTo>
                      <a:pt x="11728" y="365"/>
                    </a:lnTo>
                    <a:lnTo>
                      <a:pt x="11715" y="361"/>
                    </a:lnTo>
                    <a:lnTo>
                      <a:pt x="11703" y="360"/>
                    </a:lnTo>
                    <a:lnTo>
                      <a:pt x="11690" y="359"/>
                    </a:lnTo>
                    <a:close/>
                    <a:moveTo>
                      <a:pt x="11545" y="560"/>
                    </a:moveTo>
                    <a:lnTo>
                      <a:pt x="11545" y="598"/>
                    </a:lnTo>
                    <a:lnTo>
                      <a:pt x="11546" y="625"/>
                    </a:lnTo>
                    <a:lnTo>
                      <a:pt x="11550" y="651"/>
                    </a:lnTo>
                    <a:lnTo>
                      <a:pt x="11553" y="677"/>
                    </a:lnTo>
                    <a:lnTo>
                      <a:pt x="11560" y="703"/>
                    </a:lnTo>
                    <a:lnTo>
                      <a:pt x="11567" y="727"/>
                    </a:lnTo>
                    <a:lnTo>
                      <a:pt x="11577" y="751"/>
                    </a:lnTo>
                    <a:lnTo>
                      <a:pt x="11582" y="763"/>
                    </a:lnTo>
                    <a:lnTo>
                      <a:pt x="11588" y="774"/>
                    </a:lnTo>
                    <a:lnTo>
                      <a:pt x="11594" y="785"/>
                    </a:lnTo>
                    <a:lnTo>
                      <a:pt x="11602" y="795"/>
                    </a:lnTo>
                    <a:lnTo>
                      <a:pt x="11608" y="804"/>
                    </a:lnTo>
                    <a:lnTo>
                      <a:pt x="11617" y="814"/>
                    </a:lnTo>
                    <a:lnTo>
                      <a:pt x="11625" y="823"/>
                    </a:lnTo>
                    <a:lnTo>
                      <a:pt x="11633" y="832"/>
                    </a:lnTo>
                    <a:lnTo>
                      <a:pt x="11643" y="839"/>
                    </a:lnTo>
                    <a:lnTo>
                      <a:pt x="11653" y="847"/>
                    </a:lnTo>
                    <a:lnTo>
                      <a:pt x="11663" y="853"/>
                    </a:lnTo>
                    <a:lnTo>
                      <a:pt x="11673" y="860"/>
                    </a:lnTo>
                    <a:lnTo>
                      <a:pt x="11684" y="865"/>
                    </a:lnTo>
                    <a:lnTo>
                      <a:pt x="11696" y="871"/>
                    </a:lnTo>
                    <a:lnTo>
                      <a:pt x="11708" y="874"/>
                    </a:lnTo>
                    <a:lnTo>
                      <a:pt x="11721" y="878"/>
                    </a:lnTo>
                    <a:lnTo>
                      <a:pt x="11734" y="880"/>
                    </a:lnTo>
                    <a:lnTo>
                      <a:pt x="11748" y="883"/>
                    </a:lnTo>
                    <a:lnTo>
                      <a:pt x="11762" y="884"/>
                    </a:lnTo>
                    <a:lnTo>
                      <a:pt x="11777" y="885"/>
                    </a:lnTo>
                    <a:lnTo>
                      <a:pt x="11794" y="884"/>
                    </a:lnTo>
                    <a:lnTo>
                      <a:pt x="11810" y="883"/>
                    </a:lnTo>
                    <a:lnTo>
                      <a:pt x="11825" y="882"/>
                    </a:lnTo>
                    <a:lnTo>
                      <a:pt x="11842" y="879"/>
                    </a:lnTo>
                    <a:lnTo>
                      <a:pt x="11873" y="874"/>
                    </a:lnTo>
                    <a:lnTo>
                      <a:pt x="11906" y="866"/>
                    </a:lnTo>
                    <a:lnTo>
                      <a:pt x="11906" y="943"/>
                    </a:lnTo>
                    <a:lnTo>
                      <a:pt x="11887" y="948"/>
                    </a:lnTo>
                    <a:lnTo>
                      <a:pt x="11869" y="952"/>
                    </a:lnTo>
                    <a:lnTo>
                      <a:pt x="11850" y="955"/>
                    </a:lnTo>
                    <a:lnTo>
                      <a:pt x="11832" y="959"/>
                    </a:lnTo>
                    <a:lnTo>
                      <a:pt x="11813" y="960"/>
                    </a:lnTo>
                    <a:lnTo>
                      <a:pt x="11794" y="962"/>
                    </a:lnTo>
                    <a:lnTo>
                      <a:pt x="11775" y="962"/>
                    </a:lnTo>
                    <a:lnTo>
                      <a:pt x="11756" y="962"/>
                    </a:lnTo>
                    <a:lnTo>
                      <a:pt x="11735" y="962"/>
                    </a:lnTo>
                    <a:lnTo>
                      <a:pt x="11716" y="961"/>
                    </a:lnTo>
                    <a:lnTo>
                      <a:pt x="11696" y="959"/>
                    </a:lnTo>
                    <a:lnTo>
                      <a:pt x="11678" y="955"/>
                    </a:lnTo>
                    <a:lnTo>
                      <a:pt x="11660" y="951"/>
                    </a:lnTo>
                    <a:lnTo>
                      <a:pt x="11643" y="947"/>
                    </a:lnTo>
                    <a:lnTo>
                      <a:pt x="11627" y="941"/>
                    </a:lnTo>
                    <a:lnTo>
                      <a:pt x="11612" y="935"/>
                    </a:lnTo>
                    <a:lnTo>
                      <a:pt x="11597" y="928"/>
                    </a:lnTo>
                    <a:lnTo>
                      <a:pt x="11583" y="921"/>
                    </a:lnTo>
                    <a:lnTo>
                      <a:pt x="11569" y="912"/>
                    </a:lnTo>
                    <a:lnTo>
                      <a:pt x="11557" y="903"/>
                    </a:lnTo>
                    <a:lnTo>
                      <a:pt x="11545" y="893"/>
                    </a:lnTo>
                    <a:lnTo>
                      <a:pt x="11533" y="883"/>
                    </a:lnTo>
                    <a:lnTo>
                      <a:pt x="11524" y="872"/>
                    </a:lnTo>
                    <a:lnTo>
                      <a:pt x="11513" y="860"/>
                    </a:lnTo>
                    <a:lnTo>
                      <a:pt x="11504" y="848"/>
                    </a:lnTo>
                    <a:lnTo>
                      <a:pt x="11495" y="835"/>
                    </a:lnTo>
                    <a:lnTo>
                      <a:pt x="11488" y="821"/>
                    </a:lnTo>
                    <a:lnTo>
                      <a:pt x="11480" y="807"/>
                    </a:lnTo>
                    <a:lnTo>
                      <a:pt x="11474" y="793"/>
                    </a:lnTo>
                    <a:lnTo>
                      <a:pt x="11467" y="777"/>
                    </a:lnTo>
                    <a:lnTo>
                      <a:pt x="11462" y="762"/>
                    </a:lnTo>
                    <a:lnTo>
                      <a:pt x="11458" y="746"/>
                    </a:lnTo>
                    <a:lnTo>
                      <a:pt x="11453" y="728"/>
                    </a:lnTo>
                    <a:lnTo>
                      <a:pt x="11449" y="711"/>
                    </a:lnTo>
                    <a:lnTo>
                      <a:pt x="11447" y="694"/>
                    </a:lnTo>
                    <a:lnTo>
                      <a:pt x="11443" y="676"/>
                    </a:lnTo>
                    <a:lnTo>
                      <a:pt x="11442" y="658"/>
                    </a:lnTo>
                    <a:lnTo>
                      <a:pt x="11440" y="638"/>
                    </a:lnTo>
                    <a:lnTo>
                      <a:pt x="11440" y="620"/>
                    </a:lnTo>
                    <a:lnTo>
                      <a:pt x="11439" y="600"/>
                    </a:lnTo>
                    <a:lnTo>
                      <a:pt x="11440" y="569"/>
                    </a:lnTo>
                    <a:lnTo>
                      <a:pt x="11442" y="537"/>
                    </a:lnTo>
                    <a:lnTo>
                      <a:pt x="11447" y="508"/>
                    </a:lnTo>
                    <a:lnTo>
                      <a:pt x="11452" y="479"/>
                    </a:lnTo>
                    <a:lnTo>
                      <a:pt x="11455" y="465"/>
                    </a:lnTo>
                    <a:lnTo>
                      <a:pt x="11460" y="450"/>
                    </a:lnTo>
                    <a:lnTo>
                      <a:pt x="11464" y="437"/>
                    </a:lnTo>
                    <a:lnTo>
                      <a:pt x="11469" y="424"/>
                    </a:lnTo>
                    <a:lnTo>
                      <a:pt x="11475" y="412"/>
                    </a:lnTo>
                    <a:lnTo>
                      <a:pt x="11481" y="399"/>
                    </a:lnTo>
                    <a:lnTo>
                      <a:pt x="11488" y="389"/>
                    </a:lnTo>
                    <a:lnTo>
                      <a:pt x="11494" y="377"/>
                    </a:lnTo>
                    <a:lnTo>
                      <a:pt x="11502" y="366"/>
                    </a:lnTo>
                    <a:lnTo>
                      <a:pt x="11511" y="356"/>
                    </a:lnTo>
                    <a:lnTo>
                      <a:pt x="11519" y="346"/>
                    </a:lnTo>
                    <a:lnTo>
                      <a:pt x="11529" y="338"/>
                    </a:lnTo>
                    <a:lnTo>
                      <a:pt x="11539" y="329"/>
                    </a:lnTo>
                    <a:lnTo>
                      <a:pt x="11550" y="321"/>
                    </a:lnTo>
                    <a:lnTo>
                      <a:pt x="11561" y="314"/>
                    </a:lnTo>
                    <a:lnTo>
                      <a:pt x="11573" y="307"/>
                    </a:lnTo>
                    <a:lnTo>
                      <a:pt x="11586" y="302"/>
                    </a:lnTo>
                    <a:lnTo>
                      <a:pt x="11599" y="296"/>
                    </a:lnTo>
                    <a:lnTo>
                      <a:pt x="11613" y="292"/>
                    </a:lnTo>
                    <a:lnTo>
                      <a:pt x="11628" y="288"/>
                    </a:lnTo>
                    <a:lnTo>
                      <a:pt x="11643" y="285"/>
                    </a:lnTo>
                    <a:lnTo>
                      <a:pt x="11659" y="283"/>
                    </a:lnTo>
                    <a:lnTo>
                      <a:pt x="11676" y="282"/>
                    </a:lnTo>
                    <a:lnTo>
                      <a:pt x="11693" y="281"/>
                    </a:lnTo>
                    <a:lnTo>
                      <a:pt x="11707" y="281"/>
                    </a:lnTo>
                    <a:lnTo>
                      <a:pt x="11721" y="282"/>
                    </a:lnTo>
                    <a:lnTo>
                      <a:pt x="11734" y="284"/>
                    </a:lnTo>
                    <a:lnTo>
                      <a:pt x="11747" y="285"/>
                    </a:lnTo>
                    <a:lnTo>
                      <a:pt x="11759" y="289"/>
                    </a:lnTo>
                    <a:lnTo>
                      <a:pt x="11771" y="292"/>
                    </a:lnTo>
                    <a:lnTo>
                      <a:pt x="11782" y="295"/>
                    </a:lnTo>
                    <a:lnTo>
                      <a:pt x="11793" y="300"/>
                    </a:lnTo>
                    <a:lnTo>
                      <a:pt x="11804" y="305"/>
                    </a:lnTo>
                    <a:lnTo>
                      <a:pt x="11813" y="309"/>
                    </a:lnTo>
                    <a:lnTo>
                      <a:pt x="11823" y="316"/>
                    </a:lnTo>
                    <a:lnTo>
                      <a:pt x="11832" y="321"/>
                    </a:lnTo>
                    <a:lnTo>
                      <a:pt x="11841" y="329"/>
                    </a:lnTo>
                    <a:lnTo>
                      <a:pt x="11849" y="335"/>
                    </a:lnTo>
                    <a:lnTo>
                      <a:pt x="11857" y="343"/>
                    </a:lnTo>
                    <a:lnTo>
                      <a:pt x="11863" y="352"/>
                    </a:lnTo>
                    <a:lnTo>
                      <a:pt x="11871" y="359"/>
                    </a:lnTo>
                    <a:lnTo>
                      <a:pt x="11877" y="368"/>
                    </a:lnTo>
                    <a:lnTo>
                      <a:pt x="11883" y="378"/>
                    </a:lnTo>
                    <a:lnTo>
                      <a:pt x="11888" y="388"/>
                    </a:lnTo>
                    <a:lnTo>
                      <a:pt x="11898" y="408"/>
                    </a:lnTo>
                    <a:lnTo>
                      <a:pt x="11907" y="430"/>
                    </a:lnTo>
                    <a:lnTo>
                      <a:pt x="11912" y="453"/>
                    </a:lnTo>
                    <a:lnTo>
                      <a:pt x="11917" y="477"/>
                    </a:lnTo>
                    <a:lnTo>
                      <a:pt x="11920" y="503"/>
                    </a:lnTo>
                    <a:lnTo>
                      <a:pt x="11921" y="529"/>
                    </a:lnTo>
                    <a:lnTo>
                      <a:pt x="11921" y="560"/>
                    </a:lnTo>
                    <a:lnTo>
                      <a:pt x="11545" y="560"/>
                    </a:lnTo>
                    <a:close/>
                    <a:moveTo>
                      <a:pt x="11199" y="947"/>
                    </a:moveTo>
                    <a:lnTo>
                      <a:pt x="11105" y="947"/>
                    </a:lnTo>
                    <a:lnTo>
                      <a:pt x="10859" y="296"/>
                    </a:lnTo>
                    <a:lnTo>
                      <a:pt x="10958" y="296"/>
                    </a:lnTo>
                    <a:lnTo>
                      <a:pt x="11150" y="811"/>
                    </a:lnTo>
                    <a:lnTo>
                      <a:pt x="11153" y="811"/>
                    </a:lnTo>
                    <a:lnTo>
                      <a:pt x="11320" y="296"/>
                    </a:lnTo>
                    <a:lnTo>
                      <a:pt x="11420" y="296"/>
                    </a:lnTo>
                    <a:lnTo>
                      <a:pt x="11199" y="947"/>
                    </a:lnTo>
                    <a:close/>
                    <a:moveTo>
                      <a:pt x="10693" y="947"/>
                    </a:moveTo>
                    <a:lnTo>
                      <a:pt x="10693" y="296"/>
                    </a:lnTo>
                    <a:lnTo>
                      <a:pt x="10785" y="296"/>
                    </a:lnTo>
                    <a:lnTo>
                      <a:pt x="10785" y="947"/>
                    </a:lnTo>
                    <a:lnTo>
                      <a:pt x="10693" y="947"/>
                    </a:lnTo>
                    <a:close/>
                    <a:moveTo>
                      <a:pt x="10677" y="127"/>
                    </a:moveTo>
                    <a:lnTo>
                      <a:pt x="10677" y="4"/>
                    </a:lnTo>
                    <a:lnTo>
                      <a:pt x="10800" y="4"/>
                    </a:lnTo>
                    <a:lnTo>
                      <a:pt x="10800" y="127"/>
                    </a:lnTo>
                    <a:lnTo>
                      <a:pt x="10677" y="127"/>
                    </a:lnTo>
                    <a:close/>
                    <a:moveTo>
                      <a:pt x="10434" y="947"/>
                    </a:moveTo>
                    <a:lnTo>
                      <a:pt x="10434" y="4"/>
                    </a:lnTo>
                    <a:lnTo>
                      <a:pt x="10527" y="4"/>
                    </a:lnTo>
                    <a:lnTo>
                      <a:pt x="10527" y="947"/>
                    </a:lnTo>
                    <a:lnTo>
                      <a:pt x="10434" y="947"/>
                    </a:lnTo>
                    <a:close/>
                    <a:moveTo>
                      <a:pt x="10082" y="359"/>
                    </a:moveTo>
                    <a:lnTo>
                      <a:pt x="10068" y="360"/>
                    </a:lnTo>
                    <a:lnTo>
                      <a:pt x="10055" y="361"/>
                    </a:lnTo>
                    <a:lnTo>
                      <a:pt x="10043" y="365"/>
                    </a:lnTo>
                    <a:lnTo>
                      <a:pt x="10031" y="369"/>
                    </a:lnTo>
                    <a:lnTo>
                      <a:pt x="10019" y="373"/>
                    </a:lnTo>
                    <a:lnTo>
                      <a:pt x="10009" y="380"/>
                    </a:lnTo>
                    <a:lnTo>
                      <a:pt x="9999" y="386"/>
                    </a:lnTo>
                    <a:lnTo>
                      <a:pt x="9991" y="394"/>
                    </a:lnTo>
                    <a:lnTo>
                      <a:pt x="9982" y="403"/>
                    </a:lnTo>
                    <a:lnTo>
                      <a:pt x="9974" y="412"/>
                    </a:lnTo>
                    <a:lnTo>
                      <a:pt x="9968" y="422"/>
                    </a:lnTo>
                    <a:lnTo>
                      <a:pt x="9961" y="433"/>
                    </a:lnTo>
                    <a:lnTo>
                      <a:pt x="9957" y="445"/>
                    </a:lnTo>
                    <a:lnTo>
                      <a:pt x="9951" y="457"/>
                    </a:lnTo>
                    <a:lnTo>
                      <a:pt x="9948" y="469"/>
                    </a:lnTo>
                    <a:lnTo>
                      <a:pt x="9945" y="482"/>
                    </a:lnTo>
                    <a:lnTo>
                      <a:pt x="10206" y="482"/>
                    </a:lnTo>
                    <a:lnTo>
                      <a:pt x="10205" y="469"/>
                    </a:lnTo>
                    <a:lnTo>
                      <a:pt x="10204" y="457"/>
                    </a:lnTo>
                    <a:lnTo>
                      <a:pt x="10201" y="445"/>
                    </a:lnTo>
                    <a:lnTo>
                      <a:pt x="10197" y="433"/>
                    </a:lnTo>
                    <a:lnTo>
                      <a:pt x="10192" y="422"/>
                    </a:lnTo>
                    <a:lnTo>
                      <a:pt x="10186" y="412"/>
                    </a:lnTo>
                    <a:lnTo>
                      <a:pt x="10178" y="403"/>
                    </a:lnTo>
                    <a:lnTo>
                      <a:pt x="10171" y="394"/>
                    </a:lnTo>
                    <a:lnTo>
                      <a:pt x="10162" y="386"/>
                    </a:lnTo>
                    <a:lnTo>
                      <a:pt x="10152" y="380"/>
                    </a:lnTo>
                    <a:lnTo>
                      <a:pt x="10142" y="373"/>
                    </a:lnTo>
                    <a:lnTo>
                      <a:pt x="10132" y="369"/>
                    </a:lnTo>
                    <a:lnTo>
                      <a:pt x="10120" y="365"/>
                    </a:lnTo>
                    <a:lnTo>
                      <a:pt x="10108" y="361"/>
                    </a:lnTo>
                    <a:lnTo>
                      <a:pt x="10095" y="360"/>
                    </a:lnTo>
                    <a:lnTo>
                      <a:pt x="10082" y="359"/>
                    </a:lnTo>
                    <a:close/>
                    <a:moveTo>
                      <a:pt x="9938" y="560"/>
                    </a:moveTo>
                    <a:lnTo>
                      <a:pt x="9938" y="598"/>
                    </a:lnTo>
                    <a:lnTo>
                      <a:pt x="9940" y="625"/>
                    </a:lnTo>
                    <a:lnTo>
                      <a:pt x="9942" y="651"/>
                    </a:lnTo>
                    <a:lnTo>
                      <a:pt x="9946" y="677"/>
                    </a:lnTo>
                    <a:lnTo>
                      <a:pt x="9953" y="703"/>
                    </a:lnTo>
                    <a:lnTo>
                      <a:pt x="9960" y="727"/>
                    </a:lnTo>
                    <a:lnTo>
                      <a:pt x="9970" y="751"/>
                    </a:lnTo>
                    <a:lnTo>
                      <a:pt x="9975" y="763"/>
                    </a:lnTo>
                    <a:lnTo>
                      <a:pt x="9981" y="774"/>
                    </a:lnTo>
                    <a:lnTo>
                      <a:pt x="9987" y="785"/>
                    </a:lnTo>
                    <a:lnTo>
                      <a:pt x="9994" y="795"/>
                    </a:lnTo>
                    <a:lnTo>
                      <a:pt x="10001" y="804"/>
                    </a:lnTo>
                    <a:lnTo>
                      <a:pt x="10009" y="814"/>
                    </a:lnTo>
                    <a:lnTo>
                      <a:pt x="10018" y="823"/>
                    </a:lnTo>
                    <a:lnTo>
                      <a:pt x="10026" y="832"/>
                    </a:lnTo>
                    <a:lnTo>
                      <a:pt x="10035" y="839"/>
                    </a:lnTo>
                    <a:lnTo>
                      <a:pt x="10045" y="847"/>
                    </a:lnTo>
                    <a:lnTo>
                      <a:pt x="10056" y="853"/>
                    </a:lnTo>
                    <a:lnTo>
                      <a:pt x="10066" y="860"/>
                    </a:lnTo>
                    <a:lnTo>
                      <a:pt x="10077" y="865"/>
                    </a:lnTo>
                    <a:lnTo>
                      <a:pt x="10089" y="871"/>
                    </a:lnTo>
                    <a:lnTo>
                      <a:pt x="10101" y="874"/>
                    </a:lnTo>
                    <a:lnTo>
                      <a:pt x="10114" y="878"/>
                    </a:lnTo>
                    <a:lnTo>
                      <a:pt x="10127" y="880"/>
                    </a:lnTo>
                    <a:lnTo>
                      <a:pt x="10140" y="883"/>
                    </a:lnTo>
                    <a:lnTo>
                      <a:pt x="10154" y="884"/>
                    </a:lnTo>
                    <a:lnTo>
                      <a:pt x="10170" y="885"/>
                    </a:lnTo>
                    <a:lnTo>
                      <a:pt x="10186" y="884"/>
                    </a:lnTo>
                    <a:lnTo>
                      <a:pt x="10202" y="883"/>
                    </a:lnTo>
                    <a:lnTo>
                      <a:pt x="10218" y="882"/>
                    </a:lnTo>
                    <a:lnTo>
                      <a:pt x="10235" y="879"/>
                    </a:lnTo>
                    <a:lnTo>
                      <a:pt x="10266" y="874"/>
                    </a:lnTo>
                    <a:lnTo>
                      <a:pt x="10298" y="866"/>
                    </a:lnTo>
                    <a:lnTo>
                      <a:pt x="10298" y="943"/>
                    </a:lnTo>
                    <a:lnTo>
                      <a:pt x="10280" y="948"/>
                    </a:lnTo>
                    <a:lnTo>
                      <a:pt x="10262" y="952"/>
                    </a:lnTo>
                    <a:lnTo>
                      <a:pt x="10243" y="955"/>
                    </a:lnTo>
                    <a:lnTo>
                      <a:pt x="10225" y="959"/>
                    </a:lnTo>
                    <a:lnTo>
                      <a:pt x="10205" y="960"/>
                    </a:lnTo>
                    <a:lnTo>
                      <a:pt x="10187" y="962"/>
                    </a:lnTo>
                    <a:lnTo>
                      <a:pt x="10167" y="962"/>
                    </a:lnTo>
                    <a:lnTo>
                      <a:pt x="10149" y="962"/>
                    </a:lnTo>
                    <a:lnTo>
                      <a:pt x="10128" y="962"/>
                    </a:lnTo>
                    <a:lnTo>
                      <a:pt x="10108" y="961"/>
                    </a:lnTo>
                    <a:lnTo>
                      <a:pt x="10089" y="959"/>
                    </a:lnTo>
                    <a:lnTo>
                      <a:pt x="10071" y="955"/>
                    </a:lnTo>
                    <a:lnTo>
                      <a:pt x="10052" y="951"/>
                    </a:lnTo>
                    <a:lnTo>
                      <a:pt x="10036" y="947"/>
                    </a:lnTo>
                    <a:lnTo>
                      <a:pt x="10020" y="941"/>
                    </a:lnTo>
                    <a:lnTo>
                      <a:pt x="10005" y="935"/>
                    </a:lnTo>
                    <a:lnTo>
                      <a:pt x="9989" y="928"/>
                    </a:lnTo>
                    <a:lnTo>
                      <a:pt x="9975" y="921"/>
                    </a:lnTo>
                    <a:lnTo>
                      <a:pt x="9962" y="912"/>
                    </a:lnTo>
                    <a:lnTo>
                      <a:pt x="9949" y="903"/>
                    </a:lnTo>
                    <a:lnTo>
                      <a:pt x="9937" y="893"/>
                    </a:lnTo>
                    <a:lnTo>
                      <a:pt x="9926" y="883"/>
                    </a:lnTo>
                    <a:lnTo>
                      <a:pt x="9916" y="872"/>
                    </a:lnTo>
                    <a:lnTo>
                      <a:pt x="9906" y="860"/>
                    </a:lnTo>
                    <a:lnTo>
                      <a:pt x="9896" y="848"/>
                    </a:lnTo>
                    <a:lnTo>
                      <a:pt x="9889" y="835"/>
                    </a:lnTo>
                    <a:lnTo>
                      <a:pt x="9880" y="821"/>
                    </a:lnTo>
                    <a:lnTo>
                      <a:pt x="9872" y="807"/>
                    </a:lnTo>
                    <a:lnTo>
                      <a:pt x="9866" y="793"/>
                    </a:lnTo>
                    <a:lnTo>
                      <a:pt x="9860" y="777"/>
                    </a:lnTo>
                    <a:lnTo>
                      <a:pt x="9855" y="762"/>
                    </a:lnTo>
                    <a:lnTo>
                      <a:pt x="9849" y="746"/>
                    </a:lnTo>
                    <a:lnTo>
                      <a:pt x="9845" y="728"/>
                    </a:lnTo>
                    <a:lnTo>
                      <a:pt x="9842" y="711"/>
                    </a:lnTo>
                    <a:lnTo>
                      <a:pt x="9839" y="694"/>
                    </a:lnTo>
                    <a:lnTo>
                      <a:pt x="9836" y="676"/>
                    </a:lnTo>
                    <a:lnTo>
                      <a:pt x="9834" y="658"/>
                    </a:lnTo>
                    <a:lnTo>
                      <a:pt x="9833" y="638"/>
                    </a:lnTo>
                    <a:lnTo>
                      <a:pt x="9832" y="620"/>
                    </a:lnTo>
                    <a:lnTo>
                      <a:pt x="9832" y="600"/>
                    </a:lnTo>
                    <a:lnTo>
                      <a:pt x="9832" y="569"/>
                    </a:lnTo>
                    <a:lnTo>
                      <a:pt x="9835" y="537"/>
                    </a:lnTo>
                    <a:lnTo>
                      <a:pt x="9839" y="508"/>
                    </a:lnTo>
                    <a:lnTo>
                      <a:pt x="9845" y="479"/>
                    </a:lnTo>
                    <a:lnTo>
                      <a:pt x="9848" y="465"/>
                    </a:lnTo>
                    <a:lnTo>
                      <a:pt x="9853" y="450"/>
                    </a:lnTo>
                    <a:lnTo>
                      <a:pt x="9857" y="437"/>
                    </a:lnTo>
                    <a:lnTo>
                      <a:pt x="9861" y="424"/>
                    </a:lnTo>
                    <a:lnTo>
                      <a:pt x="9868" y="412"/>
                    </a:lnTo>
                    <a:lnTo>
                      <a:pt x="9873" y="399"/>
                    </a:lnTo>
                    <a:lnTo>
                      <a:pt x="9880" y="389"/>
                    </a:lnTo>
                    <a:lnTo>
                      <a:pt x="9887" y="377"/>
                    </a:lnTo>
                    <a:lnTo>
                      <a:pt x="9895" y="366"/>
                    </a:lnTo>
                    <a:lnTo>
                      <a:pt x="9904" y="356"/>
                    </a:lnTo>
                    <a:lnTo>
                      <a:pt x="9912" y="346"/>
                    </a:lnTo>
                    <a:lnTo>
                      <a:pt x="9921" y="338"/>
                    </a:lnTo>
                    <a:lnTo>
                      <a:pt x="9932" y="329"/>
                    </a:lnTo>
                    <a:lnTo>
                      <a:pt x="9943" y="321"/>
                    </a:lnTo>
                    <a:lnTo>
                      <a:pt x="9954" y="314"/>
                    </a:lnTo>
                    <a:lnTo>
                      <a:pt x="9966" y="307"/>
                    </a:lnTo>
                    <a:lnTo>
                      <a:pt x="9979" y="302"/>
                    </a:lnTo>
                    <a:lnTo>
                      <a:pt x="9992" y="296"/>
                    </a:lnTo>
                    <a:lnTo>
                      <a:pt x="10006" y="292"/>
                    </a:lnTo>
                    <a:lnTo>
                      <a:pt x="10020" y="288"/>
                    </a:lnTo>
                    <a:lnTo>
                      <a:pt x="10036" y="285"/>
                    </a:lnTo>
                    <a:lnTo>
                      <a:pt x="10051" y="283"/>
                    </a:lnTo>
                    <a:lnTo>
                      <a:pt x="10069" y="282"/>
                    </a:lnTo>
                    <a:lnTo>
                      <a:pt x="10086" y="281"/>
                    </a:lnTo>
                    <a:lnTo>
                      <a:pt x="10100" y="281"/>
                    </a:lnTo>
                    <a:lnTo>
                      <a:pt x="10113" y="282"/>
                    </a:lnTo>
                    <a:lnTo>
                      <a:pt x="10127" y="284"/>
                    </a:lnTo>
                    <a:lnTo>
                      <a:pt x="10139" y="285"/>
                    </a:lnTo>
                    <a:lnTo>
                      <a:pt x="10151" y="289"/>
                    </a:lnTo>
                    <a:lnTo>
                      <a:pt x="10163" y="292"/>
                    </a:lnTo>
                    <a:lnTo>
                      <a:pt x="10175" y="295"/>
                    </a:lnTo>
                    <a:lnTo>
                      <a:pt x="10186" y="300"/>
                    </a:lnTo>
                    <a:lnTo>
                      <a:pt x="10196" y="305"/>
                    </a:lnTo>
                    <a:lnTo>
                      <a:pt x="10205" y="309"/>
                    </a:lnTo>
                    <a:lnTo>
                      <a:pt x="10215" y="316"/>
                    </a:lnTo>
                    <a:lnTo>
                      <a:pt x="10225" y="321"/>
                    </a:lnTo>
                    <a:lnTo>
                      <a:pt x="10234" y="329"/>
                    </a:lnTo>
                    <a:lnTo>
                      <a:pt x="10241" y="335"/>
                    </a:lnTo>
                    <a:lnTo>
                      <a:pt x="10249" y="343"/>
                    </a:lnTo>
                    <a:lnTo>
                      <a:pt x="10256" y="352"/>
                    </a:lnTo>
                    <a:lnTo>
                      <a:pt x="10263" y="359"/>
                    </a:lnTo>
                    <a:lnTo>
                      <a:pt x="10269" y="368"/>
                    </a:lnTo>
                    <a:lnTo>
                      <a:pt x="10276" y="378"/>
                    </a:lnTo>
                    <a:lnTo>
                      <a:pt x="10281" y="388"/>
                    </a:lnTo>
                    <a:lnTo>
                      <a:pt x="10291" y="408"/>
                    </a:lnTo>
                    <a:lnTo>
                      <a:pt x="10299" y="430"/>
                    </a:lnTo>
                    <a:lnTo>
                      <a:pt x="10305" y="453"/>
                    </a:lnTo>
                    <a:lnTo>
                      <a:pt x="10310" y="477"/>
                    </a:lnTo>
                    <a:lnTo>
                      <a:pt x="10312" y="503"/>
                    </a:lnTo>
                    <a:lnTo>
                      <a:pt x="10313" y="529"/>
                    </a:lnTo>
                    <a:lnTo>
                      <a:pt x="10313" y="560"/>
                    </a:lnTo>
                    <a:lnTo>
                      <a:pt x="9938" y="560"/>
                    </a:lnTo>
                    <a:close/>
                    <a:moveTo>
                      <a:pt x="9470" y="113"/>
                    </a:moveTo>
                    <a:lnTo>
                      <a:pt x="9451" y="107"/>
                    </a:lnTo>
                    <a:lnTo>
                      <a:pt x="9433" y="102"/>
                    </a:lnTo>
                    <a:lnTo>
                      <a:pt x="9413" y="99"/>
                    </a:lnTo>
                    <a:lnTo>
                      <a:pt x="9394" y="97"/>
                    </a:lnTo>
                    <a:lnTo>
                      <a:pt x="9355" y="93"/>
                    </a:lnTo>
                    <a:lnTo>
                      <a:pt x="9316" y="92"/>
                    </a:lnTo>
                    <a:lnTo>
                      <a:pt x="9255" y="92"/>
                    </a:lnTo>
                    <a:lnTo>
                      <a:pt x="9255" y="859"/>
                    </a:lnTo>
                    <a:lnTo>
                      <a:pt x="9328" y="859"/>
                    </a:lnTo>
                    <a:lnTo>
                      <a:pt x="9348" y="858"/>
                    </a:lnTo>
                    <a:lnTo>
                      <a:pt x="9369" y="858"/>
                    </a:lnTo>
                    <a:lnTo>
                      <a:pt x="9388" y="855"/>
                    </a:lnTo>
                    <a:lnTo>
                      <a:pt x="9409" y="853"/>
                    </a:lnTo>
                    <a:lnTo>
                      <a:pt x="9430" y="850"/>
                    </a:lnTo>
                    <a:lnTo>
                      <a:pt x="9449" y="846"/>
                    </a:lnTo>
                    <a:lnTo>
                      <a:pt x="9469" y="840"/>
                    </a:lnTo>
                    <a:lnTo>
                      <a:pt x="9488" y="833"/>
                    </a:lnTo>
                    <a:lnTo>
                      <a:pt x="9500" y="826"/>
                    </a:lnTo>
                    <a:lnTo>
                      <a:pt x="9511" y="820"/>
                    </a:lnTo>
                    <a:lnTo>
                      <a:pt x="9522" y="813"/>
                    </a:lnTo>
                    <a:lnTo>
                      <a:pt x="9532" y="804"/>
                    </a:lnTo>
                    <a:lnTo>
                      <a:pt x="9541" y="797"/>
                    </a:lnTo>
                    <a:lnTo>
                      <a:pt x="9550" y="788"/>
                    </a:lnTo>
                    <a:lnTo>
                      <a:pt x="9558" y="778"/>
                    </a:lnTo>
                    <a:lnTo>
                      <a:pt x="9565" y="769"/>
                    </a:lnTo>
                    <a:lnTo>
                      <a:pt x="9573" y="759"/>
                    </a:lnTo>
                    <a:lnTo>
                      <a:pt x="9579" y="748"/>
                    </a:lnTo>
                    <a:lnTo>
                      <a:pt x="9585" y="737"/>
                    </a:lnTo>
                    <a:lnTo>
                      <a:pt x="9591" y="725"/>
                    </a:lnTo>
                    <a:lnTo>
                      <a:pt x="9601" y="702"/>
                    </a:lnTo>
                    <a:lnTo>
                      <a:pt x="9609" y="677"/>
                    </a:lnTo>
                    <a:lnTo>
                      <a:pt x="9615" y="652"/>
                    </a:lnTo>
                    <a:lnTo>
                      <a:pt x="9621" y="626"/>
                    </a:lnTo>
                    <a:lnTo>
                      <a:pt x="9624" y="600"/>
                    </a:lnTo>
                    <a:lnTo>
                      <a:pt x="9627" y="574"/>
                    </a:lnTo>
                    <a:lnTo>
                      <a:pt x="9629" y="548"/>
                    </a:lnTo>
                    <a:lnTo>
                      <a:pt x="9630" y="523"/>
                    </a:lnTo>
                    <a:lnTo>
                      <a:pt x="9631" y="498"/>
                    </a:lnTo>
                    <a:lnTo>
                      <a:pt x="9631" y="474"/>
                    </a:lnTo>
                    <a:lnTo>
                      <a:pt x="9631" y="448"/>
                    </a:lnTo>
                    <a:lnTo>
                      <a:pt x="9630" y="422"/>
                    </a:lnTo>
                    <a:lnTo>
                      <a:pt x="9629" y="396"/>
                    </a:lnTo>
                    <a:lnTo>
                      <a:pt x="9627" y="369"/>
                    </a:lnTo>
                    <a:lnTo>
                      <a:pt x="9624" y="342"/>
                    </a:lnTo>
                    <a:lnTo>
                      <a:pt x="9619" y="315"/>
                    </a:lnTo>
                    <a:lnTo>
                      <a:pt x="9613" y="289"/>
                    </a:lnTo>
                    <a:lnTo>
                      <a:pt x="9605" y="264"/>
                    </a:lnTo>
                    <a:lnTo>
                      <a:pt x="9601" y="251"/>
                    </a:lnTo>
                    <a:lnTo>
                      <a:pt x="9597" y="239"/>
                    </a:lnTo>
                    <a:lnTo>
                      <a:pt x="9591" y="227"/>
                    </a:lnTo>
                    <a:lnTo>
                      <a:pt x="9586" y="215"/>
                    </a:lnTo>
                    <a:lnTo>
                      <a:pt x="9579" y="204"/>
                    </a:lnTo>
                    <a:lnTo>
                      <a:pt x="9573" y="193"/>
                    </a:lnTo>
                    <a:lnTo>
                      <a:pt x="9565" y="182"/>
                    </a:lnTo>
                    <a:lnTo>
                      <a:pt x="9558" y="173"/>
                    </a:lnTo>
                    <a:lnTo>
                      <a:pt x="9549" y="163"/>
                    </a:lnTo>
                    <a:lnTo>
                      <a:pt x="9539" y="154"/>
                    </a:lnTo>
                    <a:lnTo>
                      <a:pt x="9529" y="145"/>
                    </a:lnTo>
                    <a:lnTo>
                      <a:pt x="9520" y="138"/>
                    </a:lnTo>
                    <a:lnTo>
                      <a:pt x="9508" y="131"/>
                    </a:lnTo>
                    <a:lnTo>
                      <a:pt x="9496" y="125"/>
                    </a:lnTo>
                    <a:lnTo>
                      <a:pt x="9484" y="118"/>
                    </a:lnTo>
                    <a:lnTo>
                      <a:pt x="9470" y="113"/>
                    </a:lnTo>
                    <a:close/>
                    <a:moveTo>
                      <a:pt x="9523" y="922"/>
                    </a:moveTo>
                    <a:lnTo>
                      <a:pt x="9499" y="928"/>
                    </a:lnTo>
                    <a:lnTo>
                      <a:pt x="9475" y="935"/>
                    </a:lnTo>
                    <a:lnTo>
                      <a:pt x="9450" y="939"/>
                    </a:lnTo>
                    <a:lnTo>
                      <a:pt x="9426" y="942"/>
                    </a:lnTo>
                    <a:lnTo>
                      <a:pt x="9401" y="945"/>
                    </a:lnTo>
                    <a:lnTo>
                      <a:pt x="9376" y="947"/>
                    </a:lnTo>
                    <a:lnTo>
                      <a:pt x="9351" y="947"/>
                    </a:lnTo>
                    <a:lnTo>
                      <a:pt x="9326" y="947"/>
                    </a:lnTo>
                    <a:lnTo>
                      <a:pt x="9149" y="947"/>
                    </a:lnTo>
                    <a:lnTo>
                      <a:pt x="9149" y="4"/>
                    </a:lnTo>
                    <a:lnTo>
                      <a:pt x="9360" y="4"/>
                    </a:lnTo>
                    <a:lnTo>
                      <a:pt x="9388" y="4"/>
                    </a:lnTo>
                    <a:lnTo>
                      <a:pt x="9414" y="6"/>
                    </a:lnTo>
                    <a:lnTo>
                      <a:pt x="9440" y="9"/>
                    </a:lnTo>
                    <a:lnTo>
                      <a:pt x="9464" y="13"/>
                    </a:lnTo>
                    <a:lnTo>
                      <a:pt x="9487" y="17"/>
                    </a:lnTo>
                    <a:lnTo>
                      <a:pt x="9509" y="24"/>
                    </a:lnTo>
                    <a:lnTo>
                      <a:pt x="9529" y="30"/>
                    </a:lnTo>
                    <a:lnTo>
                      <a:pt x="9549" y="39"/>
                    </a:lnTo>
                    <a:lnTo>
                      <a:pt x="9567" y="48"/>
                    </a:lnTo>
                    <a:lnTo>
                      <a:pt x="9585" y="57"/>
                    </a:lnTo>
                    <a:lnTo>
                      <a:pt x="9601" y="68"/>
                    </a:lnTo>
                    <a:lnTo>
                      <a:pt x="9616" y="80"/>
                    </a:lnTo>
                    <a:lnTo>
                      <a:pt x="9630" y="93"/>
                    </a:lnTo>
                    <a:lnTo>
                      <a:pt x="9643" y="106"/>
                    </a:lnTo>
                    <a:lnTo>
                      <a:pt x="9656" y="121"/>
                    </a:lnTo>
                    <a:lnTo>
                      <a:pt x="9667" y="136"/>
                    </a:lnTo>
                    <a:lnTo>
                      <a:pt x="9678" y="152"/>
                    </a:lnTo>
                    <a:lnTo>
                      <a:pt x="9688" y="169"/>
                    </a:lnTo>
                    <a:lnTo>
                      <a:pt x="9696" y="187"/>
                    </a:lnTo>
                    <a:lnTo>
                      <a:pt x="9705" y="205"/>
                    </a:lnTo>
                    <a:lnTo>
                      <a:pt x="9712" y="224"/>
                    </a:lnTo>
                    <a:lnTo>
                      <a:pt x="9718" y="243"/>
                    </a:lnTo>
                    <a:lnTo>
                      <a:pt x="9725" y="264"/>
                    </a:lnTo>
                    <a:lnTo>
                      <a:pt x="9729" y="284"/>
                    </a:lnTo>
                    <a:lnTo>
                      <a:pt x="9733" y="306"/>
                    </a:lnTo>
                    <a:lnTo>
                      <a:pt x="9738" y="329"/>
                    </a:lnTo>
                    <a:lnTo>
                      <a:pt x="9741" y="351"/>
                    </a:lnTo>
                    <a:lnTo>
                      <a:pt x="9743" y="374"/>
                    </a:lnTo>
                    <a:lnTo>
                      <a:pt x="9745" y="398"/>
                    </a:lnTo>
                    <a:lnTo>
                      <a:pt x="9746" y="422"/>
                    </a:lnTo>
                    <a:lnTo>
                      <a:pt x="9747" y="447"/>
                    </a:lnTo>
                    <a:lnTo>
                      <a:pt x="9747" y="472"/>
                    </a:lnTo>
                    <a:lnTo>
                      <a:pt x="9746" y="507"/>
                    </a:lnTo>
                    <a:lnTo>
                      <a:pt x="9745" y="541"/>
                    </a:lnTo>
                    <a:lnTo>
                      <a:pt x="9743" y="575"/>
                    </a:lnTo>
                    <a:lnTo>
                      <a:pt x="9739" y="609"/>
                    </a:lnTo>
                    <a:lnTo>
                      <a:pt x="9733" y="643"/>
                    </a:lnTo>
                    <a:lnTo>
                      <a:pt x="9727" y="676"/>
                    </a:lnTo>
                    <a:lnTo>
                      <a:pt x="9723" y="693"/>
                    </a:lnTo>
                    <a:lnTo>
                      <a:pt x="9718" y="709"/>
                    </a:lnTo>
                    <a:lnTo>
                      <a:pt x="9713" y="724"/>
                    </a:lnTo>
                    <a:lnTo>
                      <a:pt x="9707" y="739"/>
                    </a:lnTo>
                    <a:lnTo>
                      <a:pt x="9701" y="755"/>
                    </a:lnTo>
                    <a:lnTo>
                      <a:pt x="9693" y="770"/>
                    </a:lnTo>
                    <a:lnTo>
                      <a:pt x="9687" y="784"/>
                    </a:lnTo>
                    <a:lnTo>
                      <a:pt x="9678" y="798"/>
                    </a:lnTo>
                    <a:lnTo>
                      <a:pt x="9669" y="811"/>
                    </a:lnTo>
                    <a:lnTo>
                      <a:pt x="9660" y="824"/>
                    </a:lnTo>
                    <a:lnTo>
                      <a:pt x="9650" y="837"/>
                    </a:lnTo>
                    <a:lnTo>
                      <a:pt x="9639" y="849"/>
                    </a:lnTo>
                    <a:lnTo>
                      <a:pt x="9627" y="860"/>
                    </a:lnTo>
                    <a:lnTo>
                      <a:pt x="9615" y="871"/>
                    </a:lnTo>
                    <a:lnTo>
                      <a:pt x="9602" y="882"/>
                    </a:lnTo>
                    <a:lnTo>
                      <a:pt x="9588" y="890"/>
                    </a:lnTo>
                    <a:lnTo>
                      <a:pt x="9573" y="899"/>
                    </a:lnTo>
                    <a:lnTo>
                      <a:pt x="9558" y="908"/>
                    </a:lnTo>
                    <a:lnTo>
                      <a:pt x="9540" y="915"/>
                    </a:lnTo>
                    <a:lnTo>
                      <a:pt x="9523" y="922"/>
                    </a:lnTo>
                    <a:close/>
                    <a:moveTo>
                      <a:pt x="8639" y="947"/>
                    </a:moveTo>
                    <a:lnTo>
                      <a:pt x="8639" y="811"/>
                    </a:lnTo>
                    <a:lnTo>
                      <a:pt x="8775" y="811"/>
                    </a:lnTo>
                    <a:lnTo>
                      <a:pt x="8775" y="947"/>
                    </a:lnTo>
                    <a:lnTo>
                      <a:pt x="8639" y="947"/>
                    </a:lnTo>
                    <a:close/>
                    <a:moveTo>
                      <a:pt x="8333" y="359"/>
                    </a:moveTo>
                    <a:lnTo>
                      <a:pt x="8318" y="360"/>
                    </a:lnTo>
                    <a:lnTo>
                      <a:pt x="8305" y="361"/>
                    </a:lnTo>
                    <a:lnTo>
                      <a:pt x="8292" y="365"/>
                    </a:lnTo>
                    <a:lnTo>
                      <a:pt x="8282" y="369"/>
                    </a:lnTo>
                    <a:lnTo>
                      <a:pt x="8270" y="373"/>
                    </a:lnTo>
                    <a:lnTo>
                      <a:pt x="8260" y="380"/>
                    </a:lnTo>
                    <a:lnTo>
                      <a:pt x="8250" y="386"/>
                    </a:lnTo>
                    <a:lnTo>
                      <a:pt x="8241" y="394"/>
                    </a:lnTo>
                    <a:lnTo>
                      <a:pt x="8233" y="403"/>
                    </a:lnTo>
                    <a:lnTo>
                      <a:pt x="8225" y="412"/>
                    </a:lnTo>
                    <a:lnTo>
                      <a:pt x="8219" y="422"/>
                    </a:lnTo>
                    <a:lnTo>
                      <a:pt x="8212" y="433"/>
                    </a:lnTo>
                    <a:lnTo>
                      <a:pt x="8207" y="445"/>
                    </a:lnTo>
                    <a:lnTo>
                      <a:pt x="8202" y="457"/>
                    </a:lnTo>
                    <a:lnTo>
                      <a:pt x="8199" y="469"/>
                    </a:lnTo>
                    <a:lnTo>
                      <a:pt x="8196" y="482"/>
                    </a:lnTo>
                    <a:lnTo>
                      <a:pt x="8457" y="482"/>
                    </a:lnTo>
                    <a:lnTo>
                      <a:pt x="8456" y="469"/>
                    </a:lnTo>
                    <a:lnTo>
                      <a:pt x="8455" y="457"/>
                    </a:lnTo>
                    <a:lnTo>
                      <a:pt x="8452" y="445"/>
                    </a:lnTo>
                    <a:lnTo>
                      <a:pt x="8448" y="433"/>
                    </a:lnTo>
                    <a:lnTo>
                      <a:pt x="8442" y="422"/>
                    </a:lnTo>
                    <a:lnTo>
                      <a:pt x="8437" y="412"/>
                    </a:lnTo>
                    <a:lnTo>
                      <a:pt x="8429" y="403"/>
                    </a:lnTo>
                    <a:lnTo>
                      <a:pt x="8422" y="394"/>
                    </a:lnTo>
                    <a:lnTo>
                      <a:pt x="8413" y="386"/>
                    </a:lnTo>
                    <a:lnTo>
                      <a:pt x="8403" y="380"/>
                    </a:lnTo>
                    <a:lnTo>
                      <a:pt x="8393" y="373"/>
                    </a:lnTo>
                    <a:lnTo>
                      <a:pt x="8382" y="369"/>
                    </a:lnTo>
                    <a:lnTo>
                      <a:pt x="8371" y="365"/>
                    </a:lnTo>
                    <a:lnTo>
                      <a:pt x="8359" y="361"/>
                    </a:lnTo>
                    <a:lnTo>
                      <a:pt x="8346" y="360"/>
                    </a:lnTo>
                    <a:lnTo>
                      <a:pt x="8333" y="359"/>
                    </a:lnTo>
                    <a:close/>
                    <a:moveTo>
                      <a:pt x="8189" y="560"/>
                    </a:moveTo>
                    <a:lnTo>
                      <a:pt x="8189" y="598"/>
                    </a:lnTo>
                    <a:lnTo>
                      <a:pt x="8190" y="625"/>
                    </a:lnTo>
                    <a:lnTo>
                      <a:pt x="8193" y="651"/>
                    </a:lnTo>
                    <a:lnTo>
                      <a:pt x="8197" y="677"/>
                    </a:lnTo>
                    <a:lnTo>
                      <a:pt x="8202" y="703"/>
                    </a:lnTo>
                    <a:lnTo>
                      <a:pt x="8211" y="727"/>
                    </a:lnTo>
                    <a:lnTo>
                      <a:pt x="8220" y="751"/>
                    </a:lnTo>
                    <a:lnTo>
                      <a:pt x="8225" y="763"/>
                    </a:lnTo>
                    <a:lnTo>
                      <a:pt x="8232" y="774"/>
                    </a:lnTo>
                    <a:lnTo>
                      <a:pt x="8238" y="785"/>
                    </a:lnTo>
                    <a:lnTo>
                      <a:pt x="8245" y="795"/>
                    </a:lnTo>
                    <a:lnTo>
                      <a:pt x="8252" y="804"/>
                    </a:lnTo>
                    <a:lnTo>
                      <a:pt x="8260" y="814"/>
                    </a:lnTo>
                    <a:lnTo>
                      <a:pt x="8269" y="823"/>
                    </a:lnTo>
                    <a:lnTo>
                      <a:pt x="8277" y="832"/>
                    </a:lnTo>
                    <a:lnTo>
                      <a:pt x="8286" y="839"/>
                    </a:lnTo>
                    <a:lnTo>
                      <a:pt x="8296" y="847"/>
                    </a:lnTo>
                    <a:lnTo>
                      <a:pt x="8306" y="853"/>
                    </a:lnTo>
                    <a:lnTo>
                      <a:pt x="8316" y="860"/>
                    </a:lnTo>
                    <a:lnTo>
                      <a:pt x="8328" y="865"/>
                    </a:lnTo>
                    <a:lnTo>
                      <a:pt x="8339" y="871"/>
                    </a:lnTo>
                    <a:lnTo>
                      <a:pt x="8352" y="874"/>
                    </a:lnTo>
                    <a:lnTo>
                      <a:pt x="8364" y="878"/>
                    </a:lnTo>
                    <a:lnTo>
                      <a:pt x="8378" y="880"/>
                    </a:lnTo>
                    <a:lnTo>
                      <a:pt x="8391" y="883"/>
                    </a:lnTo>
                    <a:lnTo>
                      <a:pt x="8405" y="884"/>
                    </a:lnTo>
                    <a:lnTo>
                      <a:pt x="8420" y="885"/>
                    </a:lnTo>
                    <a:lnTo>
                      <a:pt x="8437" y="884"/>
                    </a:lnTo>
                    <a:lnTo>
                      <a:pt x="8453" y="883"/>
                    </a:lnTo>
                    <a:lnTo>
                      <a:pt x="8469" y="882"/>
                    </a:lnTo>
                    <a:lnTo>
                      <a:pt x="8486" y="879"/>
                    </a:lnTo>
                    <a:lnTo>
                      <a:pt x="8517" y="874"/>
                    </a:lnTo>
                    <a:lnTo>
                      <a:pt x="8548" y="866"/>
                    </a:lnTo>
                    <a:lnTo>
                      <a:pt x="8548" y="943"/>
                    </a:lnTo>
                    <a:lnTo>
                      <a:pt x="8531" y="948"/>
                    </a:lnTo>
                    <a:lnTo>
                      <a:pt x="8513" y="952"/>
                    </a:lnTo>
                    <a:lnTo>
                      <a:pt x="8494" y="955"/>
                    </a:lnTo>
                    <a:lnTo>
                      <a:pt x="8475" y="959"/>
                    </a:lnTo>
                    <a:lnTo>
                      <a:pt x="8456" y="960"/>
                    </a:lnTo>
                    <a:lnTo>
                      <a:pt x="8438" y="962"/>
                    </a:lnTo>
                    <a:lnTo>
                      <a:pt x="8418" y="962"/>
                    </a:lnTo>
                    <a:lnTo>
                      <a:pt x="8400" y="962"/>
                    </a:lnTo>
                    <a:lnTo>
                      <a:pt x="8379" y="962"/>
                    </a:lnTo>
                    <a:lnTo>
                      <a:pt x="8359" y="961"/>
                    </a:lnTo>
                    <a:lnTo>
                      <a:pt x="8340" y="959"/>
                    </a:lnTo>
                    <a:lnTo>
                      <a:pt x="8322" y="955"/>
                    </a:lnTo>
                    <a:lnTo>
                      <a:pt x="8303" y="951"/>
                    </a:lnTo>
                    <a:lnTo>
                      <a:pt x="8287" y="947"/>
                    </a:lnTo>
                    <a:lnTo>
                      <a:pt x="8271" y="941"/>
                    </a:lnTo>
                    <a:lnTo>
                      <a:pt x="8256" y="935"/>
                    </a:lnTo>
                    <a:lnTo>
                      <a:pt x="8240" y="928"/>
                    </a:lnTo>
                    <a:lnTo>
                      <a:pt x="8226" y="921"/>
                    </a:lnTo>
                    <a:lnTo>
                      <a:pt x="8213" y="912"/>
                    </a:lnTo>
                    <a:lnTo>
                      <a:pt x="8200" y="903"/>
                    </a:lnTo>
                    <a:lnTo>
                      <a:pt x="8188" y="893"/>
                    </a:lnTo>
                    <a:lnTo>
                      <a:pt x="8177" y="883"/>
                    </a:lnTo>
                    <a:lnTo>
                      <a:pt x="8167" y="872"/>
                    </a:lnTo>
                    <a:lnTo>
                      <a:pt x="8157" y="860"/>
                    </a:lnTo>
                    <a:lnTo>
                      <a:pt x="8147" y="848"/>
                    </a:lnTo>
                    <a:lnTo>
                      <a:pt x="8138" y="835"/>
                    </a:lnTo>
                    <a:lnTo>
                      <a:pt x="8131" y="821"/>
                    </a:lnTo>
                    <a:lnTo>
                      <a:pt x="8123" y="807"/>
                    </a:lnTo>
                    <a:lnTo>
                      <a:pt x="8117" y="793"/>
                    </a:lnTo>
                    <a:lnTo>
                      <a:pt x="8111" y="777"/>
                    </a:lnTo>
                    <a:lnTo>
                      <a:pt x="8106" y="762"/>
                    </a:lnTo>
                    <a:lnTo>
                      <a:pt x="8100" y="746"/>
                    </a:lnTo>
                    <a:lnTo>
                      <a:pt x="8096" y="728"/>
                    </a:lnTo>
                    <a:lnTo>
                      <a:pt x="8093" y="711"/>
                    </a:lnTo>
                    <a:lnTo>
                      <a:pt x="8089" y="694"/>
                    </a:lnTo>
                    <a:lnTo>
                      <a:pt x="8087" y="676"/>
                    </a:lnTo>
                    <a:lnTo>
                      <a:pt x="8085" y="658"/>
                    </a:lnTo>
                    <a:lnTo>
                      <a:pt x="8084" y="638"/>
                    </a:lnTo>
                    <a:lnTo>
                      <a:pt x="8083" y="620"/>
                    </a:lnTo>
                    <a:lnTo>
                      <a:pt x="8083" y="600"/>
                    </a:lnTo>
                    <a:lnTo>
                      <a:pt x="8083" y="569"/>
                    </a:lnTo>
                    <a:lnTo>
                      <a:pt x="8086" y="537"/>
                    </a:lnTo>
                    <a:lnTo>
                      <a:pt x="8089" y="508"/>
                    </a:lnTo>
                    <a:lnTo>
                      <a:pt x="8096" y="479"/>
                    </a:lnTo>
                    <a:lnTo>
                      <a:pt x="8099" y="465"/>
                    </a:lnTo>
                    <a:lnTo>
                      <a:pt x="8104" y="450"/>
                    </a:lnTo>
                    <a:lnTo>
                      <a:pt x="8108" y="437"/>
                    </a:lnTo>
                    <a:lnTo>
                      <a:pt x="8112" y="424"/>
                    </a:lnTo>
                    <a:lnTo>
                      <a:pt x="8118" y="412"/>
                    </a:lnTo>
                    <a:lnTo>
                      <a:pt x="8124" y="399"/>
                    </a:lnTo>
                    <a:lnTo>
                      <a:pt x="8131" y="389"/>
                    </a:lnTo>
                    <a:lnTo>
                      <a:pt x="8138" y="377"/>
                    </a:lnTo>
                    <a:lnTo>
                      <a:pt x="8146" y="366"/>
                    </a:lnTo>
                    <a:lnTo>
                      <a:pt x="8154" y="356"/>
                    </a:lnTo>
                    <a:lnTo>
                      <a:pt x="8163" y="346"/>
                    </a:lnTo>
                    <a:lnTo>
                      <a:pt x="8172" y="338"/>
                    </a:lnTo>
                    <a:lnTo>
                      <a:pt x="8183" y="329"/>
                    </a:lnTo>
                    <a:lnTo>
                      <a:pt x="8193" y="321"/>
                    </a:lnTo>
                    <a:lnTo>
                      <a:pt x="8205" y="314"/>
                    </a:lnTo>
                    <a:lnTo>
                      <a:pt x="8216" y="307"/>
                    </a:lnTo>
                    <a:lnTo>
                      <a:pt x="8229" y="302"/>
                    </a:lnTo>
                    <a:lnTo>
                      <a:pt x="8242" y="296"/>
                    </a:lnTo>
                    <a:lnTo>
                      <a:pt x="8257" y="292"/>
                    </a:lnTo>
                    <a:lnTo>
                      <a:pt x="8271" y="288"/>
                    </a:lnTo>
                    <a:lnTo>
                      <a:pt x="8286" y="285"/>
                    </a:lnTo>
                    <a:lnTo>
                      <a:pt x="8302" y="283"/>
                    </a:lnTo>
                    <a:lnTo>
                      <a:pt x="8320" y="282"/>
                    </a:lnTo>
                    <a:lnTo>
                      <a:pt x="8337" y="281"/>
                    </a:lnTo>
                    <a:lnTo>
                      <a:pt x="8351" y="281"/>
                    </a:lnTo>
                    <a:lnTo>
                      <a:pt x="8364" y="282"/>
                    </a:lnTo>
                    <a:lnTo>
                      <a:pt x="8377" y="284"/>
                    </a:lnTo>
                    <a:lnTo>
                      <a:pt x="8390" y="285"/>
                    </a:lnTo>
                    <a:lnTo>
                      <a:pt x="8402" y="289"/>
                    </a:lnTo>
                    <a:lnTo>
                      <a:pt x="8414" y="292"/>
                    </a:lnTo>
                    <a:lnTo>
                      <a:pt x="8426" y="295"/>
                    </a:lnTo>
                    <a:lnTo>
                      <a:pt x="8437" y="300"/>
                    </a:lnTo>
                    <a:lnTo>
                      <a:pt x="8446" y="305"/>
                    </a:lnTo>
                    <a:lnTo>
                      <a:pt x="8456" y="309"/>
                    </a:lnTo>
                    <a:lnTo>
                      <a:pt x="8466" y="316"/>
                    </a:lnTo>
                    <a:lnTo>
                      <a:pt x="8476" y="321"/>
                    </a:lnTo>
                    <a:lnTo>
                      <a:pt x="8484" y="329"/>
                    </a:lnTo>
                    <a:lnTo>
                      <a:pt x="8492" y="335"/>
                    </a:lnTo>
                    <a:lnTo>
                      <a:pt x="8500" y="343"/>
                    </a:lnTo>
                    <a:lnTo>
                      <a:pt x="8507" y="352"/>
                    </a:lnTo>
                    <a:lnTo>
                      <a:pt x="8514" y="359"/>
                    </a:lnTo>
                    <a:lnTo>
                      <a:pt x="8520" y="368"/>
                    </a:lnTo>
                    <a:lnTo>
                      <a:pt x="8527" y="378"/>
                    </a:lnTo>
                    <a:lnTo>
                      <a:pt x="8532" y="388"/>
                    </a:lnTo>
                    <a:lnTo>
                      <a:pt x="8542" y="408"/>
                    </a:lnTo>
                    <a:lnTo>
                      <a:pt x="8550" y="430"/>
                    </a:lnTo>
                    <a:lnTo>
                      <a:pt x="8556" y="453"/>
                    </a:lnTo>
                    <a:lnTo>
                      <a:pt x="8560" y="477"/>
                    </a:lnTo>
                    <a:lnTo>
                      <a:pt x="8563" y="503"/>
                    </a:lnTo>
                    <a:lnTo>
                      <a:pt x="8564" y="529"/>
                    </a:lnTo>
                    <a:lnTo>
                      <a:pt x="8564" y="560"/>
                    </a:lnTo>
                    <a:lnTo>
                      <a:pt x="8189" y="560"/>
                    </a:lnTo>
                    <a:close/>
                    <a:moveTo>
                      <a:pt x="7932" y="495"/>
                    </a:moveTo>
                    <a:lnTo>
                      <a:pt x="7932" y="481"/>
                    </a:lnTo>
                    <a:lnTo>
                      <a:pt x="7931" y="467"/>
                    </a:lnTo>
                    <a:lnTo>
                      <a:pt x="7929" y="454"/>
                    </a:lnTo>
                    <a:lnTo>
                      <a:pt x="7926" y="442"/>
                    </a:lnTo>
                    <a:lnTo>
                      <a:pt x="7922" y="430"/>
                    </a:lnTo>
                    <a:lnTo>
                      <a:pt x="7917" y="419"/>
                    </a:lnTo>
                    <a:lnTo>
                      <a:pt x="7912" y="408"/>
                    </a:lnTo>
                    <a:lnTo>
                      <a:pt x="7905" y="398"/>
                    </a:lnTo>
                    <a:lnTo>
                      <a:pt x="7897" y="390"/>
                    </a:lnTo>
                    <a:lnTo>
                      <a:pt x="7890" y="382"/>
                    </a:lnTo>
                    <a:lnTo>
                      <a:pt x="7880" y="376"/>
                    </a:lnTo>
                    <a:lnTo>
                      <a:pt x="7869" y="370"/>
                    </a:lnTo>
                    <a:lnTo>
                      <a:pt x="7857" y="366"/>
                    </a:lnTo>
                    <a:lnTo>
                      <a:pt x="7845" y="363"/>
                    </a:lnTo>
                    <a:lnTo>
                      <a:pt x="7831" y="360"/>
                    </a:lnTo>
                    <a:lnTo>
                      <a:pt x="7816" y="359"/>
                    </a:lnTo>
                    <a:lnTo>
                      <a:pt x="7805" y="359"/>
                    </a:lnTo>
                    <a:lnTo>
                      <a:pt x="7794" y="360"/>
                    </a:lnTo>
                    <a:lnTo>
                      <a:pt x="7785" y="363"/>
                    </a:lnTo>
                    <a:lnTo>
                      <a:pt x="7775" y="365"/>
                    </a:lnTo>
                    <a:lnTo>
                      <a:pt x="7766" y="368"/>
                    </a:lnTo>
                    <a:lnTo>
                      <a:pt x="7757" y="372"/>
                    </a:lnTo>
                    <a:lnTo>
                      <a:pt x="7750" y="377"/>
                    </a:lnTo>
                    <a:lnTo>
                      <a:pt x="7742" y="381"/>
                    </a:lnTo>
                    <a:lnTo>
                      <a:pt x="7735" y="386"/>
                    </a:lnTo>
                    <a:lnTo>
                      <a:pt x="7727" y="393"/>
                    </a:lnTo>
                    <a:lnTo>
                      <a:pt x="7721" y="398"/>
                    </a:lnTo>
                    <a:lnTo>
                      <a:pt x="7715" y="406"/>
                    </a:lnTo>
                    <a:lnTo>
                      <a:pt x="7704" y="420"/>
                    </a:lnTo>
                    <a:lnTo>
                      <a:pt x="7695" y="436"/>
                    </a:lnTo>
                    <a:lnTo>
                      <a:pt x="7686" y="454"/>
                    </a:lnTo>
                    <a:lnTo>
                      <a:pt x="7679" y="472"/>
                    </a:lnTo>
                    <a:lnTo>
                      <a:pt x="7674" y="491"/>
                    </a:lnTo>
                    <a:lnTo>
                      <a:pt x="7670" y="510"/>
                    </a:lnTo>
                    <a:lnTo>
                      <a:pt x="7666" y="530"/>
                    </a:lnTo>
                    <a:lnTo>
                      <a:pt x="7663" y="548"/>
                    </a:lnTo>
                    <a:lnTo>
                      <a:pt x="7662" y="568"/>
                    </a:lnTo>
                    <a:lnTo>
                      <a:pt x="7662" y="586"/>
                    </a:lnTo>
                    <a:lnTo>
                      <a:pt x="7663" y="618"/>
                    </a:lnTo>
                    <a:lnTo>
                      <a:pt x="7665" y="647"/>
                    </a:lnTo>
                    <a:lnTo>
                      <a:pt x="7670" y="676"/>
                    </a:lnTo>
                    <a:lnTo>
                      <a:pt x="7676" y="703"/>
                    </a:lnTo>
                    <a:lnTo>
                      <a:pt x="7680" y="718"/>
                    </a:lnTo>
                    <a:lnTo>
                      <a:pt x="7685" y="730"/>
                    </a:lnTo>
                    <a:lnTo>
                      <a:pt x="7689" y="743"/>
                    </a:lnTo>
                    <a:lnTo>
                      <a:pt x="7695" y="755"/>
                    </a:lnTo>
                    <a:lnTo>
                      <a:pt x="7701" y="766"/>
                    </a:lnTo>
                    <a:lnTo>
                      <a:pt x="7708" y="777"/>
                    </a:lnTo>
                    <a:lnTo>
                      <a:pt x="7714" y="788"/>
                    </a:lnTo>
                    <a:lnTo>
                      <a:pt x="7722" y="798"/>
                    </a:lnTo>
                    <a:lnTo>
                      <a:pt x="7729" y="808"/>
                    </a:lnTo>
                    <a:lnTo>
                      <a:pt x="7738" y="817"/>
                    </a:lnTo>
                    <a:lnTo>
                      <a:pt x="7748" y="826"/>
                    </a:lnTo>
                    <a:lnTo>
                      <a:pt x="7757" y="835"/>
                    </a:lnTo>
                    <a:lnTo>
                      <a:pt x="7767" y="842"/>
                    </a:lnTo>
                    <a:lnTo>
                      <a:pt x="7778" y="849"/>
                    </a:lnTo>
                    <a:lnTo>
                      <a:pt x="7790" y="855"/>
                    </a:lnTo>
                    <a:lnTo>
                      <a:pt x="7802" y="861"/>
                    </a:lnTo>
                    <a:lnTo>
                      <a:pt x="7814" y="866"/>
                    </a:lnTo>
                    <a:lnTo>
                      <a:pt x="7828" y="872"/>
                    </a:lnTo>
                    <a:lnTo>
                      <a:pt x="7841" y="875"/>
                    </a:lnTo>
                    <a:lnTo>
                      <a:pt x="7856" y="878"/>
                    </a:lnTo>
                    <a:lnTo>
                      <a:pt x="7871" y="882"/>
                    </a:lnTo>
                    <a:lnTo>
                      <a:pt x="7887" y="883"/>
                    </a:lnTo>
                    <a:lnTo>
                      <a:pt x="7903" y="884"/>
                    </a:lnTo>
                    <a:lnTo>
                      <a:pt x="7920" y="885"/>
                    </a:lnTo>
                    <a:lnTo>
                      <a:pt x="7946" y="884"/>
                    </a:lnTo>
                    <a:lnTo>
                      <a:pt x="7973" y="882"/>
                    </a:lnTo>
                    <a:lnTo>
                      <a:pt x="7986" y="879"/>
                    </a:lnTo>
                    <a:lnTo>
                      <a:pt x="7999" y="877"/>
                    </a:lnTo>
                    <a:lnTo>
                      <a:pt x="8012" y="874"/>
                    </a:lnTo>
                    <a:lnTo>
                      <a:pt x="8025" y="871"/>
                    </a:lnTo>
                    <a:lnTo>
                      <a:pt x="8025" y="945"/>
                    </a:lnTo>
                    <a:lnTo>
                      <a:pt x="8008" y="949"/>
                    </a:lnTo>
                    <a:lnTo>
                      <a:pt x="7992" y="953"/>
                    </a:lnTo>
                    <a:lnTo>
                      <a:pt x="7976" y="956"/>
                    </a:lnTo>
                    <a:lnTo>
                      <a:pt x="7958" y="959"/>
                    </a:lnTo>
                    <a:lnTo>
                      <a:pt x="7925" y="962"/>
                    </a:lnTo>
                    <a:lnTo>
                      <a:pt x="7890" y="962"/>
                    </a:lnTo>
                    <a:lnTo>
                      <a:pt x="7869" y="962"/>
                    </a:lnTo>
                    <a:lnTo>
                      <a:pt x="7849" y="961"/>
                    </a:lnTo>
                    <a:lnTo>
                      <a:pt x="7830" y="959"/>
                    </a:lnTo>
                    <a:lnTo>
                      <a:pt x="7811" y="955"/>
                    </a:lnTo>
                    <a:lnTo>
                      <a:pt x="7793" y="952"/>
                    </a:lnTo>
                    <a:lnTo>
                      <a:pt x="7776" y="948"/>
                    </a:lnTo>
                    <a:lnTo>
                      <a:pt x="7759" y="943"/>
                    </a:lnTo>
                    <a:lnTo>
                      <a:pt x="7743" y="937"/>
                    </a:lnTo>
                    <a:lnTo>
                      <a:pt x="7727" y="930"/>
                    </a:lnTo>
                    <a:lnTo>
                      <a:pt x="7713" y="924"/>
                    </a:lnTo>
                    <a:lnTo>
                      <a:pt x="7699" y="915"/>
                    </a:lnTo>
                    <a:lnTo>
                      <a:pt x="7686" y="908"/>
                    </a:lnTo>
                    <a:lnTo>
                      <a:pt x="7673" y="898"/>
                    </a:lnTo>
                    <a:lnTo>
                      <a:pt x="7661" y="888"/>
                    </a:lnTo>
                    <a:lnTo>
                      <a:pt x="7649" y="877"/>
                    </a:lnTo>
                    <a:lnTo>
                      <a:pt x="7638" y="866"/>
                    </a:lnTo>
                    <a:lnTo>
                      <a:pt x="7628" y="854"/>
                    </a:lnTo>
                    <a:lnTo>
                      <a:pt x="7619" y="841"/>
                    </a:lnTo>
                    <a:lnTo>
                      <a:pt x="7610" y="828"/>
                    </a:lnTo>
                    <a:lnTo>
                      <a:pt x="7602" y="815"/>
                    </a:lnTo>
                    <a:lnTo>
                      <a:pt x="7595" y="800"/>
                    </a:lnTo>
                    <a:lnTo>
                      <a:pt x="7587" y="786"/>
                    </a:lnTo>
                    <a:lnTo>
                      <a:pt x="7582" y="770"/>
                    </a:lnTo>
                    <a:lnTo>
                      <a:pt x="7576" y="755"/>
                    </a:lnTo>
                    <a:lnTo>
                      <a:pt x="7571" y="737"/>
                    </a:lnTo>
                    <a:lnTo>
                      <a:pt x="7566" y="721"/>
                    </a:lnTo>
                    <a:lnTo>
                      <a:pt x="7563" y="702"/>
                    </a:lnTo>
                    <a:lnTo>
                      <a:pt x="7560" y="685"/>
                    </a:lnTo>
                    <a:lnTo>
                      <a:pt x="7558" y="665"/>
                    </a:lnTo>
                    <a:lnTo>
                      <a:pt x="7557" y="647"/>
                    </a:lnTo>
                    <a:lnTo>
                      <a:pt x="7556" y="627"/>
                    </a:lnTo>
                    <a:lnTo>
                      <a:pt x="7555" y="607"/>
                    </a:lnTo>
                    <a:lnTo>
                      <a:pt x="7556" y="574"/>
                    </a:lnTo>
                    <a:lnTo>
                      <a:pt x="7558" y="542"/>
                    </a:lnTo>
                    <a:lnTo>
                      <a:pt x="7562" y="510"/>
                    </a:lnTo>
                    <a:lnTo>
                      <a:pt x="7569" y="481"/>
                    </a:lnTo>
                    <a:lnTo>
                      <a:pt x="7572" y="467"/>
                    </a:lnTo>
                    <a:lnTo>
                      <a:pt x="7576" y="453"/>
                    </a:lnTo>
                    <a:lnTo>
                      <a:pt x="7581" y="439"/>
                    </a:lnTo>
                    <a:lnTo>
                      <a:pt x="7586" y="426"/>
                    </a:lnTo>
                    <a:lnTo>
                      <a:pt x="7593" y="412"/>
                    </a:lnTo>
                    <a:lnTo>
                      <a:pt x="7598" y="401"/>
                    </a:lnTo>
                    <a:lnTo>
                      <a:pt x="7606" y="389"/>
                    </a:lnTo>
                    <a:lnTo>
                      <a:pt x="7613" y="378"/>
                    </a:lnTo>
                    <a:lnTo>
                      <a:pt x="7621" y="367"/>
                    </a:lnTo>
                    <a:lnTo>
                      <a:pt x="7629" y="356"/>
                    </a:lnTo>
                    <a:lnTo>
                      <a:pt x="7639" y="346"/>
                    </a:lnTo>
                    <a:lnTo>
                      <a:pt x="7649" y="338"/>
                    </a:lnTo>
                    <a:lnTo>
                      <a:pt x="7659" y="329"/>
                    </a:lnTo>
                    <a:lnTo>
                      <a:pt x="7671" y="321"/>
                    </a:lnTo>
                    <a:lnTo>
                      <a:pt x="7683" y="314"/>
                    </a:lnTo>
                    <a:lnTo>
                      <a:pt x="7695" y="307"/>
                    </a:lnTo>
                    <a:lnTo>
                      <a:pt x="7708" y="302"/>
                    </a:lnTo>
                    <a:lnTo>
                      <a:pt x="7722" y="296"/>
                    </a:lnTo>
                    <a:lnTo>
                      <a:pt x="7736" y="292"/>
                    </a:lnTo>
                    <a:lnTo>
                      <a:pt x="7752" y="288"/>
                    </a:lnTo>
                    <a:lnTo>
                      <a:pt x="7767" y="285"/>
                    </a:lnTo>
                    <a:lnTo>
                      <a:pt x="7785" y="283"/>
                    </a:lnTo>
                    <a:lnTo>
                      <a:pt x="7802" y="282"/>
                    </a:lnTo>
                    <a:lnTo>
                      <a:pt x="7820" y="281"/>
                    </a:lnTo>
                    <a:lnTo>
                      <a:pt x="7845" y="282"/>
                    </a:lnTo>
                    <a:lnTo>
                      <a:pt x="7869" y="284"/>
                    </a:lnTo>
                    <a:lnTo>
                      <a:pt x="7892" y="289"/>
                    </a:lnTo>
                    <a:lnTo>
                      <a:pt x="7914" y="295"/>
                    </a:lnTo>
                    <a:lnTo>
                      <a:pt x="7933" y="303"/>
                    </a:lnTo>
                    <a:lnTo>
                      <a:pt x="7952" y="312"/>
                    </a:lnTo>
                    <a:lnTo>
                      <a:pt x="7960" y="317"/>
                    </a:lnTo>
                    <a:lnTo>
                      <a:pt x="7968" y="322"/>
                    </a:lnTo>
                    <a:lnTo>
                      <a:pt x="7976" y="329"/>
                    </a:lnTo>
                    <a:lnTo>
                      <a:pt x="7983" y="335"/>
                    </a:lnTo>
                    <a:lnTo>
                      <a:pt x="7991" y="342"/>
                    </a:lnTo>
                    <a:lnTo>
                      <a:pt x="7997" y="350"/>
                    </a:lnTo>
                    <a:lnTo>
                      <a:pt x="8003" y="357"/>
                    </a:lnTo>
                    <a:lnTo>
                      <a:pt x="8009" y="365"/>
                    </a:lnTo>
                    <a:lnTo>
                      <a:pt x="8015" y="373"/>
                    </a:lnTo>
                    <a:lnTo>
                      <a:pt x="8019" y="383"/>
                    </a:lnTo>
                    <a:lnTo>
                      <a:pt x="8023" y="392"/>
                    </a:lnTo>
                    <a:lnTo>
                      <a:pt x="8028" y="402"/>
                    </a:lnTo>
                    <a:lnTo>
                      <a:pt x="8031" y="412"/>
                    </a:lnTo>
                    <a:lnTo>
                      <a:pt x="8034" y="422"/>
                    </a:lnTo>
                    <a:lnTo>
                      <a:pt x="8036" y="434"/>
                    </a:lnTo>
                    <a:lnTo>
                      <a:pt x="8038" y="445"/>
                    </a:lnTo>
                    <a:lnTo>
                      <a:pt x="8042" y="469"/>
                    </a:lnTo>
                    <a:lnTo>
                      <a:pt x="8043" y="495"/>
                    </a:lnTo>
                    <a:lnTo>
                      <a:pt x="7932" y="495"/>
                    </a:lnTo>
                    <a:close/>
                    <a:moveTo>
                      <a:pt x="7349" y="947"/>
                    </a:moveTo>
                    <a:lnTo>
                      <a:pt x="7349" y="586"/>
                    </a:lnTo>
                    <a:lnTo>
                      <a:pt x="7349" y="556"/>
                    </a:lnTo>
                    <a:lnTo>
                      <a:pt x="7349" y="522"/>
                    </a:lnTo>
                    <a:lnTo>
                      <a:pt x="7348" y="505"/>
                    </a:lnTo>
                    <a:lnTo>
                      <a:pt x="7347" y="486"/>
                    </a:lnTo>
                    <a:lnTo>
                      <a:pt x="7344" y="469"/>
                    </a:lnTo>
                    <a:lnTo>
                      <a:pt x="7341" y="453"/>
                    </a:lnTo>
                    <a:lnTo>
                      <a:pt x="7336" y="436"/>
                    </a:lnTo>
                    <a:lnTo>
                      <a:pt x="7330" y="422"/>
                    </a:lnTo>
                    <a:lnTo>
                      <a:pt x="7327" y="415"/>
                    </a:lnTo>
                    <a:lnTo>
                      <a:pt x="7322" y="408"/>
                    </a:lnTo>
                    <a:lnTo>
                      <a:pt x="7318" y="403"/>
                    </a:lnTo>
                    <a:lnTo>
                      <a:pt x="7314" y="397"/>
                    </a:lnTo>
                    <a:lnTo>
                      <a:pt x="7308" y="392"/>
                    </a:lnTo>
                    <a:lnTo>
                      <a:pt x="7302" y="388"/>
                    </a:lnTo>
                    <a:lnTo>
                      <a:pt x="7295" y="383"/>
                    </a:lnTo>
                    <a:lnTo>
                      <a:pt x="7288" y="380"/>
                    </a:lnTo>
                    <a:lnTo>
                      <a:pt x="7280" y="378"/>
                    </a:lnTo>
                    <a:lnTo>
                      <a:pt x="7272" y="376"/>
                    </a:lnTo>
                    <a:lnTo>
                      <a:pt x="7263" y="374"/>
                    </a:lnTo>
                    <a:lnTo>
                      <a:pt x="7253" y="374"/>
                    </a:lnTo>
                    <a:lnTo>
                      <a:pt x="7241" y="374"/>
                    </a:lnTo>
                    <a:lnTo>
                      <a:pt x="7230" y="377"/>
                    </a:lnTo>
                    <a:lnTo>
                      <a:pt x="7219" y="379"/>
                    </a:lnTo>
                    <a:lnTo>
                      <a:pt x="7208" y="383"/>
                    </a:lnTo>
                    <a:lnTo>
                      <a:pt x="7198" y="388"/>
                    </a:lnTo>
                    <a:lnTo>
                      <a:pt x="7188" y="394"/>
                    </a:lnTo>
                    <a:lnTo>
                      <a:pt x="7179" y="401"/>
                    </a:lnTo>
                    <a:lnTo>
                      <a:pt x="7169" y="407"/>
                    </a:lnTo>
                    <a:lnTo>
                      <a:pt x="7161" y="416"/>
                    </a:lnTo>
                    <a:lnTo>
                      <a:pt x="7153" y="424"/>
                    </a:lnTo>
                    <a:lnTo>
                      <a:pt x="7145" y="434"/>
                    </a:lnTo>
                    <a:lnTo>
                      <a:pt x="7138" y="444"/>
                    </a:lnTo>
                    <a:lnTo>
                      <a:pt x="7125" y="466"/>
                    </a:lnTo>
                    <a:lnTo>
                      <a:pt x="7113" y="488"/>
                    </a:lnTo>
                    <a:lnTo>
                      <a:pt x="7102" y="512"/>
                    </a:lnTo>
                    <a:lnTo>
                      <a:pt x="7093" y="537"/>
                    </a:lnTo>
                    <a:lnTo>
                      <a:pt x="7086" y="563"/>
                    </a:lnTo>
                    <a:lnTo>
                      <a:pt x="7079" y="588"/>
                    </a:lnTo>
                    <a:lnTo>
                      <a:pt x="7075" y="613"/>
                    </a:lnTo>
                    <a:lnTo>
                      <a:pt x="7072" y="636"/>
                    </a:lnTo>
                    <a:lnTo>
                      <a:pt x="7070" y="659"/>
                    </a:lnTo>
                    <a:lnTo>
                      <a:pt x="7068" y="680"/>
                    </a:lnTo>
                    <a:lnTo>
                      <a:pt x="7068" y="947"/>
                    </a:lnTo>
                    <a:lnTo>
                      <a:pt x="6976" y="947"/>
                    </a:lnTo>
                    <a:lnTo>
                      <a:pt x="6976" y="296"/>
                    </a:lnTo>
                    <a:lnTo>
                      <a:pt x="7068" y="296"/>
                    </a:lnTo>
                    <a:lnTo>
                      <a:pt x="7068" y="447"/>
                    </a:lnTo>
                    <a:lnTo>
                      <a:pt x="7072" y="447"/>
                    </a:lnTo>
                    <a:lnTo>
                      <a:pt x="7078" y="429"/>
                    </a:lnTo>
                    <a:lnTo>
                      <a:pt x="7085" y="411"/>
                    </a:lnTo>
                    <a:lnTo>
                      <a:pt x="7092" y="394"/>
                    </a:lnTo>
                    <a:lnTo>
                      <a:pt x="7101" y="379"/>
                    </a:lnTo>
                    <a:lnTo>
                      <a:pt x="7111" y="364"/>
                    </a:lnTo>
                    <a:lnTo>
                      <a:pt x="7121" y="351"/>
                    </a:lnTo>
                    <a:lnTo>
                      <a:pt x="7131" y="338"/>
                    </a:lnTo>
                    <a:lnTo>
                      <a:pt x="7143" y="327"/>
                    </a:lnTo>
                    <a:lnTo>
                      <a:pt x="7156" y="316"/>
                    </a:lnTo>
                    <a:lnTo>
                      <a:pt x="7169" y="307"/>
                    </a:lnTo>
                    <a:lnTo>
                      <a:pt x="7185" y="300"/>
                    </a:lnTo>
                    <a:lnTo>
                      <a:pt x="7200" y="293"/>
                    </a:lnTo>
                    <a:lnTo>
                      <a:pt x="7217" y="288"/>
                    </a:lnTo>
                    <a:lnTo>
                      <a:pt x="7236" y="284"/>
                    </a:lnTo>
                    <a:lnTo>
                      <a:pt x="7255" y="282"/>
                    </a:lnTo>
                    <a:lnTo>
                      <a:pt x="7276" y="281"/>
                    </a:lnTo>
                    <a:lnTo>
                      <a:pt x="7285" y="281"/>
                    </a:lnTo>
                    <a:lnTo>
                      <a:pt x="7296" y="282"/>
                    </a:lnTo>
                    <a:lnTo>
                      <a:pt x="7306" y="283"/>
                    </a:lnTo>
                    <a:lnTo>
                      <a:pt x="7315" y="285"/>
                    </a:lnTo>
                    <a:lnTo>
                      <a:pt x="7325" y="288"/>
                    </a:lnTo>
                    <a:lnTo>
                      <a:pt x="7333" y="291"/>
                    </a:lnTo>
                    <a:lnTo>
                      <a:pt x="7342" y="294"/>
                    </a:lnTo>
                    <a:lnTo>
                      <a:pt x="7349" y="298"/>
                    </a:lnTo>
                    <a:lnTo>
                      <a:pt x="7365" y="307"/>
                    </a:lnTo>
                    <a:lnTo>
                      <a:pt x="7379" y="318"/>
                    </a:lnTo>
                    <a:lnTo>
                      <a:pt x="7391" y="330"/>
                    </a:lnTo>
                    <a:lnTo>
                      <a:pt x="7402" y="343"/>
                    </a:lnTo>
                    <a:lnTo>
                      <a:pt x="7411" y="358"/>
                    </a:lnTo>
                    <a:lnTo>
                      <a:pt x="7419" y="373"/>
                    </a:lnTo>
                    <a:lnTo>
                      <a:pt x="7427" y="391"/>
                    </a:lnTo>
                    <a:lnTo>
                      <a:pt x="7432" y="408"/>
                    </a:lnTo>
                    <a:lnTo>
                      <a:pt x="7436" y="426"/>
                    </a:lnTo>
                    <a:lnTo>
                      <a:pt x="7440" y="444"/>
                    </a:lnTo>
                    <a:lnTo>
                      <a:pt x="7442" y="464"/>
                    </a:lnTo>
                    <a:lnTo>
                      <a:pt x="7442" y="482"/>
                    </a:lnTo>
                    <a:lnTo>
                      <a:pt x="7442" y="947"/>
                    </a:lnTo>
                    <a:lnTo>
                      <a:pt x="7349" y="947"/>
                    </a:lnTo>
                    <a:close/>
                    <a:moveTo>
                      <a:pt x="6682" y="652"/>
                    </a:moveTo>
                    <a:lnTo>
                      <a:pt x="6666" y="652"/>
                    </a:lnTo>
                    <a:lnTo>
                      <a:pt x="6650" y="654"/>
                    </a:lnTo>
                    <a:lnTo>
                      <a:pt x="6632" y="656"/>
                    </a:lnTo>
                    <a:lnTo>
                      <a:pt x="6614" y="659"/>
                    </a:lnTo>
                    <a:lnTo>
                      <a:pt x="6596" y="663"/>
                    </a:lnTo>
                    <a:lnTo>
                      <a:pt x="6578" y="669"/>
                    </a:lnTo>
                    <a:lnTo>
                      <a:pt x="6561" y="674"/>
                    </a:lnTo>
                    <a:lnTo>
                      <a:pt x="6544" y="682"/>
                    </a:lnTo>
                    <a:lnTo>
                      <a:pt x="6529" y="690"/>
                    </a:lnTo>
                    <a:lnTo>
                      <a:pt x="6515" y="700"/>
                    </a:lnTo>
                    <a:lnTo>
                      <a:pt x="6507" y="706"/>
                    </a:lnTo>
                    <a:lnTo>
                      <a:pt x="6502" y="712"/>
                    </a:lnTo>
                    <a:lnTo>
                      <a:pt x="6496" y="718"/>
                    </a:lnTo>
                    <a:lnTo>
                      <a:pt x="6491" y="724"/>
                    </a:lnTo>
                    <a:lnTo>
                      <a:pt x="6486" y="732"/>
                    </a:lnTo>
                    <a:lnTo>
                      <a:pt x="6481" y="738"/>
                    </a:lnTo>
                    <a:lnTo>
                      <a:pt x="6478" y="746"/>
                    </a:lnTo>
                    <a:lnTo>
                      <a:pt x="6475" y="755"/>
                    </a:lnTo>
                    <a:lnTo>
                      <a:pt x="6473" y="763"/>
                    </a:lnTo>
                    <a:lnTo>
                      <a:pt x="6471" y="772"/>
                    </a:lnTo>
                    <a:lnTo>
                      <a:pt x="6469" y="781"/>
                    </a:lnTo>
                    <a:lnTo>
                      <a:pt x="6469" y="790"/>
                    </a:lnTo>
                    <a:lnTo>
                      <a:pt x="6469" y="800"/>
                    </a:lnTo>
                    <a:lnTo>
                      <a:pt x="6471" y="810"/>
                    </a:lnTo>
                    <a:lnTo>
                      <a:pt x="6473" y="819"/>
                    </a:lnTo>
                    <a:lnTo>
                      <a:pt x="6476" y="828"/>
                    </a:lnTo>
                    <a:lnTo>
                      <a:pt x="6479" y="836"/>
                    </a:lnTo>
                    <a:lnTo>
                      <a:pt x="6484" y="844"/>
                    </a:lnTo>
                    <a:lnTo>
                      <a:pt x="6489" y="851"/>
                    </a:lnTo>
                    <a:lnTo>
                      <a:pt x="6494" y="858"/>
                    </a:lnTo>
                    <a:lnTo>
                      <a:pt x="6501" y="864"/>
                    </a:lnTo>
                    <a:lnTo>
                      <a:pt x="6507" y="869"/>
                    </a:lnTo>
                    <a:lnTo>
                      <a:pt x="6515" y="874"/>
                    </a:lnTo>
                    <a:lnTo>
                      <a:pt x="6524" y="877"/>
                    </a:lnTo>
                    <a:lnTo>
                      <a:pt x="6531" y="880"/>
                    </a:lnTo>
                    <a:lnTo>
                      <a:pt x="6541" y="883"/>
                    </a:lnTo>
                    <a:lnTo>
                      <a:pt x="6551" y="884"/>
                    </a:lnTo>
                    <a:lnTo>
                      <a:pt x="6561" y="885"/>
                    </a:lnTo>
                    <a:lnTo>
                      <a:pt x="6573" y="884"/>
                    </a:lnTo>
                    <a:lnTo>
                      <a:pt x="6585" y="883"/>
                    </a:lnTo>
                    <a:lnTo>
                      <a:pt x="6596" y="880"/>
                    </a:lnTo>
                    <a:lnTo>
                      <a:pt x="6608" y="877"/>
                    </a:lnTo>
                    <a:lnTo>
                      <a:pt x="6619" y="873"/>
                    </a:lnTo>
                    <a:lnTo>
                      <a:pt x="6630" y="867"/>
                    </a:lnTo>
                    <a:lnTo>
                      <a:pt x="6641" y="862"/>
                    </a:lnTo>
                    <a:lnTo>
                      <a:pt x="6651" y="855"/>
                    </a:lnTo>
                    <a:lnTo>
                      <a:pt x="6660" y="849"/>
                    </a:lnTo>
                    <a:lnTo>
                      <a:pt x="6669" y="841"/>
                    </a:lnTo>
                    <a:lnTo>
                      <a:pt x="6678" y="833"/>
                    </a:lnTo>
                    <a:lnTo>
                      <a:pt x="6687" y="824"/>
                    </a:lnTo>
                    <a:lnTo>
                      <a:pt x="6694" y="814"/>
                    </a:lnTo>
                    <a:lnTo>
                      <a:pt x="6701" y="804"/>
                    </a:lnTo>
                    <a:lnTo>
                      <a:pt x="6707" y="794"/>
                    </a:lnTo>
                    <a:lnTo>
                      <a:pt x="6713" y="783"/>
                    </a:lnTo>
                    <a:lnTo>
                      <a:pt x="6720" y="765"/>
                    </a:lnTo>
                    <a:lnTo>
                      <a:pt x="6726" y="749"/>
                    </a:lnTo>
                    <a:lnTo>
                      <a:pt x="6730" y="734"/>
                    </a:lnTo>
                    <a:lnTo>
                      <a:pt x="6733" y="720"/>
                    </a:lnTo>
                    <a:lnTo>
                      <a:pt x="6735" y="705"/>
                    </a:lnTo>
                    <a:lnTo>
                      <a:pt x="6736" y="688"/>
                    </a:lnTo>
                    <a:lnTo>
                      <a:pt x="6736" y="671"/>
                    </a:lnTo>
                    <a:lnTo>
                      <a:pt x="6737" y="652"/>
                    </a:lnTo>
                    <a:lnTo>
                      <a:pt x="6682" y="652"/>
                    </a:lnTo>
                    <a:close/>
                    <a:moveTo>
                      <a:pt x="6740" y="947"/>
                    </a:moveTo>
                    <a:lnTo>
                      <a:pt x="6740" y="861"/>
                    </a:lnTo>
                    <a:lnTo>
                      <a:pt x="6737" y="861"/>
                    </a:lnTo>
                    <a:lnTo>
                      <a:pt x="6730" y="874"/>
                    </a:lnTo>
                    <a:lnTo>
                      <a:pt x="6721" y="885"/>
                    </a:lnTo>
                    <a:lnTo>
                      <a:pt x="6711" y="896"/>
                    </a:lnTo>
                    <a:lnTo>
                      <a:pt x="6701" y="905"/>
                    </a:lnTo>
                    <a:lnTo>
                      <a:pt x="6690" y="915"/>
                    </a:lnTo>
                    <a:lnTo>
                      <a:pt x="6677" y="923"/>
                    </a:lnTo>
                    <a:lnTo>
                      <a:pt x="6665" y="930"/>
                    </a:lnTo>
                    <a:lnTo>
                      <a:pt x="6651" y="937"/>
                    </a:lnTo>
                    <a:lnTo>
                      <a:pt x="6638" y="943"/>
                    </a:lnTo>
                    <a:lnTo>
                      <a:pt x="6622" y="948"/>
                    </a:lnTo>
                    <a:lnTo>
                      <a:pt x="6608" y="952"/>
                    </a:lnTo>
                    <a:lnTo>
                      <a:pt x="6594" y="956"/>
                    </a:lnTo>
                    <a:lnTo>
                      <a:pt x="6580" y="959"/>
                    </a:lnTo>
                    <a:lnTo>
                      <a:pt x="6565" y="961"/>
                    </a:lnTo>
                    <a:lnTo>
                      <a:pt x="6551" y="962"/>
                    </a:lnTo>
                    <a:lnTo>
                      <a:pt x="6538" y="962"/>
                    </a:lnTo>
                    <a:lnTo>
                      <a:pt x="6517" y="962"/>
                    </a:lnTo>
                    <a:lnTo>
                      <a:pt x="6498" y="959"/>
                    </a:lnTo>
                    <a:lnTo>
                      <a:pt x="6479" y="955"/>
                    </a:lnTo>
                    <a:lnTo>
                      <a:pt x="6463" y="950"/>
                    </a:lnTo>
                    <a:lnTo>
                      <a:pt x="6447" y="942"/>
                    </a:lnTo>
                    <a:lnTo>
                      <a:pt x="6433" y="934"/>
                    </a:lnTo>
                    <a:lnTo>
                      <a:pt x="6420" y="924"/>
                    </a:lnTo>
                    <a:lnTo>
                      <a:pt x="6408" y="913"/>
                    </a:lnTo>
                    <a:lnTo>
                      <a:pt x="6398" y="900"/>
                    </a:lnTo>
                    <a:lnTo>
                      <a:pt x="6388" y="887"/>
                    </a:lnTo>
                    <a:lnTo>
                      <a:pt x="6381" y="872"/>
                    </a:lnTo>
                    <a:lnTo>
                      <a:pt x="6374" y="855"/>
                    </a:lnTo>
                    <a:lnTo>
                      <a:pt x="6369" y="838"/>
                    </a:lnTo>
                    <a:lnTo>
                      <a:pt x="6365" y="820"/>
                    </a:lnTo>
                    <a:lnTo>
                      <a:pt x="6363" y="801"/>
                    </a:lnTo>
                    <a:lnTo>
                      <a:pt x="6362" y="781"/>
                    </a:lnTo>
                    <a:lnTo>
                      <a:pt x="6363" y="766"/>
                    </a:lnTo>
                    <a:lnTo>
                      <a:pt x="6364" y="753"/>
                    </a:lnTo>
                    <a:lnTo>
                      <a:pt x="6367" y="741"/>
                    </a:lnTo>
                    <a:lnTo>
                      <a:pt x="6371" y="728"/>
                    </a:lnTo>
                    <a:lnTo>
                      <a:pt x="6375" y="718"/>
                    </a:lnTo>
                    <a:lnTo>
                      <a:pt x="6381" y="707"/>
                    </a:lnTo>
                    <a:lnTo>
                      <a:pt x="6387" y="696"/>
                    </a:lnTo>
                    <a:lnTo>
                      <a:pt x="6394" y="686"/>
                    </a:lnTo>
                    <a:lnTo>
                      <a:pt x="6402" y="676"/>
                    </a:lnTo>
                    <a:lnTo>
                      <a:pt x="6410" y="668"/>
                    </a:lnTo>
                    <a:lnTo>
                      <a:pt x="6420" y="659"/>
                    </a:lnTo>
                    <a:lnTo>
                      <a:pt x="6429" y="651"/>
                    </a:lnTo>
                    <a:lnTo>
                      <a:pt x="6439" y="644"/>
                    </a:lnTo>
                    <a:lnTo>
                      <a:pt x="6450" y="636"/>
                    </a:lnTo>
                    <a:lnTo>
                      <a:pt x="6461" y="630"/>
                    </a:lnTo>
                    <a:lnTo>
                      <a:pt x="6473" y="623"/>
                    </a:lnTo>
                    <a:lnTo>
                      <a:pt x="6497" y="612"/>
                    </a:lnTo>
                    <a:lnTo>
                      <a:pt x="6522" y="602"/>
                    </a:lnTo>
                    <a:lnTo>
                      <a:pt x="6548" y="595"/>
                    </a:lnTo>
                    <a:lnTo>
                      <a:pt x="6574" y="588"/>
                    </a:lnTo>
                    <a:lnTo>
                      <a:pt x="6600" y="584"/>
                    </a:lnTo>
                    <a:lnTo>
                      <a:pt x="6625" y="581"/>
                    </a:lnTo>
                    <a:lnTo>
                      <a:pt x="6650" y="579"/>
                    </a:lnTo>
                    <a:lnTo>
                      <a:pt x="6672" y="578"/>
                    </a:lnTo>
                    <a:lnTo>
                      <a:pt x="6689" y="578"/>
                    </a:lnTo>
                    <a:lnTo>
                      <a:pt x="6705" y="578"/>
                    </a:lnTo>
                    <a:lnTo>
                      <a:pt x="6721" y="576"/>
                    </a:lnTo>
                    <a:lnTo>
                      <a:pt x="6737" y="574"/>
                    </a:lnTo>
                    <a:lnTo>
                      <a:pt x="6737" y="560"/>
                    </a:lnTo>
                    <a:lnTo>
                      <a:pt x="6737" y="523"/>
                    </a:lnTo>
                    <a:lnTo>
                      <a:pt x="6736" y="487"/>
                    </a:lnTo>
                    <a:lnTo>
                      <a:pt x="6734" y="471"/>
                    </a:lnTo>
                    <a:lnTo>
                      <a:pt x="6732" y="454"/>
                    </a:lnTo>
                    <a:lnTo>
                      <a:pt x="6729" y="439"/>
                    </a:lnTo>
                    <a:lnTo>
                      <a:pt x="6724" y="423"/>
                    </a:lnTo>
                    <a:lnTo>
                      <a:pt x="6718" y="409"/>
                    </a:lnTo>
                    <a:lnTo>
                      <a:pt x="6710" y="397"/>
                    </a:lnTo>
                    <a:lnTo>
                      <a:pt x="6705" y="392"/>
                    </a:lnTo>
                    <a:lnTo>
                      <a:pt x="6700" y="386"/>
                    </a:lnTo>
                    <a:lnTo>
                      <a:pt x="6694" y="381"/>
                    </a:lnTo>
                    <a:lnTo>
                      <a:pt x="6688" y="377"/>
                    </a:lnTo>
                    <a:lnTo>
                      <a:pt x="6681" y="373"/>
                    </a:lnTo>
                    <a:lnTo>
                      <a:pt x="6673" y="369"/>
                    </a:lnTo>
                    <a:lnTo>
                      <a:pt x="6666" y="367"/>
                    </a:lnTo>
                    <a:lnTo>
                      <a:pt x="6656" y="364"/>
                    </a:lnTo>
                    <a:lnTo>
                      <a:pt x="6647" y="363"/>
                    </a:lnTo>
                    <a:lnTo>
                      <a:pt x="6637" y="360"/>
                    </a:lnTo>
                    <a:lnTo>
                      <a:pt x="6626" y="359"/>
                    </a:lnTo>
                    <a:lnTo>
                      <a:pt x="6614" y="359"/>
                    </a:lnTo>
                    <a:lnTo>
                      <a:pt x="6600" y="359"/>
                    </a:lnTo>
                    <a:lnTo>
                      <a:pt x="6587" y="360"/>
                    </a:lnTo>
                    <a:lnTo>
                      <a:pt x="6574" y="363"/>
                    </a:lnTo>
                    <a:lnTo>
                      <a:pt x="6563" y="365"/>
                    </a:lnTo>
                    <a:lnTo>
                      <a:pt x="6551" y="368"/>
                    </a:lnTo>
                    <a:lnTo>
                      <a:pt x="6541" y="371"/>
                    </a:lnTo>
                    <a:lnTo>
                      <a:pt x="6531" y="377"/>
                    </a:lnTo>
                    <a:lnTo>
                      <a:pt x="6523" y="382"/>
                    </a:lnTo>
                    <a:lnTo>
                      <a:pt x="6515" y="389"/>
                    </a:lnTo>
                    <a:lnTo>
                      <a:pt x="6507" y="396"/>
                    </a:lnTo>
                    <a:lnTo>
                      <a:pt x="6501" y="405"/>
                    </a:lnTo>
                    <a:lnTo>
                      <a:pt x="6496" y="414"/>
                    </a:lnTo>
                    <a:lnTo>
                      <a:pt x="6490" y="424"/>
                    </a:lnTo>
                    <a:lnTo>
                      <a:pt x="6487" y="436"/>
                    </a:lnTo>
                    <a:lnTo>
                      <a:pt x="6484" y="449"/>
                    </a:lnTo>
                    <a:lnTo>
                      <a:pt x="6481" y="464"/>
                    </a:lnTo>
                    <a:lnTo>
                      <a:pt x="6377" y="464"/>
                    </a:lnTo>
                    <a:lnTo>
                      <a:pt x="6378" y="452"/>
                    </a:lnTo>
                    <a:lnTo>
                      <a:pt x="6379" y="440"/>
                    </a:lnTo>
                    <a:lnTo>
                      <a:pt x="6382" y="429"/>
                    </a:lnTo>
                    <a:lnTo>
                      <a:pt x="6384" y="418"/>
                    </a:lnTo>
                    <a:lnTo>
                      <a:pt x="6387" y="407"/>
                    </a:lnTo>
                    <a:lnTo>
                      <a:pt x="6390" y="397"/>
                    </a:lnTo>
                    <a:lnTo>
                      <a:pt x="6395" y="389"/>
                    </a:lnTo>
                    <a:lnTo>
                      <a:pt x="6399" y="379"/>
                    </a:lnTo>
                    <a:lnTo>
                      <a:pt x="6404" y="371"/>
                    </a:lnTo>
                    <a:lnTo>
                      <a:pt x="6410" y="363"/>
                    </a:lnTo>
                    <a:lnTo>
                      <a:pt x="6415" y="355"/>
                    </a:lnTo>
                    <a:lnTo>
                      <a:pt x="6422" y="348"/>
                    </a:lnTo>
                    <a:lnTo>
                      <a:pt x="6436" y="334"/>
                    </a:lnTo>
                    <a:lnTo>
                      <a:pt x="6452" y="323"/>
                    </a:lnTo>
                    <a:lnTo>
                      <a:pt x="6468" y="313"/>
                    </a:lnTo>
                    <a:lnTo>
                      <a:pt x="6487" y="304"/>
                    </a:lnTo>
                    <a:lnTo>
                      <a:pt x="6506" y="297"/>
                    </a:lnTo>
                    <a:lnTo>
                      <a:pt x="6526" y="291"/>
                    </a:lnTo>
                    <a:lnTo>
                      <a:pt x="6547" y="287"/>
                    </a:lnTo>
                    <a:lnTo>
                      <a:pt x="6568" y="283"/>
                    </a:lnTo>
                    <a:lnTo>
                      <a:pt x="6590" y="282"/>
                    </a:lnTo>
                    <a:lnTo>
                      <a:pt x="6612" y="281"/>
                    </a:lnTo>
                    <a:lnTo>
                      <a:pt x="6638" y="282"/>
                    </a:lnTo>
                    <a:lnTo>
                      <a:pt x="6663" y="284"/>
                    </a:lnTo>
                    <a:lnTo>
                      <a:pt x="6687" y="288"/>
                    </a:lnTo>
                    <a:lnTo>
                      <a:pt x="6707" y="293"/>
                    </a:lnTo>
                    <a:lnTo>
                      <a:pt x="6728" y="301"/>
                    </a:lnTo>
                    <a:lnTo>
                      <a:pt x="6745" y="309"/>
                    </a:lnTo>
                    <a:lnTo>
                      <a:pt x="6754" y="314"/>
                    </a:lnTo>
                    <a:lnTo>
                      <a:pt x="6761" y="319"/>
                    </a:lnTo>
                    <a:lnTo>
                      <a:pt x="6769" y="326"/>
                    </a:lnTo>
                    <a:lnTo>
                      <a:pt x="6775" y="331"/>
                    </a:lnTo>
                    <a:lnTo>
                      <a:pt x="6782" y="339"/>
                    </a:lnTo>
                    <a:lnTo>
                      <a:pt x="6788" y="345"/>
                    </a:lnTo>
                    <a:lnTo>
                      <a:pt x="6794" y="353"/>
                    </a:lnTo>
                    <a:lnTo>
                      <a:pt x="6799" y="360"/>
                    </a:lnTo>
                    <a:lnTo>
                      <a:pt x="6805" y="369"/>
                    </a:lnTo>
                    <a:lnTo>
                      <a:pt x="6809" y="378"/>
                    </a:lnTo>
                    <a:lnTo>
                      <a:pt x="6812" y="386"/>
                    </a:lnTo>
                    <a:lnTo>
                      <a:pt x="6817" y="396"/>
                    </a:lnTo>
                    <a:lnTo>
                      <a:pt x="6822" y="417"/>
                    </a:lnTo>
                    <a:lnTo>
                      <a:pt x="6826" y="440"/>
                    </a:lnTo>
                    <a:lnTo>
                      <a:pt x="6829" y="465"/>
                    </a:lnTo>
                    <a:lnTo>
                      <a:pt x="6830" y="491"/>
                    </a:lnTo>
                    <a:lnTo>
                      <a:pt x="6830" y="947"/>
                    </a:lnTo>
                    <a:lnTo>
                      <a:pt x="6740" y="947"/>
                    </a:lnTo>
                    <a:close/>
                    <a:moveTo>
                      <a:pt x="6160" y="947"/>
                    </a:moveTo>
                    <a:lnTo>
                      <a:pt x="6160" y="586"/>
                    </a:lnTo>
                    <a:lnTo>
                      <a:pt x="6160" y="556"/>
                    </a:lnTo>
                    <a:lnTo>
                      <a:pt x="6160" y="522"/>
                    </a:lnTo>
                    <a:lnTo>
                      <a:pt x="6159" y="505"/>
                    </a:lnTo>
                    <a:lnTo>
                      <a:pt x="6158" y="486"/>
                    </a:lnTo>
                    <a:lnTo>
                      <a:pt x="6156" y="469"/>
                    </a:lnTo>
                    <a:lnTo>
                      <a:pt x="6153" y="453"/>
                    </a:lnTo>
                    <a:lnTo>
                      <a:pt x="6147" y="436"/>
                    </a:lnTo>
                    <a:lnTo>
                      <a:pt x="6142" y="422"/>
                    </a:lnTo>
                    <a:lnTo>
                      <a:pt x="6137" y="415"/>
                    </a:lnTo>
                    <a:lnTo>
                      <a:pt x="6134" y="408"/>
                    </a:lnTo>
                    <a:lnTo>
                      <a:pt x="6129" y="403"/>
                    </a:lnTo>
                    <a:lnTo>
                      <a:pt x="6124" y="397"/>
                    </a:lnTo>
                    <a:lnTo>
                      <a:pt x="6119" y="392"/>
                    </a:lnTo>
                    <a:lnTo>
                      <a:pt x="6113" y="388"/>
                    </a:lnTo>
                    <a:lnTo>
                      <a:pt x="6106" y="383"/>
                    </a:lnTo>
                    <a:lnTo>
                      <a:pt x="6099" y="380"/>
                    </a:lnTo>
                    <a:lnTo>
                      <a:pt x="6091" y="378"/>
                    </a:lnTo>
                    <a:lnTo>
                      <a:pt x="6083" y="376"/>
                    </a:lnTo>
                    <a:lnTo>
                      <a:pt x="6073" y="374"/>
                    </a:lnTo>
                    <a:lnTo>
                      <a:pt x="6065" y="374"/>
                    </a:lnTo>
                    <a:lnTo>
                      <a:pt x="6053" y="374"/>
                    </a:lnTo>
                    <a:lnTo>
                      <a:pt x="6043" y="377"/>
                    </a:lnTo>
                    <a:lnTo>
                      <a:pt x="6032" y="380"/>
                    </a:lnTo>
                    <a:lnTo>
                      <a:pt x="6022" y="383"/>
                    </a:lnTo>
                    <a:lnTo>
                      <a:pt x="6014" y="389"/>
                    </a:lnTo>
                    <a:lnTo>
                      <a:pt x="6005" y="395"/>
                    </a:lnTo>
                    <a:lnTo>
                      <a:pt x="5996" y="402"/>
                    </a:lnTo>
                    <a:lnTo>
                      <a:pt x="5988" y="409"/>
                    </a:lnTo>
                    <a:lnTo>
                      <a:pt x="5980" y="418"/>
                    </a:lnTo>
                    <a:lnTo>
                      <a:pt x="5974" y="427"/>
                    </a:lnTo>
                    <a:lnTo>
                      <a:pt x="5966" y="436"/>
                    </a:lnTo>
                    <a:lnTo>
                      <a:pt x="5960" y="447"/>
                    </a:lnTo>
                    <a:lnTo>
                      <a:pt x="5949" y="469"/>
                    </a:lnTo>
                    <a:lnTo>
                      <a:pt x="5938" y="493"/>
                    </a:lnTo>
                    <a:lnTo>
                      <a:pt x="5929" y="518"/>
                    </a:lnTo>
                    <a:lnTo>
                      <a:pt x="5922" y="543"/>
                    </a:lnTo>
                    <a:lnTo>
                      <a:pt x="5915" y="569"/>
                    </a:lnTo>
                    <a:lnTo>
                      <a:pt x="5911" y="594"/>
                    </a:lnTo>
                    <a:lnTo>
                      <a:pt x="5906" y="618"/>
                    </a:lnTo>
                    <a:lnTo>
                      <a:pt x="5904" y="640"/>
                    </a:lnTo>
                    <a:lnTo>
                      <a:pt x="5902" y="661"/>
                    </a:lnTo>
                    <a:lnTo>
                      <a:pt x="5902" y="680"/>
                    </a:lnTo>
                    <a:lnTo>
                      <a:pt x="5902" y="947"/>
                    </a:lnTo>
                    <a:lnTo>
                      <a:pt x="5809" y="947"/>
                    </a:lnTo>
                    <a:lnTo>
                      <a:pt x="5809" y="586"/>
                    </a:lnTo>
                    <a:lnTo>
                      <a:pt x="5809" y="556"/>
                    </a:lnTo>
                    <a:lnTo>
                      <a:pt x="5809" y="522"/>
                    </a:lnTo>
                    <a:lnTo>
                      <a:pt x="5808" y="505"/>
                    </a:lnTo>
                    <a:lnTo>
                      <a:pt x="5807" y="486"/>
                    </a:lnTo>
                    <a:lnTo>
                      <a:pt x="5804" y="469"/>
                    </a:lnTo>
                    <a:lnTo>
                      <a:pt x="5801" y="453"/>
                    </a:lnTo>
                    <a:lnTo>
                      <a:pt x="5797" y="436"/>
                    </a:lnTo>
                    <a:lnTo>
                      <a:pt x="5790" y="422"/>
                    </a:lnTo>
                    <a:lnTo>
                      <a:pt x="5787" y="415"/>
                    </a:lnTo>
                    <a:lnTo>
                      <a:pt x="5783" y="408"/>
                    </a:lnTo>
                    <a:lnTo>
                      <a:pt x="5778" y="403"/>
                    </a:lnTo>
                    <a:lnTo>
                      <a:pt x="5773" y="397"/>
                    </a:lnTo>
                    <a:lnTo>
                      <a:pt x="5767" y="392"/>
                    </a:lnTo>
                    <a:lnTo>
                      <a:pt x="5762" y="388"/>
                    </a:lnTo>
                    <a:lnTo>
                      <a:pt x="5756" y="383"/>
                    </a:lnTo>
                    <a:lnTo>
                      <a:pt x="5748" y="380"/>
                    </a:lnTo>
                    <a:lnTo>
                      <a:pt x="5740" y="378"/>
                    </a:lnTo>
                    <a:lnTo>
                      <a:pt x="5732" y="376"/>
                    </a:lnTo>
                    <a:lnTo>
                      <a:pt x="5723" y="374"/>
                    </a:lnTo>
                    <a:lnTo>
                      <a:pt x="5713" y="374"/>
                    </a:lnTo>
                    <a:lnTo>
                      <a:pt x="5702" y="374"/>
                    </a:lnTo>
                    <a:lnTo>
                      <a:pt x="5691" y="377"/>
                    </a:lnTo>
                    <a:lnTo>
                      <a:pt x="5682" y="380"/>
                    </a:lnTo>
                    <a:lnTo>
                      <a:pt x="5672" y="383"/>
                    </a:lnTo>
                    <a:lnTo>
                      <a:pt x="5663" y="389"/>
                    </a:lnTo>
                    <a:lnTo>
                      <a:pt x="5654" y="395"/>
                    </a:lnTo>
                    <a:lnTo>
                      <a:pt x="5646" y="402"/>
                    </a:lnTo>
                    <a:lnTo>
                      <a:pt x="5637" y="409"/>
                    </a:lnTo>
                    <a:lnTo>
                      <a:pt x="5630" y="418"/>
                    </a:lnTo>
                    <a:lnTo>
                      <a:pt x="5623" y="427"/>
                    </a:lnTo>
                    <a:lnTo>
                      <a:pt x="5616" y="436"/>
                    </a:lnTo>
                    <a:lnTo>
                      <a:pt x="5609" y="447"/>
                    </a:lnTo>
                    <a:lnTo>
                      <a:pt x="5597" y="469"/>
                    </a:lnTo>
                    <a:lnTo>
                      <a:pt x="5587" y="493"/>
                    </a:lnTo>
                    <a:lnTo>
                      <a:pt x="5579" y="518"/>
                    </a:lnTo>
                    <a:lnTo>
                      <a:pt x="5571" y="543"/>
                    </a:lnTo>
                    <a:lnTo>
                      <a:pt x="5565" y="569"/>
                    </a:lnTo>
                    <a:lnTo>
                      <a:pt x="5559" y="594"/>
                    </a:lnTo>
                    <a:lnTo>
                      <a:pt x="5555" y="618"/>
                    </a:lnTo>
                    <a:lnTo>
                      <a:pt x="5553" y="640"/>
                    </a:lnTo>
                    <a:lnTo>
                      <a:pt x="5552" y="661"/>
                    </a:lnTo>
                    <a:lnTo>
                      <a:pt x="5550" y="680"/>
                    </a:lnTo>
                    <a:lnTo>
                      <a:pt x="5550" y="947"/>
                    </a:lnTo>
                    <a:lnTo>
                      <a:pt x="5457" y="947"/>
                    </a:lnTo>
                    <a:lnTo>
                      <a:pt x="5457" y="296"/>
                    </a:lnTo>
                    <a:lnTo>
                      <a:pt x="5550" y="296"/>
                    </a:lnTo>
                    <a:lnTo>
                      <a:pt x="5550" y="447"/>
                    </a:lnTo>
                    <a:lnTo>
                      <a:pt x="5554" y="447"/>
                    </a:lnTo>
                    <a:lnTo>
                      <a:pt x="5558" y="430"/>
                    </a:lnTo>
                    <a:lnTo>
                      <a:pt x="5565" y="412"/>
                    </a:lnTo>
                    <a:lnTo>
                      <a:pt x="5571" y="397"/>
                    </a:lnTo>
                    <a:lnTo>
                      <a:pt x="5578" y="382"/>
                    </a:lnTo>
                    <a:lnTo>
                      <a:pt x="5585" y="367"/>
                    </a:lnTo>
                    <a:lnTo>
                      <a:pt x="5594" y="354"/>
                    </a:lnTo>
                    <a:lnTo>
                      <a:pt x="5604" y="341"/>
                    </a:lnTo>
                    <a:lnTo>
                      <a:pt x="5614" y="329"/>
                    </a:lnTo>
                    <a:lnTo>
                      <a:pt x="5625" y="318"/>
                    </a:lnTo>
                    <a:lnTo>
                      <a:pt x="5637" y="309"/>
                    </a:lnTo>
                    <a:lnTo>
                      <a:pt x="5651" y="301"/>
                    </a:lnTo>
                    <a:lnTo>
                      <a:pt x="5665" y="294"/>
                    </a:lnTo>
                    <a:lnTo>
                      <a:pt x="5681" y="289"/>
                    </a:lnTo>
                    <a:lnTo>
                      <a:pt x="5698" y="284"/>
                    </a:lnTo>
                    <a:lnTo>
                      <a:pt x="5715" y="282"/>
                    </a:lnTo>
                    <a:lnTo>
                      <a:pt x="5735" y="281"/>
                    </a:lnTo>
                    <a:lnTo>
                      <a:pt x="5752" y="282"/>
                    </a:lnTo>
                    <a:lnTo>
                      <a:pt x="5770" y="283"/>
                    </a:lnTo>
                    <a:lnTo>
                      <a:pt x="5786" y="287"/>
                    </a:lnTo>
                    <a:lnTo>
                      <a:pt x="5801" y="291"/>
                    </a:lnTo>
                    <a:lnTo>
                      <a:pt x="5814" y="296"/>
                    </a:lnTo>
                    <a:lnTo>
                      <a:pt x="5828" y="303"/>
                    </a:lnTo>
                    <a:lnTo>
                      <a:pt x="5840" y="310"/>
                    </a:lnTo>
                    <a:lnTo>
                      <a:pt x="5851" y="319"/>
                    </a:lnTo>
                    <a:lnTo>
                      <a:pt x="5861" y="329"/>
                    </a:lnTo>
                    <a:lnTo>
                      <a:pt x="5869" y="341"/>
                    </a:lnTo>
                    <a:lnTo>
                      <a:pt x="5877" y="353"/>
                    </a:lnTo>
                    <a:lnTo>
                      <a:pt x="5885" y="366"/>
                    </a:lnTo>
                    <a:lnTo>
                      <a:pt x="5890" y="381"/>
                    </a:lnTo>
                    <a:lnTo>
                      <a:pt x="5894" y="396"/>
                    </a:lnTo>
                    <a:lnTo>
                      <a:pt x="5898" y="412"/>
                    </a:lnTo>
                    <a:lnTo>
                      <a:pt x="5899" y="430"/>
                    </a:lnTo>
                    <a:lnTo>
                      <a:pt x="5902" y="430"/>
                    </a:lnTo>
                    <a:lnTo>
                      <a:pt x="5907" y="415"/>
                    </a:lnTo>
                    <a:lnTo>
                      <a:pt x="5914" y="399"/>
                    </a:lnTo>
                    <a:lnTo>
                      <a:pt x="5922" y="385"/>
                    </a:lnTo>
                    <a:lnTo>
                      <a:pt x="5929" y="372"/>
                    </a:lnTo>
                    <a:lnTo>
                      <a:pt x="5938" y="359"/>
                    </a:lnTo>
                    <a:lnTo>
                      <a:pt x="5948" y="346"/>
                    </a:lnTo>
                    <a:lnTo>
                      <a:pt x="5958" y="335"/>
                    </a:lnTo>
                    <a:lnTo>
                      <a:pt x="5970" y="325"/>
                    </a:lnTo>
                    <a:lnTo>
                      <a:pt x="5982" y="315"/>
                    </a:lnTo>
                    <a:lnTo>
                      <a:pt x="5995" y="306"/>
                    </a:lnTo>
                    <a:lnTo>
                      <a:pt x="6008" y="298"/>
                    </a:lnTo>
                    <a:lnTo>
                      <a:pt x="6022" y="293"/>
                    </a:lnTo>
                    <a:lnTo>
                      <a:pt x="6038" y="288"/>
                    </a:lnTo>
                    <a:lnTo>
                      <a:pt x="6053" y="284"/>
                    </a:lnTo>
                    <a:lnTo>
                      <a:pt x="6069" y="282"/>
                    </a:lnTo>
                    <a:lnTo>
                      <a:pt x="6086" y="281"/>
                    </a:lnTo>
                    <a:lnTo>
                      <a:pt x="6097" y="281"/>
                    </a:lnTo>
                    <a:lnTo>
                      <a:pt x="6107" y="282"/>
                    </a:lnTo>
                    <a:lnTo>
                      <a:pt x="6117" y="283"/>
                    </a:lnTo>
                    <a:lnTo>
                      <a:pt x="6127" y="285"/>
                    </a:lnTo>
                    <a:lnTo>
                      <a:pt x="6135" y="288"/>
                    </a:lnTo>
                    <a:lnTo>
                      <a:pt x="6144" y="291"/>
                    </a:lnTo>
                    <a:lnTo>
                      <a:pt x="6153" y="294"/>
                    </a:lnTo>
                    <a:lnTo>
                      <a:pt x="6160" y="298"/>
                    </a:lnTo>
                    <a:lnTo>
                      <a:pt x="6175" y="307"/>
                    </a:lnTo>
                    <a:lnTo>
                      <a:pt x="6190" y="318"/>
                    </a:lnTo>
                    <a:lnTo>
                      <a:pt x="6201" y="330"/>
                    </a:lnTo>
                    <a:lnTo>
                      <a:pt x="6212" y="343"/>
                    </a:lnTo>
                    <a:lnTo>
                      <a:pt x="6222" y="358"/>
                    </a:lnTo>
                    <a:lnTo>
                      <a:pt x="6231" y="373"/>
                    </a:lnTo>
                    <a:lnTo>
                      <a:pt x="6237" y="391"/>
                    </a:lnTo>
                    <a:lnTo>
                      <a:pt x="6243" y="408"/>
                    </a:lnTo>
                    <a:lnTo>
                      <a:pt x="6247" y="426"/>
                    </a:lnTo>
                    <a:lnTo>
                      <a:pt x="6250" y="444"/>
                    </a:lnTo>
                    <a:lnTo>
                      <a:pt x="6252" y="464"/>
                    </a:lnTo>
                    <a:lnTo>
                      <a:pt x="6252" y="482"/>
                    </a:lnTo>
                    <a:lnTo>
                      <a:pt x="6252" y="947"/>
                    </a:lnTo>
                    <a:lnTo>
                      <a:pt x="6160" y="947"/>
                    </a:lnTo>
                    <a:close/>
                    <a:moveTo>
                      <a:pt x="5158" y="677"/>
                    </a:moveTo>
                    <a:lnTo>
                      <a:pt x="5158" y="947"/>
                    </a:lnTo>
                    <a:lnTo>
                      <a:pt x="5065" y="947"/>
                    </a:lnTo>
                    <a:lnTo>
                      <a:pt x="5065" y="296"/>
                    </a:lnTo>
                    <a:lnTo>
                      <a:pt x="5158" y="296"/>
                    </a:lnTo>
                    <a:lnTo>
                      <a:pt x="5158" y="422"/>
                    </a:lnTo>
                    <a:lnTo>
                      <a:pt x="5161" y="422"/>
                    </a:lnTo>
                    <a:lnTo>
                      <a:pt x="5168" y="405"/>
                    </a:lnTo>
                    <a:lnTo>
                      <a:pt x="5178" y="389"/>
                    </a:lnTo>
                    <a:lnTo>
                      <a:pt x="5187" y="374"/>
                    </a:lnTo>
                    <a:lnTo>
                      <a:pt x="5198" y="360"/>
                    </a:lnTo>
                    <a:lnTo>
                      <a:pt x="5209" y="347"/>
                    </a:lnTo>
                    <a:lnTo>
                      <a:pt x="5221" y="336"/>
                    </a:lnTo>
                    <a:lnTo>
                      <a:pt x="5233" y="326"/>
                    </a:lnTo>
                    <a:lnTo>
                      <a:pt x="5246" y="316"/>
                    </a:lnTo>
                    <a:lnTo>
                      <a:pt x="5260" y="308"/>
                    </a:lnTo>
                    <a:lnTo>
                      <a:pt x="5275" y="301"/>
                    </a:lnTo>
                    <a:lnTo>
                      <a:pt x="5290" y="295"/>
                    </a:lnTo>
                    <a:lnTo>
                      <a:pt x="5306" y="290"/>
                    </a:lnTo>
                    <a:lnTo>
                      <a:pt x="5323" y="287"/>
                    </a:lnTo>
                    <a:lnTo>
                      <a:pt x="5341" y="283"/>
                    </a:lnTo>
                    <a:lnTo>
                      <a:pt x="5359" y="282"/>
                    </a:lnTo>
                    <a:lnTo>
                      <a:pt x="5378" y="281"/>
                    </a:lnTo>
                    <a:lnTo>
                      <a:pt x="5378" y="381"/>
                    </a:lnTo>
                    <a:lnTo>
                      <a:pt x="5363" y="382"/>
                    </a:lnTo>
                    <a:lnTo>
                      <a:pt x="5348" y="383"/>
                    </a:lnTo>
                    <a:lnTo>
                      <a:pt x="5333" y="385"/>
                    </a:lnTo>
                    <a:lnTo>
                      <a:pt x="5320" y="389"/>
                    </a:lnTo>
                    <a:lnTo>
                      <a:pt x="5307" y="392"/>
                    </a:lnTo>
                    <a:lnTo>
                      <a:pt x="5295" y="396"/>
                    </a:lnTo>
                    <a:lnTo>
                      <a:pt x="5284" y="402"/>
                    </a:lnTo>
                    <a:lnTo>
                      <a:pt x="5273" y="407"/>
                    </a:lnTo>
                    <a:lnTo>
                      <a:pt x="5263" y="415"/>
                    </a:lnTo>
                    <a:lnTo>
                      <a:pt x="5253" y="421"/>
                    </a:lnTo>
                    <a:lnTo>
                      <a:pt x="5243" y="429"/>
                    </a:lnTo>
                    <a:lnTo>
                      <a:pt x="5235" y="437"/>
                    </a:lnTo>
                    <a:lnTo>
                      <a:pt x="5226" y="446"/>
                    </a:lnTo>
                    <a:lnTo>
                      <a:pt x="5218" y="456"/>
                    </a:lnTo>
                    <a:lnTo>
                      <a:pt x="5212" y="466"/>
                    </a:lnTo>
                    <a:lnTo>
                      <a:pt x="5205" y="477"/>
                    </a:lnTo>
                    <a:lnTo>
                      <a:pt x="5199" y="487"/>
                    </a:lnTo>
                    <a:lnTo>
                      <a:pt x="5193" y="498"/>
                    </a:lnTo>
                    <a:lnTo>
                      <a:pt x="5188" y="510"/>
                    </a:lnTo>
                    <a:lnTo>
                      <a:pt x="5184" y="521"/>
                    </a:lnTo>
                    <a:lnTo>
                      <a:pt x="5175" y="546"/>
                    </a:lnTo>
                    <a:lnTo>
                      <a:pt x="5168" y="571"/>
                    </a:lnTo>
                    <a:lnTo>
                      <a:pt x="5164" y="598"/>
                    </a:lnTo>
                    <a:lnTo>
                      <a:pt x="5161" y="624"/>
                    </a:lnTo>
                    <a:lnTo>
                      <a:pt x="5159" y="651"/>
                    </a:lnTo>
                    <a:lnTo>
                      <a:pt x="5158" y="677"/>
                    </a:lnTo>
                    <a:close/>
                    <a:moveTo>
                      <a:pt x="4683" y="359"/>
                    </a:moveTo>
                    <a:lnTo>
                      <a:pt x="4672" y="359"/>
                    </a:lnTo>
                    <a:lnTo>
                      <a:pt x="4660" y="361"/>
                    </a:lnTo>
                    <a:lnTo>
                      <a:pt x="4649" y="364"/>
                    </a:lnTo>
                    <a:lnTo>
                      <a:pt x="4638" y="367"/>
                    </a:lnTo>
                    <a:lnTo>
                      <a:pt x="4628" y="370"/>
                    </a:lnTo>
                    <a:lnTo>
                      <a:pt x="4619" y="374"/>
                    </a:lnTo>
                    <a:lnTo>
                      <a:pt x="4610" y="380"/>
                    </a:lnTo>
                    <a:lnTo>
                      <a:pt x="4602" y="385"/>
                    </a:lnTo>
                    <a:lnTo>
                      <a:pt x="4594" y="392"/>
                    </a:lnTo>
                    <a:lnTo>
                      <a:pt x="4587" y="399"/>
                    </a:lnTo>
                    <a:lnTo>
                      <a:pt x="4580" y="407"/>
                    </a:lnTo>
                    <a:lnTo>
                      <a:pt x="4574" y="415"/>
                    </a:lnTo>
                    <a:lnTo>
                      <a:pt x="4568" y="423"/>
                    </a:lnTo>
                    <a:lnTo>
                      <a:pt x="4563" y="432"/>
                    </a:lnTo>
                    <a:lnTo>
                      <a:pt x="4559" y="442"/>
                    </a:lnTo>
                    <a:lnTo>
                      <a:pt x="4554" y="452"/>
                    </a:lnTo>
                    <a:lnTo>
                      <a:pt x="4546" y="472"/>
                    </a:lnTo>
                    <a:lnTo>
                      <a:pt x="4540" y="493"/>
                    </a:lnTo>
                    <a:lnTo>
                      <a:pt x="4535" y="515"/>
                    </a:lnTo>
                    <a:lnTo>
                      <a:pt x="4532" y="537"/>
                    </a:lnTo>
                    <a:lnTo>
                      <a:pt x="4528" y="559"/>
                    </a:lnTo>
                    <a:lnTo>
                      <a:pt x="4526" y="581"/>
                    </a:lnTo>
                    <a:lnTo>
                      <a:pt x="4525" y="601"/>
                    </a:lnTo>
                    <a:lnTo>
                      <a:pt x="4525" y="622"/>
                    </a:lnTo>
                    <a:lnTo>
                      <a:pt x="4525" y="642"/>
                    </a:lnTo>
                    <a:lnTo>
                      <a:pt x="4526" y="663"/>
                    </a:lnTo>
                    <a:lnTo>
                      <a:pt x="4528" y="685"/>
                    </a:lnTo>
                    <a:lnTo>
                      <a:pt x="4532" y="707"/>
                    </a:lnTo>
                    <a:lnTo>
                      <a:pt x="4535" y="728"/>
                    </a:lnTo>
                    <a:lnTo>
                      <a:pt x="4540" y="750"/>
                    </a:lnTo>
                    <a:lnTo>
                      <a:pt x="4546" y="772"/>
                    </a:lnTo>
                    <a:lnTo>
                      <a:pt x="4554" y="793"/>
                    </a:lnTo>
                    <a:lnTo>
                      <a:pt x="4559" y="802"/>
                    </a:lnTo>
                    <a:lnTo>
                      <a:pt x="4563" y="811"/>
                    </a:lnTo>
                    <a:lnTo>
                      <a:pt x="4568" y="820"/>
                    </a:lnTo>
                    <a:lnTo>
                      <a:pt x="4574" y="828"/>
                    </a:lnTo>
                    <a:lnTo>
                      <a:pt x="4580" y="837"/>
                    </a:lnTo>
                    <a:lnTo>
                      <a:pt x="4587" y="845"/>
                    </a:lnTo>
                    <a:lnTo>
                      <a:pt x="4594" y="851"/>
                    </a:lnTo>
                    <a:lnTo>
                      <a:pt x="4602" y="858"/>
                    </a:lnTo>
                    <a:lnTo>
                      <a:pt x="4610" y="864"/>
                    </a:lnTo>
                    <a:lnTo>
                      <a:pt x="4619" y="869"/>
                    </a:lnTo>
                    <a:lnTo>
                      <a:pt x="4628" y="874"/>
                    </a:lnTo>
                    <a:lnTo>
                      <a:pt x="4638" y="877"/>
                    </a:lnTo>
                    <a:lnTo>
                      <a:pt x="4649" y="880"/>
                    </a:lnTo>
                    <a:lnTo>
                      <a:pt x="4660" y="883"/>
                    </a:lnTo>
                    <a:lnTo>
                      <a:pt x="4672" y="884"/>
                    </a:lnTo>
                    <a:lnTo>
                      <a:pt x="4683" y="885"/>
                    </a:lnTo>
                    <a:lnTo>
                      <a:pt x="4696" y="884"/>
                    </a:lnTo>
                    <a:lnTo>
                      <a:pt x="4708" y="883"/>
                    </a:lnTo>
                    <a:lnTo>
                      <a:pt x="4719" y="880"/>
                    </a:lnTo>
                    <a:lnTo>
                      <a:pt x="4730" y="877"/>
                    </a:lnTo>
                    <a:lnTo>
                      <a:pt x="4740" y="874"/>
                    </a:lnTo>
                    <a:lnTo>
                      <a:pt x="4750" y="870"/>
                    </a:lnTo>
                    <a:lnTo>
                      <a:pt x="4758" y="864"/>
                    </a:lnTo>
                    <a:lnTo>
                      <a:pt x="4767" y="858"/>
                    </a:lnTo>
                    <a:lnTo>
                      <a:pt x="4775" y="852"/>
                    </a:lnTo>
                    <a:lnTo>
                      <a:pt x="4782" y="845"/>
                    </a:lnTo>
                    <a:lnTo>
                      <a:pt x="4789" y="837"/>
                    </a:lnTo>
                    <a:lnTo>
                      <a:pt x="4795" y="829"/>
                    </a:lnTo>
                    <a:lnTo>
                      <a:pt x="4801" y="821"/>
                    </a:lnTo>
                    <a:lnTo>
                      <a:pt x="4806" y="812"/>
                    </a:lnTo>
                    <a:lnTo>
                      <a:pt x="4812" y="802"/>
                    </a:lnTo>
                    <a:lnTo>
                      <a:pt x="4816" y="793"/>
                    </a:lnTo>
                    <a:lnTo>
                      <a:pt x="4823" y="772"/>
                    </a:lnTo>
                    <a:lnTo>
                      <a:pt x="4830" y="751"/>
                    </a:lnTo>
                    <a:lnTo>
                      <a:pt x="4835" y="730"/>
                    </a:lnTo>
                    <a:lnTo>
                      <a:pt x="4839" y="707"/>
                    </a:lnTo>
                    <a:lnTo>
                      <a:pt x="4842" y="685"/>
                    </a:lnTo>
                    <a:lnTo>
                      <a:pt x="4844" y="663"/>
                    </a:lnTo>
                    <a:lnTo>
                      <a:pt x="4845" y="642"/>
                    </a:lnTo>
                    <a:lnTo>
                      <a:pt x="4845" y="622"/>
                    </a:lnTo>
                    <a:lnTo>
                      <a:pt x="4845" y="601"/>
                    </a:lnTo>
                    <a:lnTo>
                      <a:pt x="4844" y="581"/>
                    </a:lnTo>
                    <a:lnTo>
                      <a:pt x="4842" y="558"/>
                    </a:lnTo>
                    <a:lnTo>
                      <a:pt x="4839" y="536"/>
                    </a:lnTo>
                    <a:lnTo>
                      <a:pt x="4835" y="515"/>
                    </a:lnTo>
                    <a:lnTo>
                      <a:pt x="4830" y="493"/>
                    </a:lnTo>
                    <a:lnTo>
                      <a:pt x="4823" y="471"/>
                    </a:lnTo>
                    <a:lnTo>
                      <a:pt x="4815" y="452"/>
                    </a:lnTo>
                    <a:lnTo>
                      <a:pt x="4810" y="442"/>
                    </a:lnTo>
                    <a:lnTo>
                      <a:pt x="4805" y="432"/>
                    </a:lnTo>
                    <a:lnTo>
                      <a:pt x="4800" y="423"/>
                    </a:lnTo>
                    <a:lnTo>
                      <a:pt x="4794" y="415"/>
                    </a:lnTo>
                    <a:lnTo>
                      <a:pt x="4788" y="407"/>
                    </a:lnTo>
                    <a:lnTo>
                      <a:pt x="4781" y="399"/>
                    </a:lnTo>
                    <a:lnTo>
                      <a:pt x="4774" y="392"/>
                    </a:lnTo>
                    <a:lnTo>
                      <a:pt x="4766" y="385"/>
                    </a:lnTo>
                    <a:lnTo>
                      <a:pt x="4757" y="380"/>
                    </a:lnTo>
                    <a:lnTo>
                      <a:pt x="4749" y="374"/>
                    </a:lnTo>
                    <a:lnTo>
                      <a:pt x="4740" y="370"/>
                    </a:lnTo>
                    <a:lnTo>
                      <a:pt x="4729" y="366"/>
                    </a:lnTo>
                    <a:lnTo>
                      <a:pt x="4719" y="364"/>
                    </a:lnTo>
                    <a:lnTo>
                      <a:pt x="4707" y="361"/>
                    </a:lnTo>
                    <a:lnTo>
                      <a:pt x="4696" y="359"/>
                    </a:lnTo>
                    <a:lnTo>
                      <a:pt x="4683" y="359"/>
                    </a:lnTo>
                    <a:close/>
                    <a:moveTo>
                      <a:pt x="4683" y="962"/>
                    </a:moveTo>
                    <a:lnTo>
                      <a:pt x="4665" y="962"/>
                    </a:lnTo>
                    <a:lnTo>
                      <a:pt x="4648" y="961"/>
                    </a:lnTo>
                    <a:lnTo>
                      <a:pt x="4630" y="958"/>
                    </a:lnTo>
                    <a:lnTo>
                      <a:pt x="4615" y="955"/>
                    </a:lnTo>
                    <a:lnTo>
                      <a:pt x="4599" y="951"/>
                    </a:lnTo>
                    <a:lnTo>
                      <a:pt x="4585" y="946"/>
                    </a:lnTo>
                    <a:lnTo>
                      <a:pt x="4571" y="940"/>
                    </a:lnTo>
                    <a:lnTo>
                      <a:pt x="4558" y="934"/>
                    </a:lnTo>
                    <a:lnTo>
                      <a:pt x="4545" y="927"/>
                    </a:lnTo>
                    <a:lnTo>
                      <a:pt x="4534" y="918"/>
                    </a:lnTo>
                    <a:lnTo>
                      <a:pt x="4522" y="910"/>
                    </a:lnTo>
                    <a:lnTo>
                      <a:pt x="4512" y="901"/>
                    </a:lnTo>
                    <a:lnTo>
                      <a:pt x="4502" y="891"/>
                    </a:lnTo>
                    <a:lnTo>
                      <a:pt x="4493" y="880"/>
                    </a:lnTo>
                    <a:lnTo>
                      <a:pt x="4484" y="870"/>
                    </a:lnTo>
                    <a:lnTo>
                      <a:pt x="4476" y="859"/>
                    </a:lnTo>
                    <a:lnTo>
                      <a:pt x="4469" y="847"/>
                    </a:lnTo>
                    <a:lnTo>
                      <a:pt x="4462" y="834"/>
                    </a:lnTo>
                    <a:lnTo>
                      <a:pt x="4456" y="821"/>
                    </a:lnTo>
                    <a:lnTo>
                      <a:pt x="4449" y="808"/>
                    </a:lnTo>
                    <a:lnTo>
                      <a:pt x="4445" y="794"/>
                    </a:lnTo>
                    <a:lnTo>
                      <a:pt x="4439" y="779"/>
                    </a:lnTo>
                    <a:lnTo>
                      <a:pt x="4435" y="764"/>
                    </a:lnTo>
                    <a:lnTo>
                      <a:pt x="4432" y="750"/>
                    </a:lnTo>
                    <a:lnTo>
                      <a:pt x="4426" y="720"/>
                    </a:lnTo>
                    <a:lnTo>
                      <a:pt x="4422" y="688"/>
                    </a:lnTo>
                    <a:lnTo>
                      <a:pt x="4420" y="656"/>
                    </a:lnTo>
                    <a:lnTo>
                      <a:pt x="4419" y="623"/>
                    </a:lnTo>
                    <a:lnTo>
                      <a:pt x="4420" y="591"/>
                    </a:lnTo>
                    <a:lnTo>
                      <a:pt x="4422" y="558"/>
                    </a:lnTo>
                    <a:lnTo>
                      <a:pt x="4426" y="526"/>
                    </a:lnTo>
                    <a:lnTo>
                      <a:pt x="4432" y="496"/>
                    </a:lnTo>
                    <a:lnTo>
                      <a:pt x="4435" y="481"/>
                    </a:lnTo>
                    <a:lnTo>
                      <a:pt x="4439" y="467"/>
                    </a:lnTo>
                    <a:lnTo>
                      <a:pt x="4445" y="452"/>
                    </a:lnTo>
                    <a:lnTo>
                      <a:pt x="4449" y="439"/>
                    </a:lnTo>
                    <a:lnTo>
                      <a:pt x="4456" y="424"/>
                    </a:lnTo>
                    <a:lnTo>
                      <a:pt x="4462" y="411"/>
                    </a:lnTo>
                    <a:lnTo>
                      <a:pt x="4469" y="398"/>
                    </a:lnTo>
                    <a:lnTo>
                      <a:pt x="4476" y="386"/>
                    </a:lnTo>
                    <a:lnTo>
                      <a:pt x="4484" y="374"/>
                    </a:lnTo>
                    <a:lnTo>
                      <a:pt x="4493" y="364"/>
                    </a:lnTo>
                    <a:lnTo>
                      <a:pt x="4502" y="353"/>
                    </a:lnTo>
                    <a:lnTo>
                      <a:pt x="4512" y="343"/>
                    </a:lnTo>
                    <a:lnTo>
                      <a:pt x="4522" y="334"/>
                    </a:lnTo>
                    <a:lnTo>
                      <a:pt x="4534" y="326"/>
                    </a:lnTo>
                    <a:lnTo>
                      <a:pt x="4545" y="317"/>
                    </a:lnTo>
                    <a:lnTo>
                      <a:pt x="4558" y="310"/>
                    </a:lnTo>
                    <a:lnTo>
                      <a:pt x="4571" y="304"/>
                    </a:lnTo>
                    <a:lnTo>
                      <a:pt x="4585" y="297"/>
                    </a:lnTo>
                    <a:lnTo>
                      <a:pt x="4599" y="293"/>
                    </a:lnTo>
                    <a:lnTo>
                      <a:pt x="4615" y="289"/>
                    </a:lnTo>
                    <a:lnTo>
                      <a:pt x="4630" y="285"/>
                    </a:lnTo>
                    <a:lnTo>
                      <a:pt x="4648" y="283"/>
                    </a:lnTo>
                    <a:lnTo>
                      <a:pt x="4665" y="282"/>
                    </a:lnTo>
                    <a:lnTo>
                      <a:pt x="4683" y="281"/>
                    </a:lnTo>
                    <a:lnTo>
                      <a:pt x="4702" y="282"/>
                    </a:lnTo>
                    <a:lnTo>
                      <a:pt x="4720" y="283"/>
                    </a:lnTo>
                    <a:lnTo>
                      <a:pt x="4737" y="285"/>
                    </a:lnTo>
                    <a:lnTo>
                      <a:pt x="4753" y="289"/>
                    </a:lnTo>
                    <a:lnTo>
                      <a:pt x="4769" y="293"/>
                    </a:lnTo>
                    <a:lnTo>
                      <a:pt x="4783" y="297"/>
                    </a:lnTo>
                    <a:lnTo>
                      <a:pt x="4797" y="304"/>
                    </a:lnTo>
                    <a:lnTo>
                      <a:pt x="4810" y="309"/>
                    </a:lnTo>
                    <a:lnTo>
                      <a:pt x="4823" y="317"/>
                    </a:lnTo>
                    <a:lnTo>
                      <a:pt x="4835" y="325"/>
                    </a:lnTo>
                    <a:lnTo>
                      <a:pt x="4846" y="333"/>
                    </a:lnTo>
                    <a:lnTo>
                      <a:pt x="4857" y="343"/>
                    </a:lnTo>
                    <a:lnTo>
                      <a:pt x="4867" y="353"/>
                    </a:lnTo>
                    <a:lnTo>
                      <a:pt x="4877" y="364"/>
                    </a:lnTo>
                    <a:lnTo>
                      <a:pt x="4885" y="374"/>
                    </a:lnTo>
                    <a:lnTo>
                      <a:pt x="4894" y="386"/>
                    </a:lnTo>
                    <a:lnTo>
                      <a:pt x="4902" y="398"/>
                    </a:lnTo>
                    <a:lnTo>
                      <a:pt x="4908" y="410"/>
                    </a:lnTo>
                    <a:lnTo>
                      <a:pt x="4915" y="424"/>
                    </a:lnTo>
                    <a:lnTo>
                      <a:pt x="4920" y="437"/>
                    </a:lnTo>
                    <a:lnTo>
                      <a:pt x="4925" y="452"/>
                    </a:lnTo>
                    <a:lnTo>
                      <a:pt x="4930" y="466"/>
                    </a:lnTo>
                    <a:lnTo>
                      <a:pt x="4934" y="481"/>
                    </a:lnTo>
                    <a:lnTo>
                      <a:pt x="4938" y="495"/>
                    </a:lnTo>
                    <a:lnTo>
                      <a:pt x="4944" y="526"/>
                    </a:lnTo>
                    <a:lnTo>
                      <a:pt x="4948" y="558"/>
                    </a:lnTo>
                    <a:lnTo>
                      <a:pt x="4950" y="591"/>
                    </a:lnTo>
                    <a:lnTo>
                      <a:pt x="4951" y="623"/>
                    </a:lnTo>
                    <a:lnTo>
                      <a:pt x="4950" y="656"/>
                    </a:lnTo>
                    <a:lnTo>
                      <a:pt x="4948" y="688"/>
                    </a:lnTo>
                    <a:lnTo>
                      <a:pt x="4944" y="720"/>
                    </a:lnTo>
                    <a:lnTo>
                      <a:pt x="4938" y="750"/>
                    </a:lnTo>
                    <a:lnTo>
                      <a:pt x="4934" y="765"/>
                    </a:lnTo>
                    <a:lnTo>
                      <a:pt x="4930" y="779"/>
                    </a:lnTo>
                    <a:lnTo>
                      <a:pt x="4925" y="794"/>
                    </a:lnTo>
                    <a:lnTo>
                      <a:pt x="4920" y="808"/>
                    </a:lnTo>
                    <a:lnTo>
                      <a:pt x="4915" y="822"/>
                    </a:lnTo>
                    <a:lnTo>
                      <a:pt x="4908" y="834"/>
                    </a:lnTo>
                    <a:lnTo>
                      <a:pt x="4902" y="847"/>
                    </a:lnTo>
                    <a:lnTo>
                      <a:pt x="4894" y="859"/>
                    </a:lnTo>
                    <a:lnTo>
                      <a:pt x="4885" y="871"/>
                    </a:lnTo>
                    <a:lnTo>
                      <a:pt x="4877" y="882"/>
                    </a:lnTo>
                    <a:lnTo>
                      <a:pt x="4867" y="891"/>
                    </a:lnTo>
                    <a:lnTo>
                      <a:pt x="4857" y="901"/>
                    </a:lnTo>
                    <a:lnTo>
                      <a:pt x="4846" y="911"/>
                    </a:lnTo>
                    <a:lnTo>
                      <a:pt x="4835" y="920"/>
                    </a:lnTo>
                    <a:lnTo>
                      <a:pt x="4823" y="927"/>
                    </a:lnTo>
                    <a:lnTo>
                      <a:pt x="4810" y="934"/>
                    </a:lnTo>
                    <a:lnTo>
                      <a:pt x="4797" y="940"/>
                    </a:lnTo>
                    <a:lnTo>
                      <a:pt x="4783" y="946"/>
                    </a:lnTo>
                    <a:lnTo>
                      <a:pt x="4769" y="951"/>
                    </a:lnTo>
                    <a:lnTo>
                      <a:pt x="4753" y="955"/>
                    </a:lnTo>
                    <a:lnTo>
                      <a:pt x="4737" y="958"/>
                    </a:lnTo>
                    <a:lnTo>
                      <a:pt x="4720" y="961"/>
                    </a:lnTo>
                    <a:lnTo>
                      <a:pt x="4702" y="962"/>
                    </a:lnTo>
                    <a:lnTo>
                      <a:pt x="4683" y="962"/>
                    </a:lnTo>
                    <a:close/>
                    <a:moveTo>
                      <a:pt x="4340" y="77"/>
                    </a:moveTo>
                    <a:lnTo>
                      <a:pt x="4325" y="78"/>
                    </a:lnTo>
                    <a:lnTo>
                      <a:pt x="4313" y="79"/>
                    </a:lnTo>
                    <a:lnTo>
                      <a:pt x="4302" y="80"/>
                    </a:lnTo>
                    <a:lnTo>
                      <a:pt x="4291" y="82"/>
                    </a:lnTo>
                    <a:lnTo>
                      <a:pt x="4281" y="85"/>
                    </a:lnTo>
                    <a:lnTo>
                      <a:pt x="4272" y="88"/>
                    </a:lnTo>
                    <a:lnTo>
                      <a:pt x="4264" y="92"/>
                    </a:lnTo>
                    <a:lnTo>
                      <a:pt x="4256" y="95"/>
                    </a:lnTo>
                    <a:lnTo>
                      <a:pt x="4248" y="101"/>
                    </a:lnTo>
                    <a:lnTo>
                      <a:pt x="4242" y="105"/>
                    </a:lnTo>
                    <a:lnTo>
                      <a:pt x="4236" y="112"/>
                    </a:lnTo>
                    <a:lnTo>
                      <a:pt x="4231" y="117"/>
                    </a:lnTo>
                    <a:lnTo>
                      <a:pt x="4227" y="124"/>
                    </a:lnTo>
                    <a:lnTo>
                      <a:pt x="4222" y="130"/>
                    </a:lnTo>
                    <a:lnTo>
                      <a:pt x="4219" y="138"/>
                    </a:lnTo>
                    <a:lnTo>
                      <a:pt x="4216" y="145"/>
                    </a:lnTo>
                    <a:lnTo>
                      <a:pt x="4210" y="161"/>
                    </a:lnTo>
                    <a:lnTo>
                      <a:pt x="4207" y="178"/>
                    </a:lnTo>
                    <a:lnTo>
                      <a:pt x="4205" y="196"/>
                    </a:lnTo>
                    <a:lnTo>
                      <a:pt x="4203" y="215"/>
                    </a:lnTo>
                    <a:lnTo>
                      <a:pt x="4203" y="255"/>
                    </a:lnTo>
                    <a:lnTo>
                      <a:pt x="4203" y="296"/>
                    </a:lnTo>
                    <a:lnTo>
                      <a:pt x="4389" y="296"/>
                    </a:lnTo>
                    <a:lnTo>
                      <a:pt x="4389" y="374"/>
                    </a:lnTo>
                    <a:lnTo>
                      <a:pt x="4203" y="374"/>
                    </a:lnTo>
                    <a:lnTo>
                      <a:pt x="4203" y="947"/>
                    </a:lnTo>
                    <a:lnTo>
                      <a:pt x="4109" y="947"/>
                    </a:lnTo>
                    <a:lnTo>
                      <a:pt x="4109" y="374"/>
                    </a:lnTo>
                    <a:lnTo>
                      <a:pt x="4001" y="374"/>
                    </a:lnTo>
                    <a:lnTo>
                      <a:pt x="4001" y="296"/>
                    </a:lnTo>
                    <a:lnTo>
                      <a:pt x="4109" y="296"/>
                    </a:lnTo>
                    <a:lnTo>
                      <a:pt x="4109" y="206"/>
                    </a:lnTo>
                    <a:lnTo>
                      <a:pt x="4111" y="181"/>
                    </a:lnTo>
                    <a:lnTo>
                      <a:pt x="4114" y="158"/>
                    </a:lnTo>
                    <a:lnTo>
                      <a:pt x="4118" y="137"/>
                    </a:lnTo>
                    <a:lnTo>
                      <a:pt x="4124" y="117"/>
                    </a:lnTo>
                    <a:lnTo>
                      <a:pt x="4128" y="107"/>
                    </a:lnTo>
                    <a:lnTo>
                      <a:pt x="4132" y="99"/>
                    </a:lnTo>
                    <a:lnTo>
                      <a:pt x="4137" y="90"/>
                    </a:lnTo>
                    <a:lnTo>
                      <a:pt x="4142" y="81"/>
                    </a:lnTo>
                    <a:lnTo>
                      <a:pt x="4147" y="74"/>
                    </a:lnTo>
                    <a:lnTo>
                      <a:pt x="4153" y="66"/>
                    </a:lnTo>
                    <a:lnTo>
                      <a:pt x="4159" y="59"/>
                    </a:lnTo>
                    <a:lnTo>
                      <a:pt x="4166" y="52"/>
                    </a:lnTo>
                    <a:lnTo>
                      <a:pt x="4172" y="45"/>
                    </a:lnTo>
                    <a:lnTo>
                      <a:pt x="4180" y="40"/>
                    </a:lnTo>
                    <a:lnTo>
                      <a:pt x="4188" y="35"/>
                    </a:lnTo>
                    <a:lnTo>
                      <a:pt x="4196" y="29"/>
                    </a:lnTo>
                    <a:lnTo>
                      <a:pt x="4214" y="21"/>
                    </a:lnTo>
                    <a:lnTo>
                      <a:pt x="4232" y="13"/>
                    </a:lnTo>
                    <a:lnTo>
                      <a:pt x="4253" y="7"/>
                    </a:lnTo>
                    <a:lnTo>
                      <a:pt x="4275" y="3"/>
                    </a:lnTo>
                    <a:lnTo>
                      <a:pt x="4298" y="1"/>
                    </a:lnTo>
                    <a:lnTo>
                      <a:pt x="4323" y="0"/>
                    </a:lnTo>
                    <a:lnTo>
                      <a:pt x="4350" y="1"/>
                    </a:lnTo>
                    <a:lnTo>
                      <a:pt x="4379" y="3"/>
                    </a:lnTo>
                    <a:lnTo>
                      <a:pt x="4406" y="6"/>
                    </a:lnTo>
                    <a:lnTo>
                      <a:pt x="4434" y="12"/>
                    </a:lnTo>
                    <a:lnTo>
                      <a:pt x="4434" y="95"/>
                    </a:lnTo>
                    <a:lnTo>
                      <a:pt x="4410" y="88"/>
                    </a:lnTo>
                    <a:lnTo>
                      <a:pt x="4387" y="82"/>
                    </a:lnTo>
                    <a:lnTo>
                      <a:pt x="4375" y="80"/>
                    </a:lnTo>
                    <a:lnTo>
                      <a:pt x="4363" y="79"/>
                    </a:lnTo>
                    <a:lnTo>
                      <a:pt x="4351" y="78"/>
                    </a:lnTo>
                    <a:lnTo>
                      <a:pt x="4340" y="77"/>
                    </a:lnTo>
                    <a:close/>
                    <a:moveTo>
                      <a:pt x="3709" y="677"/>
                    </a:moveTo>
                    <a:lnTo>
                      <a:pt x="3709" y="947"/>
                    </a:lnTo>
                    <a:lnTo>
                      <a:pt x="3617" y="947"/>
                    </a:lnTo>
                    <a:lnTo>
                      <a:pt x="3617" y="296"/>
                    </a:lnTo>
                    <a:lnTo>
                      <a:pt x="3709" y="296"/>
                    </a:lnTo>
                    <a:lnTo>
                      <a:pt x="3709" y="422"/>
                    </a:lnTo>
                    <a:lnTo>
                      <a:pt x="3712" y="422"/>
                    </a:lnTo>
                    <a:lnTo>
                      <a:pt x="3720" y="405"/>
                    </a:lnTo>
                    <a:lnTo>
                      <a:pt x="3729" y="389"/>
                    </a:lnTo>
                    <a:lnTo>
                      <a:pt x="3738" y="374"/>
                    </a:lnTo>
                    <a:lnTo>
                      <a:pt x="3748" y="360"/>
                    </a:lnTo>
                    <a:lnTo>
                      <a:pt x="3760" y="347"/>
                    </a:lnTo>
                    <a:lnTo>
                      <a:pt x="3771" y="336"/>
                    </a:lnTo>
                    <a:lnTo>
                      <a:pt x="3784" y="326"/>
                    </a:lnTo>
                    <a:lnTo>
                      <a:pt x="3797" y="316"/>
                    </a:lnTo>
                    <a:lnTo>
                      <a:pt x="3811" y="308"/>
                    </a:lnTo>
                    <a:lnTo>
                      <a:pt x="3825" y="301"/>
                    </a:lnTo>
                    <a:lnTo>
                      <a:pt x="3841" y="295"/>
                    </a:lnTo>
                    <a:lnTo>
                      <a:pt x="3858" y="290"/>
                    </a:lnTo>
                    <a:lnTo>
                      <a:pt x="3874" y="287"/>
                    </a:lnTo>
                    <a:lnTo>
                      <a:pt x="3891" y="283"/>
                    </a:lnTo>
                    <a:lnTo>
                      <a:pt x="3910" y="282"/>
                    </a:lnTo>
                    <a:lnTo>
                      <a:pt x="3929" y="281"/>
                    </a:lnTo>
                    <a:lnTo>
                      <a:pt x="3929" y="381"/>
                    </a:lnTo>
                    <a:lnTo>
                      <a:pt x="3914" y="382"/>
                    </a:lnTo>
                    <a:lnTo>
                      <a:pt x="3899" y="383"/>
                    </a:lnTo>
                    <a:lnTo>
                      <a:pt x="3885" y="385"/>
                    </a:lnTo>
                    <a:lnTo>
                      <a:pt x="3872" y="389"/>
                    </a:lnTo>
                    <a:lnTo>
                      <a:pt x="3859" y="392"/>
                    </a:lnTo>
                    <a:lnTo>
                      <a:pt x="3847" y="396"/>
                    </a:lnTo>
                    <a:lnTo>
                      <a:pt x="3835" y="402"/>
                    </a:lnTo>
                    <a:lnTo>
                      <a:pt x="3824" y="407"/>
                    </a:lnTo>
                    <a:lnTo>
                      <a:pt x="3813" y="415"/>
                    </a:lnTo>
                    <a:lnTo>
                      <a:pt x="3803" y="421"/>
                    </a:lnTo>
                    <a:lnTo>
                      <a:pt x="3795" y="429"/>
                    </a:lnTo>
                    <a:lnTo>
                      <a:pt x="3786" y="437"/>
                    </a:lnTo>
                    <a:lnTo>
                      <a:pt x="3777" y="446"/>
                    </a:lnTo>
                    <a:lnTo>
                      <a:pt x="3770" y="456"/>
                    </a:lnTo>
                    <a:lnTo>
                      <a:pt x="3763" y="466"/>
                    </a:lnTo>
                    <a:lnTo>
                      <a:pt x="3757" y="477"/>
                    </a:lnTo>
                    <a:lnTo>
                      <a:pt x="3750" y="487"/>
                    </a:lnTo>
                    <a:lnTo>
                      <a:pt x="3745" y="498"/>
                    </a:lnTo>
                    <a:lnTo>
                      <a:pt x="3739" y="510"/>
                    </a:lnTo>
                    <a:lnTo>
                      <a:pt x="3735" y="521"/>
                    </a:lnTo>
                    <a:lnTo>
                      <a:pt x="3726" y="546"/>
                    </a:lnTo>
                    <a:lnTo>
                      <a:pt x="3720" y="571"/>
                    </a:lnTo>
                    <a:lnTo>
                      <a:pt x="3716" y="598"/>
                    </a:lnTo>
                    <a:lnTo>
                      <a:pt x="3712" y="624"/>
                    </a:lnTo>
                    <a:lnTo>
                      <a:pt x="3710" y="651"/>
                    </a:lnTo>
                    <a:lnTo>
                      <a:pt x="3709" y="677"/>
                    </a:lnTo>
                    <a:close/>
                    <a:moveTo>
                      <a:pt x="3274" y="359"/>
                    </a:moveTo>
                    <a:lnTo>
                      <a:pt x="3260" y="360"/>
                    </a:lnTo>
                    <a:lnTo>
                      <a:pt x="3246" y="361"/>
                    </a:lnTo>
                    <a:lnTo>
                      <a:pt x="3234" y="365"/>
                    </a:lnTo>
                    <a:lnTo>
                      <a:pt x="3222" y="369"/>
                    </a:lnTo>
                    <a:lnTo>
                      <a:pt x="3211" y="373"/>
                    </a:lnTo>
                    <a:lnTo>
                      <a:pt x="3200" y="380"/>
                    </a:lnTo>
                    <a:lnTo>
                      <a:pt x="3190" y="386"/>
                    </a:lnTo>
                    <a:lnTo>
                      <a:pt x="3182" y="394"/>
                    </a:lnTo>
                    <a:lnTo>
                      <a:pt x="3173" y="403"/>
                    </a:lnTo>
                    <a:lnTo>
                      <a:pt x="3165" y="412"/>
                    </a:lnTo>
                    <a:lnTo>
                      <a:pt x="3159" y="422"/>
                    </a:lnTo>
                    <a:lnTo>
                      <a:pt x="3154" y="433"/>
                    </a:lnTo>
                    <a:lnTo>
                      <a:pt x="3148" y="445"/>
                    </a:lnTo>
                    <a:lnTo>
                      <a:pt x="3144" y="457"/>
                    </a:lnTo>
                    <a:lnTo>
                      <a:pt x="3139" y="469"/>
                    </a:lnTo>
                    <a:lnTo>
                      <a:pt x="3137" y="482"/>
                    </a:lnTo>
                    <a:lnTo>
                      <a:pt x="3398" y="482"/>
                    </a:lnTo>
                    <a:lnTo>
                      <a:pt x="3398" y="469"/>
                    </a:lnTo>
                    <a:lnTo>
                      <a:pt x="3396" y="457"/>
                    </a:lnTo>
                    <a:lnTo>
                      <a:pt x="3392" y="445"/>
                    </a:lnTo>
                    <a:lnTo>
                      <a:pt x="3389" y="433"/>
                    </a:lnTo>
                    <a:lnTo>
                      <a:pt x="3384" y="422"/>
                    </a:lnTo>
                    <a:lnTo>
                      <a:pt x="3377" y="412"/>
                    </a:lnTo>
                    <a:lnTo>
                      <a:pt x="3371" y="403"/>
                    </a:lnTo>
                    <a:lnTo>
                      <a:pt x="3362" y="394"/>
                    </a:lnTo>
                    <a:lnTo>
                      <a:pt x="3353" y="386"/>
                    </a:lnTo>
                    <a:lnTo>
                      <a:pt x="3345" y="380"/>
                    </a:lnTo>
                    <a:lnTo>
                      <a:pt x="3334" y="373"/>
                    </a:lnTo>
                    <a:lnTo>
                      <a:pt x="3323" y="369"/>
                    </a:lnTo>
                    <a:lnTo>
                      <a:pt x="3312" y="365"/>
                    </a:lnTo>
                    <a:lnTo>
                      <a:pt x="3299" y="361"/>
                    </a:lnTo>
                    <a:lnTo>
                      <a:pt x="3287" y="360"/>
                    </a:lnTo>
                    <a:lnTo>
                      <a:pt x="3274" y="359"/>
                    </a:lnTo>
                    <a:close/>
                    <a:moveTo>
                      <a:pt x="3130" y="560"/>
                    </a:moveTo>
                    <a:lnTo>
                      <a:pt x="3130" y="598"/>
                    </a:lnTo>
                    <a:lnTo>
                      <a:pt x="3131" y="625"/>
                    </a:lnTo>
                    <a:lnTo>
                      <a:pt x="3133" y="651"/>
                    </a:lnTo>
                    <a:lnTo>
                      <a:pt x="3137" y="677"/>
                    </a:lnTo>
                    <a:lnTo>
                      <a:pt x="3144" y="703"/>
                    </a:lnTo>
                    <a:lnTo>
                      <a:pt x="3151" y="727"/>
                    </a:lnTo>
                    <a:lnTo>
                      <a:pt x="3161" y="751"/>
                    </a:lnTo>
                    <a:lnTo>
                      <a:pt x="3167" y="763"/>
                    </a:lnTo>
                    <a:lnTo>
                      <a:pt x="3172" y="774"/>
                    </a:lnTo>
                    <a:lnTo>
                      <a:pt x="3178" y="785"/>
                    </a:lnTo>
                    <a:lnTo>
                      <a:pt x="3186" y="795"/>
                    </a:lnTo>
                    <a:lnTo>
                      <a:pt x="3193" y="804"/>
                    </a:lnTo>
                    <a:lnTo>
                      <a:pt x="3200" y="814"/>
                    </a:lnTo>
                    <a:lnTo>
                      <a:pt x="3209" y="823"/>
                    </a:lnTo>
                    <a:lnTo>
                      <a:pt x="3218" y="832"/>
                    </a:lnTo>
                    <a:lnTo>
                      <a:pt x="3227" y="839"/>
                    </a:lnTo>
                    <a:lnTo>
                      <a:pt x="3237" y="847"/>
                    </a:lnTo>
                    <a:lnTo>
                      <a:pt x="3247" y="853"/>
                    </a:lnTo>
                    <a:lnTo>
                      <a:pt x="3258" y="860"/>
                    </a:lnTo>
                    <a:lnTo>
                      <a:pt x="3269" y="865"/>
                    </a:lnTo>
                    <a:lnTo>
                      <a:pt x="3280" y="871"/>
                    </a:lnTo>
                    <a:lnTo>
                      <a:pt x="3292" y="874"/>
                    </a:lnTo>
                    <a:lnTo>
                      <a:pt x="3305" y="878"/>
                    </a:lnTo>
                    <a:lnTo>
                      <a:pt x="3318" y="880"/>
                    </a:lnTo>
                    <a:lnTo>
                      <a:pt x="3333" y="883"/>
                    </a:lnTo>
                    <a:lnTo>
                      <a:pt x="3347" y="884"/>
                    </a:lnTo>
                    <a:lnTo>
                      <a:pt x="3361" y="885"/>
                    </a:lnTo>
                    <a:lnTo>
                      <a:pt x="3378" y="884"/>
                    </a:lnTo>
                    <a:lnTo>
                      <a:pt x="3394" y="883"/>
                    </a:lnTo>
                    <a:lnTo>
                      <a:pt x="3410" y="882"/>
                    </a:lnTo>
                    <a:lnTo>
                      <a:pt x="3426" y="879"/>
                    </a:lnTo>
                    <a:lnTo>
                      <a:pt x="3457" y="874"/>
                    </a:lnTo>
                    <a:lnTo>
                      <a:pt x="3490" y="866"/>
                    </a:lnTo>
                    <a:lnTo>
                      <a:pt x="3490" y="943"/>
                    </a:lnTo>
                    <a:lnTo>
                      <a:pt x="3471" y="948"/>
                    </a:lnTo>
                    <a:lnTo>
                      <a:pt x="3453" y="952"/>
                    </a:lnTo>
                    <a:lnTo>
                      <a:pt x="3435" y="955"/>
                    </a:lnTo>
                    <a:lnTo>
                      <a:pt x="3416" y="959"/>
                    </a:lnTo>
                    <a:lnTo>
                      <a:pt x="3398" y="960"/>
                    </a:lnTo>
                    <a:lnTo>
                      <a:pt x="3378" y="962"/>
                    </a:lnTo>
                    <a:lnTo>
                      <a:pt x="3360" y="962"/>
                    </a:lnTo>
                    <a:lnTo>
                      <a:pt x="3340" y="962"/>
                    </a:lnTo>
                    <a:lnTo>
                      <a:pt x="3320" y="962"/>
                    </a:lnTo>
                    <a:lnTo>
                      <a:pt x="3300" y="961"/>
                    </a:lnTo>
                    <a:lnTo>
                      <a:pt x="3280" y="959"/>
                    </a:lnTo>
                    <a:lnTo>
                      <a:pt x="3262" y="955"/>
                    </a:lnTo>
                    <a:lnTo>
                      <a:pt x="3245" y="951"/>
                    </a:lnTo>
                    <a:lnTo>
                      <a:pt x="3227" y="947"/>
                    </a:lnTo>
                    <a:lnTo>
                      <a:pt x="3211" y="941"/>
                    </a:lnTo>
                    <a:lnTo>
                      <a:pt x="3196" y="935"/>
                    </a:lnTo>
                    <a:lnTo>
                      <a:pt x="3181" y="928"/>
                    </a:lnTo>
                    <a:lnTo>
                      <a:pt x="3167" y="921"/>
                    </a:lnTo>
                    <a:lnTo>
                      <a:pt x="3154" y="912"/>
                    </a:lnTo>
                    <a:lnTo>
                      <a:pt x="3142" y="903"/>
                    </a:lnTo>
                    <a:lnTo>
                      <a:pt x="3130" y="893"/>
                    </a:lnTo>
                    <a:lnTo>
                      <a:pt x="3118" y="883"/>
                    </a:lnTo>
                    <a:lnTo>
                      <a:pt x="3107" y="872"/>
                    </a:lnTo>
                    <a:lnTo>
                      <a:pt x="3097" y="860"/>
                    </a:lnTo>
                    <a:lnTo>
                      <a:pt x="3088" y="848"/>
                    </a:lnTo>
                    <a:lnTo>
                      <a:pt x="3080" y="835"/>
                    </a:lnTo>
                    <a:lnTo>
                      <a:pt x="3072" y="821"/>
                    </a:lnTo>
                    <a:lnTo>
                      <a:pt x="3065" y="807"/>
                    </a:lnTo>
                    <a:lnTo>
                      <a:pt x="3058" y="793"/>
                    </a:lnTo>
                    <a:lnTo>
                      <a:pt x="3052" y="777"/>
                    </a:lnTo>
                    <a:lnTo>
                      <a:pt x="3046" y="762"/>
                    </a:lnTo>
                    <a:lnTo>
                      <a:pt x="3042" y="746"/>
                    </a:lnTo>
                    <a:lnTo>
                      <a:pt x="3037" y="728"/>
                    </a:lnTo>
                    <a:lnTo>
                      <a:pt x="3033" y="711"/>
                    </a:lnTo>
                    <a:lnTo>
                      <a:pt x="3030" y="694"/>
                    </a:lnTo>
                    <a:lnTo>
                      <a:pt x="3028" y="676"/>
                    </a:lnTo>
                    <a:lnTo>
                      <a:pt x="3025" y="658"/>
                    </a:lnTo>
                    <a:lnTo>
                      <a:pt x="3024" y="638"/>
                    </a:lnTo>
                    <a:lnTo>
                      <a:pt x="3023" y="620"/>
                    </a:lnTo>
                    <a:lnTo>
                      <a:pt x="3023" y="600"/>
                    </a:lnTo>
                    <a:lnTo>
                      <a:pt x="3024" y="569"/>
                    </a:lnTo>
                    <a:lnTo>
                      <a:pt x="3027" y="537"/>
                    </a:lnTo>
                    <a:lnTo>
                      <a:pt x="3031" y="508"/>
                    </a:lnTo>
                    <a:lnTo>
                      <a:pt x="3036" y="479"/>
                    </a:lnTo>
                    <a:lnTo>
                      <a:pt x="3040" y="465"/>
                    </a:lnTo>
                    <a:lnTo>
                      <a:pt x="3044" y="450"/>
                    </a:lnTo>
                    <a:lnTo>
                      <a:pt x="3048" y="437"/>
                    </a:lnTo>
                    <a:lnTo>
                      <a:pt x="3054" y="424"/>
                    </a:lnTo>
                    <a:lnTo>
                      <a:pt x="3059" y="412"/>
                    </a:lnTo>
                    <a:lnTo>
                      <a:pt x="3065" y="399"/>
                    </a:lnTo>
                    <a:lnTo>
                      <a:pt x="3072" y="389"/>
                    </a:lnTo>
                    <a:lnTo>
                      <a:pt x="3079" y="377"/>
                    </a:lnTo>
                    <a:lnTo>
                      <a:pt x="3086" y="366"/>
                    </a:lnTo>
                    <a:lnTo>
                      <a:pt x="3095" y="356"/>
                    </a:lnTo>
                    <a:lnTo>
                      <a:pt x="3104" y="346"/>
                    </a:lnTo>
                    <a:lnTo>
                      <a:pt x="3113" y="338"/>
                    </a:lnTo>
                    <a:lnTo>
                      <a:pt x="3123" y="329"/>
                    </a:lnTo>
                    <a:lnTo>
                      <a:pt x="3134" y="321"/>
                    </a:lnTo>
                    <a:lnTo>
                      <a:pt x="3145" y="314"/>
                    </a:lnTo>
                    <a:lnTo>
                      <a:pt x="3157" y="307"/>
                    </a:lnTo>
                    <a:lnTo>
                      <a:pt x="3170" y="302"/>
                    </a:lnTo>
                    <a:lnTo>
                      <a:pt x="3183" y="296"/>
                    </a:lnTo>
                    <a:lnTo>
                      <a:pt x="3197" y="292"/>
                    </a:lnTo>
                    <a:lnTo>
                      <a:pt x="3212" y="288"/>
                    </a:lnTo>
                    <a:lnTo>
                      <a:pt x="3227" y="285"/>
                    </a:lnTo>
                    <a:lnTo>
                      <a:pt x="3244" y="283"/>
                    </a:lnTo>
                    <a:lnTo>
                      <a:pt x="3260" y="282"/>
                    </a:lnTo>
                    <a:lnTo>
                      <a:pt x="3277" y="281"/>
                    </a:lnTo>
                    <a:lnTo>
                      <a:pt x="3291" y="281"/>
                    </a:lnTo>
                    <a:lnTo>
                      <a:pt x="3305" y="282"/>
                    </a:lnTo>
                    <a:lnTo>
                      <a:pt x="3318" y="284"/>
                    </a:lnTo>
                    <a:lnTo>
                      <a:pt x="3330" y="285"/>
                    </a:lnTo>
                    <a:lnTo>
                      <a:pt x="3343" y="289"/>
                    </a:lnTo>
                    <a:lnTo>
                      <a:pt x="3355" y="292"/>
                    </a:lnTo>
                    <a:lnTo>
                      <a:pt x="3366" y="295"/>
                    </a:lnTo>
                    <a:lnTo>
                      <a:pt x="3377" y="300"/>
                    </a:lnTo>
                    <a:lnTo>
                      <a:pt x="3388" y="305"/>
                    </a:lnTo>
                    <a:lnTo>
                      <a:pt x="3398" y="309"/>
                    </a:lnTo>
                    <a:lnTo>
                      <a:pt x="3407" y="316"/>
                    </a:lnTo>
                    <a:lnTo>
                      <a:pt x="3416" y="321"/>
                    </a:lnTo>
                    <a:lnTo>
                      <a:pt x="3425" y="329"/>
                    </a:lnTo>
                    <a:lnTo>
                      <a:pt x="3432" y="335"/>
                    </a:lnTo>
                    <a:lnTo>
                      <a:pt x="3441" y="343"/>
                    </a:lnTo>
                    <a:lnTo>
                      <a:pt x="3448" y="352"/>
                    </a:lnTo>
                    <a:lnTo>
                      <a:pt x="3455" y="359"/>
                    </a:lnTo>
                    <a:lnTo>
                      <a:pt x="3462" y="368"/>
                    </a:lnTo>
                    <a:lnTo>
                      <a:pt x="3467" y="378"/>
                    </a:lnTo>
                    <a:lnTo>
                      <a:pt x="3473" y="388"/>
                    </a:lnTo>
                    <a:lnTo>
                      <a:pt x="3482" y="408"/>
                    </a:lnTo>
                    <a:lnTo>
                      <a:pt x="3490" y="430"/>
                    </a:lnTo>
                    <a:lnTo>
                      <a:pt x="3496" y="453"/>
                    </a:lnTo>
                    <a:lnTo>
                      <a:pt x="3501" y="477"/>
                    </a:lnTo>
                    <a:lnTo>
                      <a:pt x="3504" y="503"/>
                    </a:lnTo>
                    <a:lnTo>
                      <a:pt x="3504" y="529"/>
                    </a:lnTo>
                    <a:lnTo>
                      <a:pt x="3504" y="560"/>
                    </a:lnTo>
                    <a:lnTo>
                      <a:pt x="3130" y="560"/>
                    </a:lnTo>
                    <a:close/>
                    <a:moveTo>
                      <a:pt x="2706" y="359"/>
                    </a:moveTo>
                    <a:lnTo>
                      <a:pt x="2696" y="360"/>
                    </a:lnTo>
                    <a:lnTo>
                      <a:pt x="2686" y="361"/>
                    </a:lnTo>
                    <a:lnTo>
                      <a:pt x="2675" y="364"/>
                    </a:lnTo>
                    <a:lnTo>
                      <a:pt x="2666" y="367"/>
                    </a:lnTo>
                    <a:lnTo>
                      <a:pt x="2658" y="371"/>
                    </a:lnTo>
                    <a:lnTo>
                      <a:pt x="2649" y="376"/>
                    </a:lnTo>
                    <a:lnTo>
                      <a:pt x="2640" y="381"/>
                    </a:lnTo>
                    <a:lnTo>
                      <a:pt x="2633" y="388"/>
                    </a:lnTo>
                    <a:lnTo>
                      <a:pt x="2626" y="394"/>
                    </a:lnTo>
                    <a:lnTo>
                      <a:pt x="2619" y="402"/>
                    </a:lnTo>
                    <a:lnTo>
                      <a:pt x="2612" y="409"/>
                    </a:lnTo>
                    <a:lnTo>
                      <a:pt x="2607" y="418"/>
                    </a:lnTo>
                    <a:lnTo>
                      <a:pt x="2596" y="435"/>
                    </a:lnTo>
                    <a:lnTo>
                      <a:pt x="2586" y="455"/>
                    </a:lnTo>
                    <a:lnTo>
                      <a:pt x="2577" y="475"/>
                    </a:lnTo>
                    <a:lnTo>
                      <a:pt x="2571" y="497"/>
                    </a:lnTo>
                    <a:lnTo>
                      <a:pt x="2565" y="519"/>
                    </a:lnTo>
                    <a:lnTo>
                      <a:pt x="2561" y="541"/>
                    </a:lnTo>
                    <a:lnTo>
                      <a:pt x="2558" y="561"/>
                    </a:lnTo>
                    <a:lnTo>
                      <a:pt x="2556" y="582"/>
                    </a:lnTo>
                    <a:lnTo>
                      <a:pt x="2553" y="601"/>
                    </a:lnTo>
                    <a:lnTo>
                      <a:pt x="2553" y="619"/>
                    </a:lnTo>
                    <a:lnTo>
                      <a:pt x="2553" y="637"/>
                    </a:lnTo>
                    <a:lnTo>
                      <a:pt x="2555" y="657"/>
                    </a:lnTo>
                    <a:lnTo>
                      <a:pt x="2557" y="677"/>
                    </a:lnTo>
                    <a:lnTo>
                      <a:pt x="2560" y="699"/>
                    </a:lnTo>
                    <a:lnTo>
                      <a:pt x="2563" y="721"/>
                    </a:lnTo>
                    <a:lnTo>
                      <a:pt x="2569" y="744"/>
                    </a:lnTo>
                    <a:lnTo>
                      <a:pt x="2575" y="765"/>
                    </a:lnTo>
                    <a:lnTo>
                      <a:pt x="2583" y="786"/>
                    </a:lnTo>
                    <a:lnTo>
                      <a:pt x="2591" y="806"/>
                    </a:lnTo>
                    <a:lnTo>
                      <a:pt x="2602" y="825"/>
                    </a:lnTo>
                    <a:lnTo>
                      <a:pt x="2608" y="833"/>
                    </a:lnTo>
                    <a:lnTo>
                      <a:pt x="2614" y="841"/>
                    </a:lnTo>
                    <a:lnTo>
                      <a:pt x="2621" y="849"/>
                    </a:lnTo>
                    <a:lnTo>
                      <a:pt x="2628" y="855"/>
                    </a:lnTo>
                    <a:lnTo>
                      <a:pt x="2636" y="862"/>
                    </a:lnTo>
                    <a:lnTo>
                      <a:pt x="2645" y="867"/>
                    </a:lnTo>
                    <a:lnTo>
                      <a:pt x="2653" y="873"/>
                    </a:lnTo>
                    <a:lnTo>
                      <a:pt x="2662" y="877"/>
                    </a:lnTo>
                    <a:lnTo>
                      <a:pt x="2672" y="880"/>
                    </a:lnTo>
                    <a:lnTo>
                      <a:pt x="2682" y="883"/>
                    </a:lnTo>
                    <a:lnTo>
                      <a:pt x="2692" y="884"/>
                    </a:lnTo>
                    <a:lnTo>
                      <a:pt x="2704" y="885"/>
                    </a:lnTo>
                    <a:lnTo>
                      <a:pt x="2715" y="884"/>
                    </a:lnTo>
                    <a:lnTo>
                      <a:pt x="2726" y="883"/>
                    </a:lnTo>
                    <a:lnTo>
                      <a:pt x="2737" y="879"/>
                    </a:lnTo>
                    <a:lnTo>
                      <a:pt x="2747" y="876"/>
                    </a:lnTo>
                    <a:lnTo>
                      <a:pt x="2755" y="871"/>
                    </a:lnTo>
                    <a:lnTo>
                      <a:pt x="2764" y="865"/>
                    </a:lnTo>
                    <a:lnTo>
                      <a:pt x="2772" y="860"/>
                    </a:lnTo>
                    <a:lnTo>
                      <a:pt x="2779" y="852"/>
                    </a:lnTo>
                    <a:lnTo>
                      <a:pt x="2786" y="845"/>
                    </a:lnTo>
                    <a:lnTo>
                      <a:pt x="2792" y="836"/>
                    </a:lnTo>
                    <a:lnTo>
                      <a:pt x="2798" y="827"/>
                    </a:lnTo>
                    <a:lnTo>
                      <a:pt x="2803" y="817"/>
                    </a:lnTo>
                    <a:lnTo>
                      <a:pt x="2813" y="797"/>
                    </a:lnTo>
                    <a:lnTo>
                      <a:pt x="2820" y="775"/>
                    </a:lnTo>
                    <a:lnTo>
                      <a:pt x="2827" y="752"/>
                    </a:lnTo>
                    <a:lnTo>
                      <a:pt x="2831" y="728"/>
                    </a:lnTo>
                    <a:lnTo>
                      <a:pt x="2836" y="705"/>
                    </a:lnTo>
                    <a:lnTo>
                      <a:pt x="2838" y="682"/>
                    </a:lnTo>
                    <a:lnTo>
                      <a:pt x="2841" y="637"/>
                    </a:lnTo>
                    <a:lnTo>
                      <a:pt x="2842" y="598"/>
                    </a:lnTo>
                    <a:lnTo>
                      <a:pt x="2841" y="581"/>
                    </a:lnTo>
                    <a:lnTo>
                      <a:pt x="2841" y="562"/>
                    </a:lnTo>
                    <a:lnTo>
                      <a:pt x="2840" y="543"/>
                    </a:lnTo>
                    <a:lnTo>
                      <a:pt x="2838" y="523"/>
                    </a:lnTo>
                    <a:lnTo>
                      <a:pt x="2835" y="503"/>
                    </a:lnTo>
                    <a:lnTo>
                      <a:pt x="2830" y="483"/>
                    </a:lnTo>
                    <a:lnTo>
                      <a:pt x="2825" y="464"/>
                    </a:lnTo>
                    <a:lnTo>
                      <a:pt x="2818" y="445"/>
                    </a:lnTo>
                    <a:lnTo>
                      <a:pt x="2811" y="428"/>
                    </a:lnTo>
                    <a:lnTo>
                      <a:pt x="2802" y="411"/>
                    </a:lnTo>
                    <a:lnTo>
                      <a:pt x="2797" y="404"/>
                    </a:lnTo>
                    <a:lnTo>
                      <a:pt x="2790" y="396"/>
                    </a:lnTo>
                    <a:lnTo>
                      <a:pt x="2785" y="390"/>
                    </a:lnTo>
                    <a:lnTo>
                      <a:pt x="2778" y="384"/>
                    </a:lnTo>
                    <a:lnTo>
                      <a:pt x="2771" y="379"/>
                    </a:lnTo>
                    <a:lnTo>
                      <a:pt x="2763" y="373"/>
                    </a:lnTo>
                    <a:lnTo>
                      <a:pt x="2755" y="369"/>
                    </a:lnTo>
                    <a:lnTo>
                      <a:pt x="2747" y="366"/>
                    </a:lnTo>
                    <a:lnTo>
                      <a:pt x="2737" y="364"/>
                    </a:lnTo>
                    <a:lnTo>
                      <a:pt x="2727" y="361"/>
                    </a:lnTo>
                    <a:lnTo>
                      <a:pt x="2717" y="359"/>
                    </a:lnTo>
                    <a:lnTo>
                      <a:pt x="2706" y="359"/>
                    </a:lnTo>
                    <a:close/>
                    <a:moveTo>
                      <a:pt x="2727" y="962"/>
                    </a:moveTo>
                    <a:lnTo>
                      <a:pt x="2712" y="962"/>
                    </a:lnTo>
                    <a:lnTo>
                      <a:pt x="2697" y="961"/>
                    </a:lnTo>
                    <a:lnTo>
                      <a:pt x="2683" y="958"/>
                    </a:lnTo>
                    <a:lnTo>
                      <a:pt x="2669" y="954"/>
                    </a:lnTo>
                    <a:lnTo>
                      <a:pt x="2655" y="950"/>
                    </a:lnTo>
                    <a:lnTo>
                      <a:pt x="2642" y="945"/>
                    </a:lnTo>
                    <a:lnTo>
                      <a:pt x="2631" y="938"/>
                    </a:lnTo>
                    <a:lnTo>
                      <a:pt x="2620" y="931"/>
                    </a:lnTo>
                    <a:lnTo>
                      <a:pt x="2609" y="923"/>
                    </a:lnTo>
                    <a:lnTo>
                      <a:pt x="2599" y="914"/>
                    </a:lnTo>
                    <a:lnTo>
                      <a:pt x="2590" y="904"/>
                    </a:lnTo>
                    <a:lnTo>
                      <a:pt x="2582" y="893"/>
                    </a:lnTo>
                    <a:lnTo>
                      <a:pt x="2574" y="882"/>
                    </a:lnTo>
                    <a:lnTo>
                      <a:pt x="2568" y="869"/>
                    </a:lnTo>
                    <a:lnTo>
                      <a:pt x="2561" y="855"/>
                    </a:lnTo>
                    <a:lnTo>
                      <a:pt x="2556" y="840"/>
                    </a:lnTo>
                    <a:lnTo>
                      <a:pt x="2553" y="840"/>
                    </a:lnTo>
                    <a:lnTo>
                      <a:pt x="2553" y="1240"/>
                    </a:lnTo>
                    <a:lnTo>
                      <a:pt x="2460" y="1240"/>
                    </a:lnTo>
                    <a:lnTo>
                      <a:pt x="2460" y="296"/>
                    </a:lnTo>
                    <a:lnTo>
                      <a:pt x="2553" y="296"/>
                    </a:lnTo>
                    <a:lnTo>
                      <a:pt x="2553" y="407"/>
                    </a:lnTo>
                    <a:lnTo>
                      <a:pt x="2556" y="407"/>
                    </a:lnTo>
                    <a:lnTo>
                      <a:pt x="2561" y="393"/>
                    </a:lnTo>
                    <a:lnTo>
                      <a:pt x="2567" y="380"/>
                    </a:lnTo>
                    <a:lnTo>
                      <a:pt x="2573" y="368"/>
                    </a:lnTo>
                    <a:lnTo>
                      <a:pt x="2581" y="356"/>
                    </a:lnTo>
                    <a:lnTo>
                      <a:pt x="2589" y="345"/>
                    </a:lnTo>
                    <a:lnTo>
                      <a:pt x="2599" y="334"/>
                    </a:lnTo>
                    <a:lnTo>
                      <a:pt x="2609" y="325"/>
                    </a:lnTo>
                    <a:lnTo>
                      <a:pt x="2620" y="316"/>
                    </a:lnTo>
                    <a:lnTo>
                      <a:pt x="2632" y="308"/>
                    </a:lnTo>
                    <a:lnTo>
                      <a:pt x="2644" y="302"/>
                    </a:lnTo>
                    <a:lnTo>
                      <a:pt x="2657" y="295"/>
                    </a:lnTo>
                    <a:lnTo>
                      <a:pt x="2670" y="291"/>
                    </a:lnTo>
                    <a:lnTo>
                      <a:pt x="2683" y="287"/>
                    </a:lnTo>
                    <a:lnTo>
                      <a:pt x="2697" y="283"/>
                    </a:lnTo>
                    <a:lnTo>
                      <a:pt x="2711" y="282"/>
                    </a:lnTo>
                    <a:lnTo>
                      <a:pt x="2726" y="281"/>
                    </a:lnTo>
                    <a:lnTo>
                      <a:pt x="2742" y="282"/>
                    </a:lnTo>
                    <a:lnTo>
                      <a:pt x="2759" y="283"/>
                    </a:lnTo>
                    <a:lnTo>
                      <a:pt x="2775" y="285"/>
                    </a:lnTo>
                    <a:lnTo>
                      <a:pt x="2789" y="290"/>
                    </a:lnTo>
                    <a:lnTo>
                      <a:pt x="2803" y="294"/>
                    </a:lnTo>
                    <a:lnTo>
                      <a:pt x="2816" y="300"/>
                    </a:lnTo>
                    <a:lnTo>
                      <a:pt x="2828" y="305"/>
                    </a:lnTo>
                    <a:lnTo>
                      <a:pt x="2840" y="313"/>
                    </a:lnTo>
                    <a:lnTo>
                      <a:pt x="2850" y="320"/>
                    </a:lnTo>
                    <a:lnTo>
                      <a:pt x="2861" y="329"/>
                    </a:lnTo>
                    <a:lnTo>
                      <a:pt x="2869" y="338"/>
                    </a:lnTo>
                    <a:lnTo>
                      <a:pt x="2878" y="347"/>
                    </a:lnTo>
                    <a:lnTo>
                      <a:pt x="2887" y="357"/>
                    </a:lnTo>
                    <a:lnTo>
                      <a:pt x="2894" y="369"/>
                    </a:lnTo>
                    <a:lnTo>
                      <a:pt x="2901" y="380"/>
                    </a:lnTo>
                    <a:lnTo>
                      <a:pt x="2907" y="392"/>
                    </a:lnTo>
                    <a:lnTo>
                      <a:pt x="2913" y="404"/>
                    </a:lnTo>
                    <a:lnTo>
                      <a:pt x="2918" y="417"/>
                    </a:lnTo>
                    <a:lnTo>
                      <a:pt x="2924" y="430"/>
                    </a:lnTo>
                    <a:lnTo>
                      <a:pt x="2927" y="444"/>
                    </a:lnTo>
                    <a:lnTo>
                      <a:pt x="2934" y="471"/>
                    </a:lnTo>
                    <a:lnTo>
                      <a:pt x="2940" y="500"/>
                    </a:lnTo>
                    <a:lnTo>
                      <a:pt x="2944" y="529"/>
                    </a:lnTo>
                    <a:lnTo>
                      <a:pt x="2946" y="558"/>
                    </a:lnTo>
                    <a:lnTo>
                      <a:pt x="2947" y="587"/>
                    </a:lnTo>
                    <a:lnTo>
                      <a:pt x="2948" y="617"/>
                    </a:lnTo>
                    <a:lnTo>
                      <a:pt x="2947" y="644"/>
                    </a:lnTo>
                    <a:lnTo>
                      <a:pt x="2946" y="672"/>
                    </a:lnTo>
                    <a:lnTo>
                      <a:pt x="2943" y="700"/>
                    </a:lnTo>
                    <a:lnTo>
                      <a:pt x="2939" y="730"/>
                    </a:lnTo>
                    <a:lnTo>
                      <a:pt x="2933" y="759"/>
                    </a:lnTo>
                    <a:lnTo>
                      <a:pt x="2926" y="788"/>
                    </a:lnTo>
                    <a:lnTo>
                      <a:pt x="2920" y="801"/>
                    </a:lnTo>
                    <a:lnTo>
                      <a:pt x="2916" y="815"/>
                    </a:lnTo>
                    <a:lnTo>
                      <a:pt x="2910" y="829"/>
                    </a:lnTo>
                    <a:lnTo>
                      <a:pt x="2904" y="842"/>
                    </a:lnTo>
                    <a:lnTo>
                      <a:pt x="2897" y="854"/>
                    </a:lnTo>
                    <a:lnTo>
                      <a:pt x="2891" y="867"/>
                    </a:lnTo>
                    <a:lnTo>
                      <a:pt x="2883" y="878"/>
                    </a:lnTo>
                    <a:lnTo>
                      <a:pt x="2875" y="890"/>
                    </a:lnTo>
                    <a:lnTo>
                      <a:pt x="2866" y="900"/>
                    </a:lnTo>
                    <a:lnTo>
                      <a:pt x="2857" y="911"/>
                    </a:lnTo>
                    <a:lnTo>
                      <a:pt x="2848" y="920"/>
                    </a:lnTo>
                    <a:lnTo>
                      <a:pt x="2837" y="928"/>
                    </a:lnTo>
                    <a:lnTo>
                      <a:pt x="2825" y="936"/>
                    </a:lnTo>
                    <a:lnTo>
                      <a:pt x="2814" y="942"/>
                    </a:lnTo>
                    <a:lnTo>
                      <a:pt x="2801" y="948"/>
                    </a:lnTo>
                    <a:lnTo>
                      <a:pt x="2788" y="953"/>
                    </a:lnTo>
                    <a:lnTo>
                      <a:pt x="2774" y="958"/>
                    </a:lnTo>
                    <a:lnTo>
                      <a:pt x="2759" y="960"/>
                    </a:lnTo>
                    <a:lnTo>
                      <a:pt x="2743" y="962"/>
                    </a:lnTo>
                    <a:lnTo>
                      <a:pt x="2727" y="962"/>
                    </a:lnTo>
                    <a:close/>
                    <a:moveTo>
                      <a:pt x="1959" y="947"/>
                    </a:moveTo>
                    <a:lnTo>
                      <a:pt x="1959" y="586"/>
                    </a:lnTo>
                    <a:lnTo>
                      <a:pt x="1959" y="556"/>
                    </a:lnTo>
                    <a:lnTo>
                      <a:pt x="1959" y="522"/>
                    </a:lnTo>
                    <a:lnTo>
                      <a:pt x="1958" y="505"/>
                    </a:lnTo>
                    <a:lnTo>
                      <a:pt x="1957" y="486"/>
                    </a:lnTo>
                    <a:lnTo>
                      <a:pt x="1955" y="469"/>
                    </a:lnTo>
                    <a:lnTo>
                      <a:pt x="1950" y="453"/>
                    </a:lnTo>
                    <a:lnTo>
                      <a:pt x="1946" y="436"/>
                    </a:lnTo>
                    <a:lnTo>
                      <a:pt x="1940" y="422"/>
                    </a:lnTo>
                    <a:lnTo>
                      <a:pt x="1936" y="415"/>
                    </a:lnTo>
                    <a:lnTo>
                      <a:pt x="1933" y="408"/>
                    </a:lnTo>
                    <a:lnTo>
                      <a:pt x="1927" y="403"/>
                    </a:lnTo>
                    <a:lnTo>
                      <a:pt x="1923" y="397"/>
                    </a:lnTo>
                    <a:lnTo>
                      <a:pt x="1918" y="392"/>
                    </a:lnTo>
                    <a:lnTo>
                      <a:pt x="1911" y="388"/>
                    </a:lnTo>
                    <a:lnTo>
                      <a:pt x="1905" y="383"/>
                    </a:lnTo>
                    <a:lnTo>
                      <a:pt x="1898" y="380"/>
                    </a:lnTo>
                    <a:lnTo>
                      <a:pt x="1889" y="378"/>
                    </a:lnTo>
                    <a:lnTo>
                      <a:pt x="1882" y="376"/>
                    </a:lnTo>
                    <a:lnTo>
                      <a:pt x="1873" y="374"/>
                    </a:lnTo>
                    <a:lnTo>
                      <a:pt x="1863" y="374"/>
                    </a:lnTo>
                    <a:lnTo>
                      <a:pt x="1851" y="374"/>
                    </a:lnTo>
                    <a:lnTo>
                      <a:pt x="1840" y="377"/>
                    </a:lnTo>
                    <a:lnTo>
                      <a:pt x="1829" y="379"/>
                    </a:lnTo>
                    <a:lnTo>
                      <a:pt x="1818" y="383"/>
                    </a:lnTo>
                    <a:lnTo>
                      <a:pt x="1808" y="388"/>
                    </a:lnTo>
                    <a:lnTo>
                      <a:pt x="1797" y="394"/>
                    </a:lnTo>
                    <a:lnTo>
                      <a:pt x="1789" y="401"/>
                    </a:lnTo>
                    <a:lnTo>
                      <a:pt x="1780" y="407"/>
                    </a:lnTo>
                    <a:lnTo>
                      <a:pt x="1771" y="416"/>
                    </a:lnTo>
                    <a:lnTo>
                      <a:pt x="1762" y="424"/>
                    </a:lnTo>
                    <a:lnTo>
                      <a:pt x="1755" y="434"/>
                    </a:lnTo>
                    <a:lnTo>
                      <a:pt x="1747" y="444"/>
                    </a:lnTo>
                    <a:lnTo>
                      <a:pt x="1741" y="454"/>
                    </a:lnTo>
                    <a:lnTo>
                      <a:pt x="1734" y="466"/>
                    </a:lnTo>
                    <a:lnTo>
                      <a:pt x="1728" y="477"/>
                    </a:lnTo>
                    <a:lnTo>
                      <a:pt x="1722" y="488"/>
                    </a:lnTo>
                    <a:lnTo>
                      <a:pt x="1711" y="512"/>
                    </a:lnTo>
                    <a:lnTo>
                      <a:pt x="1703" y="537"/>
                    </a:lnTo>
                    <a:lnTo>
                      <a:pt x="1695" y="563"/>
                    </a:lnTo>
                    <a:lnTo>
                      <a:pt x="1689" y="588"/>
                    </a:lnTo>
                    <a:lnTo>
                      <a:pt x="1684" y="613"/>
                    </a:lnTo>
                    <a:lnTo>
                      <a:pt x="1681" y="636"/>
                    </a:lnTo>
                    <a:lnTo>
                      <a:pt x="1679" y="659"/>
                    </a:lnTo>
                    <a:lnTo>
                      <a:pt x="1679" y="680"/>
                    </a:lnTo>
                    <a:lnTo>
                      <a:pt x="1679" y="947"/>
                    </a:lnTo>
                    <a:lnTo>
                      <a:pt x="1586" y="947"/>
                    </a:lnTo>
                    <a:lnTo>
                      <a:pt x="1586" y="4"/>
                    </a:lnTo>
                    <a:lnTo>
                      <a:pt x="1679" y="4"/>
                    </a:lnTo>
                    <a:lnTo>
                      <a:pt x="1679" y="447"/>
                    </a:lnTo>
                    <a:lnTo>
                      <a:pt x="1681" y="447"/>
                    </a:lnTo>
                    <a:lnTo>
                      <a:pt x="1688" y="429"/>
                    </a:lnTo>
                    <a:lnTo>
                      <a:pt x="1695" y="411"/>
                    </a:lnTo>
                    <a:lnTo>
                      <a:pt x="1703" y="394"/>
                    </a:lnTo>
                    <a:lnTo>
                      <a:pt x="1710" y="379"/>
                    </a:lnTo>
                    <a:lnTo>
                      <a:pt x="1720" y="364"/>
                    </a:lnTo>
                    <a:lnTo>
                      <a:pt x="1730" y="351"/>
                    </a:lnTo>
                    <a:lnTo>
                      <a:pt x="1741" y="338"/>
                    </a:lnTo>
                    <a:lnTo>
                      <a:pt x="1753" y="327"/>
                    </a:lnTo>
                    <a:lnTo>
                      <a:pt x="1766" y="316"/>
                    </a:lnTo>
                    <a:lnTo>
                      <a:pt x="1779" y="307"/>
                    </a:lnTo>
                    <a:lnTo>
                      <a:pt x="1794" y="300"/>
                    </a:lnTo>
                    <a:lnTo>
                      <a:pt x="1810" y="293"/>
                    </a:lnTo>
                    <a:lnTo>
                      <a:pt x="1827" y="288"/>
                    </a:lnTo>
                    <a:lnTo>
                      <a:pt x="1845" y="284"/>
                    </a:lnTo>
                    <a:lnTo>
                      <a:pt x="1864" y="282"/>
                    </a:lnTo>
                    <a:lnTo>
                      <a:pt x="1885" y="281"/>
                    </a:lnTo>
                    <a:lnTo>
                      <a:pt x="1896" y="281"/>
                    </a:lnTo>
                    <a:lnTo>
                      <a:pt x="1906" y="282"/>
                    </a:lnTo>
                    <a:lnTo>
                      <a:pt x="1915" y="283"/>
                    </a:lnTo>
                    <a:lnTo>
                      <a:pt x="1925" y="285"/>
                    </a:lnTo>
                    <a:lnTo>
                      <a:pt x="1934" y="288"/>
                    </a:lnTo>
                    <a:lnTo>
                      <a:pt x="1943" y="291"/>
                    </a:lnTo>
                    <a:lnTo>
                      <a:pt x="1951" y="294"/>
                    </a:lnTo>
                    <a:lnTo>
                      <a:pt x="1959" y="298"/>
                    </a:lnTo>
                    <a:lnTo>
                      <a:pt x="1974" y="307"/>
                    </a:lnTo>
                    <a:lnTo>
                      <a:pt x="1988" y="318"/>
                    </a:lnTo>
                    <a:lnTo>
                      <a:pt x="2000" y="330"/>
                    </a:lnTo>
                    <a:lnTo>
                      <a:pt x="2011" y="343"/>
                    </a:lnTo>
                    <a:lnTo>
                      <a:pt x="2021" y="358"/>
                    </a:lnTo>
                    <a:lnTo>
                      <a:pt x="2029" y="373"/>
                    </a:lnTo>
                    <a:lnTo>
                      <a:pt x="2036" y="391"/>
                    </a:lnTo>
                    <a:lnTo>
                      <a:pt x="2041" y="408"/>
                    </a:lnTo>
                    <a:lnTo>
                      <a:pt x="2046" y="426"/>
                    </a:lnTo>
                    <a:lnTo>
                      <a:pt x="2049" y="444"/>
                    </a:lnTo>
                    <a:lnTo>
                      <a:pt x="2051" y="464"/>
                    </a:lnTo>
                    <a:lnTo>
                      <a:pt x="2051" y="482"/>
                    </a:lnTo>
                    <a:lnTo>
                      <a:pt x="2051" y="947"/>
                    </a:lnTo>
                    <a:lnTo>
                      <a:pt x="1959" y="947"/>
                    </a:lnTo>
                    <a:close/>
                    <a:moveTo>
                      <a:pt x="1200" y="359"/>
                    </a:moveTo>
                    <a:lnTo>
                      <a:pt x="1190" y="360"/>
                    </a:lnTo>
                    <a:lnTo>
                      <a:pt x="1180" y="361"/>
                    </a:lnTo>
                    <a:lnTo>
                      <a:pt x="1170" y="364"/>
                    </a:lnTo>
                    <a:lnTo>
                      <a:pt x="1160" y="367"/>
                    </a:lnTo>
                    <a:lnTo>
                      <a:pt x="1152" y="371"/>
                    </a:lnTo>
                    <a:lnTo>
                      <a:pt x="1144" y="377"/>
                    </a:lnTo>
                    <a:lnTo>
                      <a:pt x="1136" y="383"/>
                    </a:lnTo>
                    <a:lnTo>
                      <a:pt x="1129" y="390"/>
                    </a:lnTo>
                    <a:lnTo>
                      <a:pt x="1122" y="396"/>
                    </a:lnTo>
                    <a:lnTo>
                      <a:pt x="1117" y="405"/>
                    </a:lnTo>
                    <a:lnTo>
                      <a:pt x="1110" y="412"/>
                    </a:lnTo>
                    <a:lnTo>
                      <a:pt x="1105" y="422"/>
                    </a:lnTo>
                    <a:lnTo>
                      <a:pt x="1096" y="441"/>
                    </a:lnTo>
                    <a:lnTo>
                      <a:pt x="1089" y="461"/>
                    </a:lnTo>
                    <a:lnTo>
                      <a:pt x="1082" y="483"/>
                    </a:lnTo>
                    <a:lnTo>
                      <a:pt x="1077" y="505"/>
                    </a:lnTo>
                    <a:lnTo>
                      <a:pt x="1072" y="528"/>
                    </a:lnTo>
                    <a:lnTo>
                      <a:pt x="1069" y="549"/>
                    </a:lnTo>
                    <a:lnTo>
                      <a:pt x="1067" y="571"/>
                    </a:lnTo>
                    <a:lnTo>
                      <a:pt x="1066" y="592"/>
                    </a:lnTo>
                    <a:lnTo>
                      <a:pt x="1066" y="610"/>
                    </a:lnTo>
                    <a:lnTo>
                      <a:pt x="1065" y="627"/>
                    </a:lnTo>
                    <a:lnTo>
                      <a:pt x="1066" y="644"/>
                    </a:lnTo>
                    <a:lnTo>
                      <a:pt x="1066" y="662"/>
                    </a:lnTo>
                    <a:lnTo>
                      <a:pt x="1067" y="682"/>
                    </a:lnTo>
                    <a:lnTo>
                      <a:pt x="1069" y="701"/>
                    </a:lnTo>
                    <a:lnTo>
                      <a:pt x="1072" y="722"/>
                    </a:lnTo>
                    <a:lnTo>
                      <a:pt x="1077" y="741"/>
                    </a:lnTo>
                    <a:lnTo>
                      <a:pt x="1081" y="761"/>
                    </a:lnTo>
                    <a:lnTo>
                      <a:pt x="1088" y="781"/>
                    </a:lnTo>
                    <a:lnTo>
                      <a:pt x="1095" y="799"/>
                    </a:lnTo>
                    <a:lnTo>
                      <a:pt x="1105" y="815"/>
                    </a:lnTo>
                    <a:lnTo>
                      <a:pt x="1110" y="823"/>
                    </a:lnTo>
                    <a:lnTo>
                      <a:pt x="1116" y="831"/>
                    </a:lnTo>
                    <a:lnTo>
                      <a:pt x="1121" y="837"/>
                    </a:lnTo>
                    <a:lnTo>
                      <a:pt x="1128" y="844"/>
                    </a:lnTo>
                    <a:lnTo>
                      <a:pt x="1135" y="849"/>
                    </a:lnTo>
                    <a:lnTo>
                      <a:pt x="1143" y="854"/>
                    </a:lnTo>
                    <a:lnTo>
                      <a:pt x="1151" y="859"/>
                    </a:lnTo>
                    <a:lnTo>
                      <a:pt x="1159" y="862"/>
                    </a:lnTo>
                    <a:lnTo>
                      <a:pt x="1168" y="865"/>
                    </a:lnTo>
                    <a:lnTo>
                      <a:pt x="1178" y="867"/>
                    </a:lnTo>
                    <a:lnTo>
                      <a:pt x="1187" y="869"/>
                    </a:lnTo>
                    <a:lnTo>
                      <a:pt x="1198" y="870"/>
                    </a:lnTo>
                    <a:lnTo>
                      <a:pt x="1209" y="869"/>
                    </a:lnTo>
                    <a:lnTo>
                      <a:pt x="1219" y="867"/>
                    </a:lnTo>
                    <a:lnTo>
                      <a:pt x="1229" y="865"/>
                    </a:lnTo>
                    <a:lnTo>
                      <a:pt x="1238" y="862"/>
                    </a:lnTo>
                    <a:lnTo>
                      <a:pt x="1248" y="858"/>
                    </a:lnTo>
                    <a:lnTo>
                      <a:pt x="1256" y="853"/>
                    </a:lnTo>
                    <a:lnTo>
                      <a:pt x="1264" y="848"/>
                    </a:lnTo>
                    <a:lnTo>
                      <a:pt x="1272" y="841"/>
                    </a:lnTo>
                    <a:lnTo>
                      <a:pt x="1280" y="835"/>
                    </a:lnTo>
                    <a:lnTo>
                      <a:pt x="1286" y="827"/>
                    </a:lnTo>
                    <a:lnTo>
                      <a:pt x="1293" y="820"/>
                    </a:lnTo>
                    <a:lnTo>
                      <a:pt x="1299" y="812"/>
                    </a:lnTo>
                    <a:lnTo>
                      <a:pt x="1310" y="794"/>
                    </a:lnTo>
                    <a:lnTo>
                      <a:pt x="1320" y="774"/>
                    </a:lnTo>
                    <a:lnTo>
                      <a:pt x="1328" y="753"/>
                    </a:lnTo>
                    <a:lnTo>
                      <a:pt x="1336" y="733"/>
                    </a:lnTo>
                    <a:lnTo>
                      <a:pt x="1341" y="711"/>
                    </a:lnTo>
                    <a:lnTo>
                      <a:pt x="1346" y="689"/>
                    </a:lnTo>
                    <a:lnTo>
                      <a:pt x="1349" y="668"/>
                    </a:lnTo>
                    <a:lnTo>
                      <a:pt x="1351" y="647"/>
                    </a:lnTo>
                    <a:lnTo>
                      <a:pt x="1353" y="627"/>
                    </a:lnTo>
                    <a:lnTo>
                      <a:pt x="1353" y="609"/>
                    </a:lnTo>
                    <a:lnTo>
                      <a:pt x="1353" y="592"/>
                    </a:lnTo>
                    <a:lnTo>
                      <a:pt x="1351" y="573"/>
                    </a:lnTo>
                    <a:lnTo>
                      <a:pt x="1349" y="553"/>
                    </a:lnTo>
                    <a:lnTo>
                      <a:pt x="1346" y="532"/>
                    </a:lnTo>
                    <a:lnTo>
                      <a:pt x="1341" y="511"/>
                    </a:lnTo>
                    <a:lnTo>
                      <a:pt x="1336" y="491"/>
                    </a:lnTo>
                    <a:lnTo>
                      <a:pt x="1328" y="470"/>
                    </a:lnTo>
                    <a:lnTo>
                      <a:pt x="1321" y="450"/>
                    </a:lnTo>
                    <a:lnTo>
                      <a:pt x="1311" y="432"/>
                    </a:lnTo>
                    <a:lnTo>
                      <a:pt x="1300" y="415"/>
                    </a:lnTo>
                    <a:lnTo>
                      <a:pt x="1294" y="407"/>
                    </a:lnTo>
                    <a:lnTo>
                      <a:pt x="1287" y="399"/>
                    </a:lnTo>
                    <a:lnTo>
                      <a:pt x="1281" y="392"/>
                    </a:lnTo>
                    <a:lnTo>
                      <a:pt x="1273" y="385"/>
                    </a:lnTo>
                    <a:lnTo>
                      <a:pt x="1266" y="380"/>
                    </a:lnTo>
                    <a:lnTo>
                      <a:pt x="1258" y="374"/>
                    </a:lnTo>
                    <a:lnTo>
                      <a:pt x="1249" y="370"/>
                    </a:lnTo>
                    <a:lnTo>
                      <a:pt x="1241" y="367"/>
                    </a:lnTo>
                    <a:lnTo>
                      <a:pt x="1231" y="364"/>
                    </a:lnTo>
                    <a:lnTo>
                      <a:pt x="1221" y="361"/>
                    </a:lnTo>
                    <a:lnTo>
                      <a:pt x="1211" y="359"/>
                    </a:lnTo>
                    <a:lnTo>
                      <a:pt x="1200" y="359"/>
                    </a:lnTo>
                    <a:close/>
                    <a:moveTo>
                      <a:pt x="1170" y="1231"/>
                    </a:moveTo>
                    <a:lnTo>
                      <a:pt x="1147" y="1231"/>
                    </a:lnTo>
                    <a:lnTo>
                      <a:pt x="1124" y="1230"/>
                    </a:lnTo>
                    <a:lnTo>
                      <a:pt x="1103" y="1228"/>
                    </a:lnTo>
                    <a:lnTo>
                      <a:pt x="1081" y="1226"/>
                    </a:lnTo>
                    <a:lnTo>
                      <a:pt x="1059" y="1222"/>
                    </a:lnTo>
                    <a:lnTo>
                      <a:pt x="1038" y="1218"/>
                    </a:lnTo>
                    <a:lnTo>
                      <a:pt x="1016" y="1214"/>
                    </a:lnTo>
                    <a:lnTo>
                      <a:pt x="994" y="1209"/>
                    </a:lnTo>
                    <a:lnTo>
                      <a:pt x="994" y="1115"/>
                    </a:lnTo>
                    <a:lnTo>
                      <a:pt x="1014" y="1124"/>
                    </a:lnTo>
                    <a:lnTo>
                      <a:pt x="1033" y="1131"/>
                    </a:lnTo>
                    <a:lnTo>
                      <a:pt x="1053" y="1139"/>
                    </a:lnTo>
                    <a:lnTo>
                      <a:pt x="1073" y="1144"/>
                    </a:lnTo>
                    <a:lnTo>
                      <a:pt x="1094" y="1149"/>
                    </a:lnTo>
                    <a:lnTo>
                      <a:pt x="1115" y="1151"/>
                    </a:lnTo>
                    <a:lnTo>
                      <a:pt x="1135" y="1153"/>
                    </a:lnTo>
                    <a:lnTo>
                      <a:pt x="1157" y="1154"/>
                    </a:lnTo>
                    <a:lnTo>
                      <a:pt x="1184" y="1153"/>
                    </a:lnTo>
                    <a:lnTo>
                      <a:pt x="1208" y="1150"/>
                    </a:lnTo>
                    <a:lnTo>
                      <a:pt x="1220" y="1149"/>
                    </a:lnTo>
                    <a:lnTo>
                      <a:pt x="1231" y="1145"/>
                    </a:lnTo>
                    <a:lnTo>
                      <a:pt x="1241" y="1143"/>
                    </a:lnTo>
                    <a:lnTo>
                      <a:pt x="1251" y="1140"/>
                    </a:lnTo>
                    <a:lnTo>
                      <a:pt x="1260" y="1136"/>
                    </a:lnTo>
                    <a:lnTo>
                      <a:pt x="1269" y="1131"/>
                    </a:lnTo>
                    <a:lnTo>
                      <a:pt x="1277" y="1127"/>
                    </a:lnTo>
                    <a:lnTo>
                      <a:pt x="1285" y="1123"/>
                    </a:lnTo>
                    <a:lnTo>
                      <a:pt x="1293" y="1117"/>
                    </a:lnTo>
                    <a:lnTo>
                      <a:pt x="1299" y="1111"/>
                    </a:lnTo>
                    <a:lnTo>
                      <a:pt x="1306" y="1105"/>
                    </a:lnTo>
                    <a:lnTo>
                      <a:pt x="1311" y="1098"/>
                    </a:lnTo>
                    <a:lnTo>
                      <a:pt x="1317" y="1091"/>
                    </a:lnTo>
                    <a:lnTo>
                      <a:pt x="1322" y="1083"/>
                    </a:lnTo>
                    <a:lnTo>
                      <a:pt x="1326" y="1076"/>
                    </a:lnTo>
                    <a:lnTo>
                      <a:pt x="1331" y="1067"/>
                    </a:lnTo>
                    <a:lnTo>
                      <a:pt x="1338" y="1050"/>
                    </a:lnTo>
                    <a:lnTo>
                      <a:pt x="1344" y="1030"/>
                    </a:lnTo>
                    <a:lnTo>
                      <a:pt x="1348" y="1010"/>
                    </a:lnTo>
                    <a:lnTo>
                      <a:pt x="1351" y="987"/>
                    </a:lnTo>
                    <a:lnTo>
                      <a:pt x="1353" y="963"/>
                    </a:lnTo>
                    <a:lnTo>
                      <a:pt x="1353" y="938"/>
                    </a:lnTo>
                    <a:lnTo>
                      <a:pt x="1353" y="823"/>
                    </a:lnTo>
                    <a:lnTo>
                      <a:pt x="1351" y="823"/>
                    </a:lnTo>
                    <a:lnTo>
                      <a:pt x="1346" y="837"/>
                    </a:lnTo>
                    <a:lnTo>
                      <a:pt x="1339" y="850"/>
                    </a:lnTo>
                    <a:lnTo>
                      <a:pt x="1333" y="863"/>
                    </a:lnTo>
                    <a:lnTo>
                      <a:pt x="1325" y="875"/>
                    </a:lnTo>
                    <a:lnTo>
                      <a:pt x="1317" y="886"/>
                    </a:lnTo>
                    <a:lnTo>
                      <a:pt x="1307" y="897"/>
                    </a:lnTo>
                    <a:lnTo>
                      <a:pt x="1297" y="905"/>
                    </a:lnTo>
                    <a:lnTo>
                      <a:pt x="1286" y="914"/>
                    </a:lnTo>
                    <a:lnTo>
                      <a:pt x="1274" y="922"/>
                    </a:lnTo>
                    <a:lnTo>
                      <a:pt x="1262" y="928"/>
                    </a:lnTo>
                    <a:lnTo>
                      <a:pt x="1249" y="934"/>
                    </a:lnTo>
                    <a:lnTo>
                      <a:pt x="1236" y="939"/>
                    </a:lnTo>
                    <a:lnTo>
                      <a:pt x="1222" y="942"/>
                    </a:lnTo>
                    <a:lnTo>
                      <a:pt x="1208" y="945"/>
                    </a:lnTo>
                    <a:lnTo>
                      <a:pt x="1194" y="947"/>
                    </a:lnTo>
                    <a:lnTo>
                      <a:pt x="1179" y="947"/>
                    </a:lnTo>
                    <a:lnTo>
                      <a:pt x="1162" y="947"/>
                    </a:lnTo>
                    <a:lnTo>
                      <a:pt x="1146" y="946"/>
                    </a:lnTo>
                    <a:lnTo>
                      <a:pt x="1132" y="942"/>
                    </a:lnTo>
                    <a:lnTo>
                      <a:pt x="1118" y="939"/>
                    </a:lnTo>
                    <a:lnTo>
                      <a:pt x="1105" y="935"/>
                    </a:lnTo>
                    <a:lnTo>
                      <a:pt x="1092" y="930"/>
                    </a:lnTo>
                    <a:lnTo>
                      <a:pt x="1080" y="924"/>
                    </a:lnTo>
                    <a:lnTo>
                      <a:pt x="1069" y="917"/>
                    </a:lnTo>
                    <a:lnTo>
                      <a:pt x="1058" y="910"/>
                    </a:lnTo>
                    <a:lnTo>
                      <a:pt x="1049" y="902"/>
                    </a:lnTo>
                    <a:lnTo>
                      <a:pt x="1039" y="893"/>
                    </a:lnTo>
                    <a:lnTo>
                      <a:pt x="1030" y="884"/>
                    </a:lnTo>
                    <a:lnTo>
                      <a:pt x="1022" y="874"/>
                    </a:lnTo>
                    <a:lnTo>
                      <a:pt x="1015" y="864"/>
                    </a:lnTo>
                    <a:lnTo>
                      <a:pt x="1007" y="853"/>
                    </a:lnTo>
                    <a:lnTo>
                      <a:pt x="1002" y="841"/>
                    </a:lnTo>
                    <a:lnTo>
                      <a:pt x="995" y="829"/>
                    </a:lnTo>
                    <a:lnTo>
                      <a:pt x="990" y="817"/>
                    </a:lnTo>
                    <a:lnTo>
                      <a:pt x="986" y="804"/>
                    </a:lnTo>
                    <a:lnTo>
                      <a:pt x="981" y="791"/>
                    </a:lnTo>
                    <a:lnTo>
                      <a:pt x="974" y="765"/>
                    </a:lnTo>
                    <a:lnTo>
                      <a:pt x="968" y="738"/>
                    </a:lnTo>
                    <a:lnTo>
                      <a:pt x="964" y="710"/>
                    </a:lnTo>
                    <a:lnTo>
                      <a:pt x="961" y="682"/>
                    </a:lnTo>
                    <a:lnTo>
                      <a:pt x="960" y="654"/>
                    </a:lnTo>
                    <a:lnTo>
                      <a:pt x="958" y="626"/>
                    </a:lnTo>
                    <a:lnTo>
                      <a:pt x="960" y="599"/>
                    </a:lnTo>
                    <a:lnTo>
                      <a:pt x="961" y="571"/>
                    </a:lnTo>
                    <a:lnTo>
                      <a:pt x="964" y="542"/>
                    </a:lnTo>
                    <a:lnTo>
                      <a:pt x="968" y="512"/>
                    </a:lnTo>
                    <a:lnTo>
                      <a:pt x="975" y="483"/>
                    </a:lnTo>
                    <a:lnTo>
                      <a:pt x="982" y="455"/>
                    </a:lnTo>
                    <a:lnTo>
                      <a:pt x="987" y="441"/>
                    </a:lnTo>
                    <a:lnTo>
                      <a:pt x="992" y="428"/>
                    </a:lnTo>
                    <a:lnTo>
                      <a:pt x="998" y="414"/>
                    </a:lnTo>
                    <a:lnTo>
                      <a:pt x="1003" y="401"/>
                    </a:lnTo>
                    <a:lnTo>
                      <a:pt x="1009" y="389"/>
                    </a:lnTo>
                    <a:lnTo>
                      <a:pt x="1017" y="376"/>
                    </a:lnTo>
                    <a:lnTo>
                      <a:pt x="1025" y="365"/>
                    </a:lnTo>
                    <a:lnTo>
                      <a:pt x="1033" y="353"/>
                    </a:lnTo>
                    <a:lnTo>
                      <a:pt x="1042" y="343"/>
                    </a:lnTo>
                    <a:lnTo>
                      <a:pt x="1051" y="333"/>
                    </a:lnTo>
                    <a:lnTo>
                      <a:pt x="1060" y="323"/>
                    </a:lnTo>
                    <a:lnTo>
                      <a:pt x="1071" y="315"/>
                    </a:lnTo>
                    <a:lnTo>
                      <a:pt x="1083" y="308"/>
                    </a:lnTo>
                    <a:lnTo>
                      <a:pt x="1095" y="301"/>
                    </a:lnTo>
                    <a:lnTo>
                      <a:pt x="1107" y="295"/>
                    </a:lnTo>
                    <a:lnTo>
                      <a:pt x="1121" y="290"/>
                    </a:lnTo>
                    <a:lnTo>
                      <a:pt x="1135" y="287"/>
                    </a:lnTo>
                    <a:lnTo>
                      <a:pt x="1149" y="283"/>
                    </a:lnTo>
                    <a:lnTo>
                      <a:pt x="1165" y="282"/>
                    </a:lnTo>
                    <a:lnTo>
                      <a:pt x="1181" y="281"/>
                    </a:lnTo>
                    <a:lnTo>
                      <a:pt x="1196" y="282"/>
                    </a:lnTo>
                    <a:lnTo>
                      <a:pt x="1210" y="283"/>
                    </a:lnTo>
                    <a:lnTo>
                      <a:pt x="1223" y="285"/>
                    </a:lnTo>
                    <a:lnTo>
                      <a:pt x="1237" y="290"/>
                    </a:lnTo>
                    <a:lnTo>
                      <a:pt x="1250" y="294"/>
                    </a:lnTo>
                    <a:lnTo>
                      <a:pt x="1263" y="300"/>
                    </a:lnTo>
                    <a:lnTo>
                      <a:pt x="1275" y="306"/>
                    </a:lnTo>
                    <a:lnTo>
                      <a:pt x="1287" y="314"/>
                    </a:lnTo>
                    <a:lnTo>
                      <a:pt x="1298" y="321"/>
                    </a:lnTo>
                    <a:lnTo>
                      <a:pt x="1309" y="331"/>
                    </a:lnTo>
                    <a:lnTo>
                      <a:pt x="1318" y="341"/>
                    </a:lnTo>
                    <a:lnTo>
                      <a:pt x="1326" y="352"/>
                    </a:lnTo>
                    <a:lnTo>
                      <a:pt x="1334" y="364"/>
                    </a:lnTo>
                    <a:lnTo>
                      <a:pt x="1340" y="376"/>
                    </a:lnTo>
                    <a:lnTo>
                      <a:pt x="1347" y="389"/>
                    </a:lnTo>
                    <a:lnTo>
                      <a:pt x="1351" y="403"/>
                    </a:lnTo>
                    <a:lnTo>
                      <a:pt x="1353" y="403"/>
                    </a:lnTo>
                    <a:lnTo>
                      <a:pt x="1353" y="296"/>
                    </a:lnTo>
                    <a:lnTo>
                      <a:pt x="1447" y="296"/>
                    </a:lnTo>
                    <a:lnTo>
                      <a:pt x="1447" y="949"/>
                    </a:lnTo>
                    <a:lnTo>
                      <a:pt x="1447" y="965"/>
                    </a:lnTo>
                    <a:lnTo>
                      <a:pt x="1446" y="983"/>
                    </a:lnTo>
                    <a:lnTo>
                      <a:pt x="1445" y="998"/>
                    </a:lnTo>
                    <a:lnTo>
                      <a:pt x="1442" y="1014"/>
                    </a:lnTo>
                    <a:lnTo>
                      <a:pt x="1440" y="1029"/>
                    </a:lnTo>
                    <a:lnTo>
                      <a:pt x="1437" y="1043"/>
                    </a:lnTo>
                    <a:lnTo>
                      <a:pt x="1434" y="1057"/>
                    </a:lnTo>
                    <a:lnTo>
                      <a:pt x="1429" y="1070"/>
                    </a:lnTo>
                    <a:lnTo>
                      <a:pt x="1425" y="1083"/>
                    </a:lnTo>
                    <a:lnTo>
                      <a:pt x="1421" y="1097"/>
                    </a:lnTo>
                    <a:lnTo>
                      <a:pt x="1414" y="1107"/>
                    </a:lnTo>
                    <a:lnTo>
                      <a:pt x="1409" y="1119"/>
                    </a:lnTo>
                    <a:lnTo>
                      <a:pt x="1402" y="1130"/>
                    </a:lnTo>
                    <a:lnTo>
                      <a:pt x="1395" y="1140"/>
                    </a:lnTo>
                    <a:lnTo>
                      <a:pt x="1387" y="1150"/>
                    </a:lnTo>
                    <a:lnTo>
                      <a:pt x="1378" y="1159"/>
                    </a:lnTo>
                    <a:lnTo>
                      <a:pt x="1370" y="1168"/>
                    </a:lnTo>
                    <a:lnTo>
                      <a:pt x="1360" y="1176"/>
                    </a:lnTo>
                    <a:lnTo>
                      <a:pt x="1350" y="1183"/>
                    </a:lnTo>
                    <a:lnTo>
                      <a:pt x="1340" y="1191"/>
                    </a:lnTo>
                    <a:lnTo>
                      <a:pt x="1330" y="1197"/>
                    </a:lnTo>
                    <a:lnTo>
                      <a:pt x="1318" y="1203"/>
                    </a:lnTo>
                    <a:lnTo>
                      <a:pt x="1306" y="1208"/>
                    </a:lnTo>
                    <a:lnTo>
                      <a:pt x="1293" y="1214"/>
                    </a:lnTo>
                    <a:lnTo>
                      <a:pt x="1280" y="1218"/>
                    </a:lnTo>
                    <a:lnTo>
                      <a:pt x="1266" y="1221"/>
                    </a:lnTo>
                    <a:lnTo>
                      <a:pt x="1251" y="1225"/>
                    </a:lnTo>
                    <a:lnTo>
                      <a:pt x="1236" y="1227"/>
                    </a:lnTo>
                    <a:lnTo>
                      <a:pt x="1221" y="1229"/>
                    </a:lnTo>
                    <a:lnTo>
                      <a:pt x="1205" y="1230"/>
                    </a:lnTo>
                    <a:lnTo>
                      <a:pt x="1187" y="1231"/>
                    </a:lnTo>
                    <a:lnTo>
                      <a:pt x="1170" y="1231"/>
                    </a:lnTo>
                    <a:close/>
                    <a:moveTo>
                      <a:pt x="765" y="947"/>
                    </a:moveTo>
                    <a:lnTo>
                      <a:pt x="765" y="296"/>
                    </a:lnTo>
                    <a:lnTo>
                      <a:pt x="859" y="296"/>
                    </a:lnTo>
                    <a:lnTo>
                      <a:pt x="859" y="947"/>
                    </a:lnTo>
                    <a:lnTo>
                      <a:pt x="765" y="947"/>
                    </a:lnTo>
                    <a:close/>
                    <a:moveTo>
                      <a:pt x="750" y="127"/>
                    </a:moveTo>
                    <a:lnTo>
                      <a:pt x="750" y="4"/>
                    </a:lnTo>
                    <a:lnTo>
                      <a:pt x="874" y="4"/>
                    </a:lnTo>
                    <a:lnTo>
                      <a:pt x="874" y="127"/>
                    </a:lnTo>
                    <a:lnTo>
                      <a:pt x="750" y="127"/>
                    </a:lnTo>
                    <a:close/>
                    <a:moveTo>
                      <a:pt x="496" y="947"/>
                    </a:moveTo>
                    <a:lnTo>
                      <a:pt x="496" y="502"/>
                    </a:lnTo>
                    <a:lnTo>
                      <a:pt x="107" y="502"/>
                    </a:lnTo>
                    <a:lnTo>
                      <a:pt x="107" y="947"/>
                    </a:lnTo>
                    <a:lnTo>
                      <a:pt x="0" y="947"/>
                    </a:lnTo>
                    <a:lnTo>
                      <a:pt x="0" y="4"/>
                    </a:lnTo>
                    <a:lnTo>
                      <a:pt x="107" y="4"/>
                    </a:lnTo>
                    <a:lnTo>
                      <a:pt x="107" y="412"/>
                    </a:lnTo>
                    <a:lnTo>
                      <a:pt x="496" y="412"/>
                    </a:lnTo>
                    <a:lnTo>
                      <a:pt x="496" y="4"/>
                    </a:lnTo>
                    <a:lnTo>
                      <a:pt x="604" y="4"/>
                    </a:lnTo>
                    <a:lnTo>
                      <a:pt x="604" y="947"/>
                    </a:lnTo>
                    <a:lnTo>
                      <a:pt x="496" y="947"/>
                    </a:lnTo>
                    <a:close/>
                  </a:path>
                </a:pathLst>
              </a:custGeom>
              <a:solidFill>
                <a:srgbClr val="1F1A17"/>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grpSp>
            <p:nvGrpSpPr>
              <p:cNvPr id="59" name="Group 21"/>
              <p:cNvGrpSpPr/>
              <p:nvPr userDrawn="1"/>
            </p:nvGrpSpPr>
            <p:grpSpPr>
              <a:xfrm>
                <a:off x="471488" y="605980"/>
                <a:ext cx="2196707" cy="386471"/>
                <a:chOff x="931863" y="2459038"/>
                <a:chExt cx="2427287" cy="427038"/>
              </a:xfrm>
              <a:solidFill>
                <a:sysClr val="windowText" lastClr="000000"/>
              </a:solidFill>
            </p:grpSpPr>
            <p:sp>
              <p:nvSpPr>
                <p:cNvPr id="60" name="Freeform 5"/>
                <p:cNvSpPr>
                  <a:spLocks noEditPoints="1"/>
                </p:cNvSpPr>
                <p:nvPr userDrawn="1"/>
              </p:nvSpPr>
              <p:spPr bwMode="auto">
                <a:xfrm>
                  <a:off x="931863" y="2555875"/>
                  <a:ext cx="247650" cy="330200"/>
                </a:xfrm>
                <a:custGeom>
                  <a:avLst/>
                  <a:gdLst/>
                  <a:ahLst/>
                  <a:cxnLst>
                    <a:cxn ang="0">
                      <a:pos x="1703" y="546"/>
                    </a:cxn>
                    <a:cxn ang="0">
                      <a:pos x="1652" y="361"/>
                    </a:cxn>
                    <a:cxn ang="0">
                      <a:pos x="1561" y="217"/>
                    </a:cxn>
                    <a:cxn ang="0">
                      <a:pos x="1432" y="113"/>
                    </a:cxn>
                    <a:cxn ang="0">
                      <a:pos x="1271" y="45"/>
                    </a:cxn>
                    <a:cxn ang="0">
                      <a:pos x="1083" y="9"/>
                    </a:cxn>
                    <a:cxn ang="0">
                      <a:pos x="872" y="1"/>
                    </a:cxn>
                    <a:cxn ang="0">
                      <a:pos x="670" y="21"/>
                    </a:cxn>
                    <a:cxn ang="0">
                      <a:pos x="486" y="74"/>
                    </a:cxn>
                    <a:cxn ang="0">
                      <a:pos x="328" y="160"/>
                    </a:cxn>
                    <a:cxn ang="0">
                      <a:pos x="204" y="282"/>
                    </a:cxn>
                    <a:cxn ang="0">
                      <a:pos x="121" y="444"/>
                    </a:cxn>
                    <a:cxn ang="0">
                      <a:pos x="84" y="647"/>
                    </a:cxn>
                    <a:cxn ang="0">
                      <a:pos x="582" y="635"/>
                    </a:cxn>
                    <a:cxn ang="0">
                      <a:pos x="601" y="550"/>
                    </a:cxn>
                    <a:cxn ang="0">
                      <a:pos x="636" y="480"/>
                    </a:cxn>
                    <a:cxn ang="0">
                      <a:pos x="687" y="425"/>
                    </a:cxn>
                    <a:cxn ang="0">
                      <a:pos x="755" y="386"/>
                    </a:cxn>
                    <a:cxn ang="0">
                      <a:pos x="838" y="364"/>
                    </a:cxn>
                    <a:cxn ang="0">
                      <a:pos x="939" y="359"/>
                    </a:cxn>
                    <a:cxn ang="0">
                      <a:pos x="1038" y="376"/>
                    </a:cxn>
                    <a:cxn ang="0">
                      <a:pos x="1112" y="417"/>
                    </a:cxn>
                    <a:cxn ang="0">
                      <a:pos x="1165" y="477"/>
                    </a:cxn>
                    <a:cxn ang="0">
                      <a:pos x="1198" y="553"/>
                    </a:cxn>
                    <a:cxn ang="0">
                      <a:pos x="1220" y="678"/>
                    </a:cxn>
                    <a:cxn ang="0">
                      <a:pos x="1028" y="982"/>
                    </a:cxn>
                    <a:cxn ang="0">
                      <a:pos x="772" y="1009"/>
                    </a:cxn>
                    <a:cxn ang="0">
                      <a:pos x="519" y="1067"/>
                    </a:cxn>
                    <a:cxn ang="0">
                      <a:pos x="295" y="1168"/>
                    </a:cxn>
                    <a:cxn ang="0">
                      <a:pos x="121" y="1322"/>
                    </a:cxn>
                    <a:cxn ang="0">
                      <a:pos x="18" y="1542"/>
                    </a:cxn>
                    <a:cxn ang="0">
                      <a:pos x="3" y="1780"/>
                    </a:cxn>
                    <a:cxn ang="0">
                      <a:pos x="40" y="1931"/>
                    </a:cxn>
                    <a:cxn ang="0">
                      <a:pos x="111" y="2057"/>
                    </a:cxn>
                    <a:cxn ang="0">
                      <a:pos x="213" y="2155"/>
                    </a:cxn>
                    <a:cxn ang="0">
                      <a:pos x="340" y="2227"/>
                    </a:cxn>
                    <a:cxn ang="0">
                      <a:pos x="485" y="2270"/>
                    </a:cxn>
                    <a:cxn ang="0">
                      <a:pos x="644" y="2285"/>
                    </a:cxn>
                    <a:cxn ang="0">
                      <a:pos x="797" y="2273"/>
                    </a:cxn>
                    <a:cxn ang="0">
                      <a:pos x="901" y="2248"/>
                    </a:cxn>
                    <a:cxn ang="0">
                      <a:pos x="995" y="2208"/>
                    </a:cxn>
                    <a:cxn ang="0">
                      <a:pos x="1082" y="2152"/>
                    </a:cxn>
                    <a:cxn ang="0">
                      <a:pos x="1155" y="2077"/>
                    </a:cxn>
                    <a:cxn ang="0">
                      <a:pos x="1214" y="1982"/>
                    </a:cxn>
                    <a:cxn ang="0">
                      <a:pos x="1224" y="1298"/>
                    </a:cxn>
                    <a:cxn ang="0">
                      <a:pos x="1211" y="1436"/>
                    </a:cxn>
                    <a:cxn ang="0">
                      <a:pos x="1178" y="1574"/>
                    </a:cxn>
                    <a:cxn ang="0">
                      <a:pos x="1124" y="1704"/>
                    </a:cxn>
                    <a:cxn ang="0">
                      <a:pos x="1044" y="1813"/>
                    </a:cxn>
                    <a:cxn ang="0">
                      <a:pos x="937" y="1891"/>
                    </a:cxn>
                    <a:cxn ang="0">
                      <a:pos x="799" y="1927"/>
                    </a:cxn>
                    <a:cxn ang="0">
                      <a:pos x="707" y="1923"/>
                    </a:cxn>
                    <a:cxn ang="0">
                      <a:pos x="641" y="1907"/>
                    </a:cxn>
                    <a:cxn ang="0">
                      <a:pos x="587" y="1877"/>
                    </a:cxn>
                    <a:cxn ang="0">
                      <a:pos x="545" y="1835"/>
                    </a:cxn>
                    <a:cxn ang="0">
                      <a:pos x="515" y="1780"/>
                    </a:cxn>
                    <a:cxn ang="0">
                      <a:pos x="499" y="1713"/>
                    </a:cxn>
                    <a:cxn ang="0">
                      <a:pos x="502" y="1607"/>
                    </a:cxn>
                    <a:cxn ang="0">
                      <a:pos x="558" y="1485"/>
                    </a:cxn>
                    <a:cxn ang="0">
                      <a:pos x="662" y="1396"/>
                    </a:cxn>
                    <a:cxn ang="0">
                      <a:pos x="798" y="1334"/>
                    </a:cxn>
                    <a:cxn ang="0">
                      <a:pos x="947" y="1297"/>
                    </a:cxn>
                    <a:cxn ang="0">
                      <a:pos x="1175" y="1272"/>
                    </a:cxn>
                  </a:cxnLst>
                  <a:rect l="0" t="0" r="r" b="b"/>
                  <a:pathLst>
                    <a:path w="1711" h="2285">
                      <a:moveTo>
                        <a:pt x="1711" y="2235"/>
                      </a:moveTo>
                      <a:lnTo>
                        <a:pt x="1711" y="679"/>
                      </a:lnTo>
                      <a:lnTo>
                        <a:pt x="1710" y="633"/>
                      </a:lnTo>
                      <a:lnTo>
                        <a:pt x="1707" y="589"/>
                      </a:lnTo>
                      <a:lnTo>
                        <a:pt x="1703" y="546"/>
                      </a:lnTo>
                      <a:lnTo>
                        <a:pt x="1697" y="505"/>
                      </a:lnTo>
                      <a:lnTo>
                        <a:pt x="1688" y="467"/>
                      </a:lnTo>
                      <a:lnTo>
                        <a:pt x="1678" y="430"/>
                      </a:lnTo>
                      <a:lnTo>
                        <a:pt x="1666" y="394"/>
                      </a:lnTo>
                      <a:lnTo>
                        <a:pt x="1652" y="361"/>
                      </a:lnTo>
                      <a:lnTo>
                        <a:pt x="1637" y="328"/>
                      </a:lnTo>
                      <a:lnTo>
                        <a:pt x="1620" y="299"/>
                      </a:lnTo>
                      <a:lnTo>
                        <a:pt x="1602" y="270"/>
                      </a:lnTo>
                      <a:lnTo>
                        <a:pt x="1582" y="243"/>
                      </a:lnTo>
                      <a:lnTo>
                        <a:pt x="1561" y="217"/>
                      </a:lnTo>
                      <a:lnTo>
                        <a:pt x="1538" y="194"/>
                      </a:lnTo>
                      <a:lnTo>
                        <a:pt x="1514" y="172"/>
                      </a:lnTo>
                      <a:lnTo>
                        <a:pt x="1487" y="151"/>
                      </a:lnTo>
                      <a:lnTo>
                        <a:pt x="1460" y="131"/>
                      </a:lnTo>
                      <a:lnTo>
                        <a:pt x="1432" y="113"/>
                      </a:lnTo>
                      <a:lnTo>
                        <a:pt x="1402" y="98"/>
                      </a:lnTo>
                      <a:lnTo>
                        <a:pt x="1372" y="82"/>
                      </a:lnTo>
                      <a:lnTo>
                        <a:pt x="1339" y="68"/>
                      </a:lnTo>
                      <a:lnTo>
                        <a:pt x="1306" y="57"/>
                      </a:lnTo>
                      <a:lnTo>
                        <a:pt x="1271" y="45"/>
                      </a:lnTo>
                      <a:lnTo>
                        <a:pt x="1236" y="36"/>
                      </a:lnTo>
                      <a:lnTo>
                        <a:pt x="1199" y="27"/>
                      </a:lnTo>
                      <a:lnTo>
                        <a:pt x="1162" y="20"/>
                      </a:lnTo>
                      <a:lnTo>
                        <a:pt x="1123" y="14"/>
                      </a:lnTo>
                      <a:lnTo>
                        <a:pt x="1083" y="9"/>
                      </a:lnTo>
                      <a:lnTo>
                        <a:pt x="1043" y="5"/>
                      </a:lnTo>
                      <a:lnTo>
                        <a:pt x="1001" y="2"/>
                      </a:lnTo>
                      <a:lnTo>
                        <a:pt x="959" y="1"/>
                      </a:lnTo>
                      <a:lnTo>
                        <a:pt x="916" y="0"/>
                      </a:lnTo>
                      <a:lnTo>
                        <a:pt x="872" y="1"/>
                      </a:lnTo>
                      <a:lnTo>
                        <a:pt x="831" y="3"/>
                      </a:lnTo>
                      <a:lnTo>
                        <a:pt x="789" y="5"/>
                      </a:lnTo>
                      <a:lnTo>
                        <a:pt x="748" y="10"/>
                      </a:lnTo>
                      <a:lnTo>
                        <a:pt x="709" y="15"/>
                      </a:lnTo>
                      <a:lnTo>
                        <a:pt x="670" y="21"/>
                      </a:lnTo>
                      <a:lnTo>
                        <a:pt x="631" y="30"/>
                      </a:lnTo>
                      <a:lnTo>
                        <a:pt x="593" y="39"/>
                      </a:lnTo>
                      <a:lnTo>
                        <a:pt x="556" y="48"/>
                      </a:lnTo>
                      <a:lnTo>
                        <a:pt x="520" y="61"/>
                      </a:lnTo>
                      <a:lnTo>
                        <a:pt x="486" y="74"/>
                      </a:lnTo>
                      <a:lnTo>
                        <a:pt x="452" y="88"/>
                      </a:lnTo>
                      <a:lnTo>
                        <a:pt x="419" y="104"/>
                      </a:lnTo>
                      <a:lnTo>
                        <a:pt x="388" y="121"/>
                      </a:lnTo>
                      <a:lnTo>
                        <a:pt x="357" y="140"/>
                      </a:lnTo>
                      <a:lnTo>
                        <a:pt x="328" y="160"/>
                      </a:lnTo>
                      <a:lnTo>
                        <a:pt x="301" y="180"/>
                      </a:lnTo>
                      <a:lnTo>
                        <a:pt x="274" y="204"/>
                      </a:lnTo>
                      <a:lnTo>
                        <a:pt x="249" y="229"/>
                      </a:lnTo>
                      <a:lnTo>
                        <a:pt x="226" y="255"/>
                      </a:lnTo>
                      <a:lnTo>
                        <a:pt x="204" y="282"/>
                      </a:lnTo>
                      <a:lnTo>
                        <a:pt x="184" y="311"/>
                      </a:lnTo>
                      <a:lnTo>
                        <a:pt x="166" y="342"/>
                      </a:lnTo>
                      <a:lnTo>
                        <a:pt x="149" y="374"/>
                      </a:lnTo>
                      <a:lnTo>
                        <a:pt x="134" y="408"/>
                      </a:lnTo>
                      <a:lnTo>
                        <a:pt x="121" y="444"/>
                      </a:lnTo>
                      <a:lnTo>
                        <a:pt x="109" y="481"/>
                      </a:lnTo>
                      <a:lnTo>
                        <a:pt x="100" y="520"/>
                      </a:lnTo>
                      <a:lnTo>
                        <a:pt x="93" y="561"/>
                      </a:lnTo>
                      <a:lnTo>
                        <a:pt x="87" y="603"/>
                      </a:lnTo>
                      <a:lnTo>
                        <a:pt x="84" y="647"/>
                      </a:lnTo>
                      <a:lnTo>
                        <a:pt x="83" y="693"/>
                      </a:lnTo>
                      <a:lnTo>
                        <a:pt x="579" y="693"/>
                      </a:lnTo>
                      <a:lnTo>
                        <a:pt x="580" y="673"/>
                      </a:lnTo>
                      <a:lnTo>
                        <a:pt x="581" y="654"/>
                      </a:lnTo>
                      <a:lnTo>
                        <a:pt x="582" y="635"/>
                      </a:lnTo>
                      <a:lnTo>
                        <a:pt x="584" y="616"/>
                      </a:lnTo>
                      <a:lnTo>
                        <a:pt x="588" y="600"/>
                      </a:lnTo>
                      <a:lnTo>
                        <a:pt x="592" y="582"/>
                      </a:lnTo>
                      <a:lnTo>
                        <a:pt x="596" y="566"/>
                      </a:lnTo>
                      <a:lnTo>
                        <a:pt x="601" y="550"/>
                      </a:lnTo>
                      <a:lnTo>
                        <a:pt x="607" y="535"/>
                      </a:lnTo>
                      <a:lnTo>
                        <a:pt x="613" y="520"/>
                      </a:lnTo>
                      <a:lnTo>
                        <a:pt x="620" y="506"/>
                      </a:lnTo>
                      <a:lnTo>
                        <a:pt x="628" y="493"/>
                      </a:lnTo>
                      <a:lnTo>
                        <a:pt x="636" y="480"/>
                      </a:lnTo>
                      <a:lnTo>
                        <a:pt x="644" y="468"/>
                      </a:lnTo>
                      <a:lnTo>
                        <a:pt x="655" y="456"/>
                      </a:lnTo>
                      <a:lnTo>
                        <a:pt x="664" y="445"/>
                      </a:lnTo>
                      <a:lnTo>
                        <a:pt x="676" y="435"/>
                      </a:lnTo>
                      <a:lnTo>
                        <a:pt x="687" y="425"/>
                      </a:lnTo>
                      <a:lnTo>
                        <a:pt x="699" y="416"/>
                      </a:lnTo>
                      <a:lnTo>
                        <a:pt x="712" y="408"/>
                      </a:lnTo>
                      <a:lnTo>
                        <a:pt x="725" y="400"/>
                      </a:lnTo>
                      <a:lnTo>
                        <a:pt x="740" y="393"/>
                      </a:lnTo>
                      <a:lnTo>
                        <a:pt x="755" y="386"/>
                      </a:lnTo>
                      <a:lnTo>
                        <a:pt x="769" y="381"/>
                      </a:lnTo>
                      <a:lnTo>
                        <a:pt x="785" y="375"/>
                      </a:lnTo>
                      <a:lnTo>
                        <a:pt x="802" y="371"/>
                      </a:lnTo>
                      <a:lnTo>
                        <a:pt x="820" y="367"/>
                      </a:lnTo>
                      <a:lnTo>
                        <a:pt x="838" y="364"/>
                      </a:lnTo>
                      <a:lnTo>
                        <a:pt x="856" y="362"/>
                      </a:lnTo>
                      <a:lnTo>
                        <a:pt x="876" y="360"/>
                      </a:lnTo>
                      <a:lnTo>
                        <a:pt x="895" y="359"/>
                      </a:lnTo>
                      <a:lnTo>
                        <a:pt x="916" y="359"/>
                      </a:lnTo>
                      <a:lnTo>
                        <a:pt x="939" y="359"/>
                      </a:lnTo>
                      <a:lnTo>
                        <a:pt x="961" y="361"/>
                      </a:lnTo>
                      <a:lnTo>
                        <a:pt x="982" y="363"/>
                      </a:lnTo>
                      <a:lnTo>
                        <a:pt x="1002" y="367"/>
                      </a:lnTo>
                      <a:lnTo>
                        <a:pt x="1020" y="371"/>
                      </a:lnTo>
                      <a:lnTo>
                        <a:pt x="1038" y="376"/>
                      </a:lnTo>
                      <a:lnTo>
                        <a:pt x="1054" y="383"/>
                      </a:lnTo>
                      <a:lnTo>
                        <a:pt x="1070" y="390"/>
                      </a:lnTo>
                      <a:lnTo>
                        <a:pt x="1085" y="398"/>
                      </a:lnTo>
                      <a:lnTo>
                        <a:pt x="1098" y="408"/>
                      </a:lnTo>
                      <a:lnTo>
                        <a:pt x="1112" y="417"/>
                      </a:lnTo>
                      <a:lnTo>
                        <a:pt x="1124" y="428"/>
                      </a:lnTo>
                      <a:lnTo>
                        <a:pt x="1135" y="439"/>
                      </a:lnTo>
                      <a:lnTo>
                        <a:pt x="1146" y="451"/>
                      </a:lnTo>
                      <a:lnTo>
                        <a:pt x="1155" y="463"/>
                      </a:lnTo>
                      <a:lnTo>
                        <a:pt x="1165" y="477"/>
                      </a:lnTo>
                      <a:lnTo>
                        <a:pt x="1172" y="491"/>
                      </a:lnTo>
                      <a:lnTo>
                        <a:pt x="1180" y="505"/>
                      </a:lnTo>
                      <a:lnTo>
                        <a:pt x="1187" y="521"/>
                      </a:lnTo>
                      <a:lnTo>
                        <a:pt x="1193" y="537"/>
                      </a:lnTo>
                      <a:lnTo>
                        <a:pt x="1198" y="553"/>
                      </a:lnTo>
                      <a:lnTo>
                        <a:pt x="1204" y="569"/>
                      </a:lnTo>
                      <a:lnTo>
                        <a:pt x="1208" y="587"/>
                      </a:lnTo>
                      <a:lnTo>
                        <a:pt x="1211" y="604"/>
                      </a:lnTo>
                      <a:lnTo>
                        <a:pt x="1217" y="641"/>
                      </a:lnTo>
                      <a:lnTo>
                        <a:pt x="1220" y="678"/>
                      </a:lnTo>
                      <a:lnTo>
                        <a:pt x="1223" y="717"/>
                      </a:lnTo>
                      <a:lnTo>
                        <a:pt x="1224" y="758"/>
                      </a:lnTo>
                      <a:lnTo>
                        <a:pt x="1224" y="973"/>
                      </a:lnTo>
                      <a:lnTo>
                        <a:pt x="1128" y="976"/>
                      </a:lnTo>
                      <a:lnTo>
                        <a:pt x="1028" y="982"/>
                      </a:lnTo>
                      <a:lnTo>
                        <a:pt x="978" y="985"/>
                      </a:lnTo>
                      <a:lnTo>
                        <a:pt x="926" y="991"/>
                      </a:lnTo>
                      <a:lnTo>
                        <a:pt x="875" y="996"/>
                      </a:lnTo>
                      <a:lnTo>
                        <a:pt x="823" y="1002"/>
                      </a:lnTo>
                      <a:lnTo>
                        <a:pt x="772" y="1009"/>
                      </a:lnTo>
                      <a:lnTo>
                        <a:pt x="720" y="1018"/>
                      </a:lnTo>
                      <a:lnTo>
                        <a:pt x="669" y="1028"/>
                      </a:lnTo>
                      <a:lnTo>
                        <a:pt x="618" y="1040"/>
                      </a:lnTo>
                      <a:lnTo>
                        <a:pt x="569" y="1052"/>
                      </a:lnTo>
                      <a:lnTo>
                        <a:pt x="519" y="1067"/>
                      </a:lnTo>
                      <a:lnTo>
                        <a:pt x="472" y="1084"/>
                      </a:lnTo>
                      <a:lnTo>
                        <a:pt x="426" y="1102"/>
                      </a:lnTo>
                      <a:lnTo>
                        <a:pt x="381" y="1122"/>
                      </a:lnTo>
                      <a:lnTo>
                        <a:pt x="337" y="1144"/>
                      </a:lnTo>
                      <a:lnTo>
                        <a:pt x="295" y="1168"/>
                      </a:lnTo>
                      <a:lnTo>
                        <a:pt x="256" y="1193"/>
                      </a:lnTo>
                      <a:lnTo>
                        <a:pt x="219" y="1222"/>
                      </a:lnTo>
                      <a:lnTo>
                        <a:pt x="184" y="1253"/>
                      </a:lnTo>
                      <a:lnTo>
                        <a:pt x="151" y="1286"/>
                      </a:lnTo>
                      <a:lnTo>
                        <a:pt x="121" y="1322"/>
                      </a:lnTo>
                      <a:lnTo>
                        <a:pt x="95" y="1360"/>
                      </a:lnTo>
                      <a:lnTo>
                        <a:pt x="70" y="1401"/>
                      </a:lnTo>
                      <a:lnTo>
                        <a:pt x="49" y="1445"/>
                      </a:lnTo>
                      <a:lnTo>
                        <a:pt x="33" y="1493"/>
                      </a:lnTo>
                      <a:lnTo>
                        <a:pt x="18" y="1542"/>
                      </a:lnTo>
                      <a:lnTo>
                        <a:pt x="8" y="1595"/>
                      </a:lnTo>
                      <a:lnTo>
                        <a:pt x="2" y="1652"/>
                      </a:lnTo>
                      <a:lnTo>
                        <a:pt x="0" y="1712"/>
                      </a:lnTo>
                      <a:lnTo>
                        <a:pt x="1" y="1746"/>
                      </a:lnTo>
                      <a:lnTo>
                        <a:pt x="3" y="1780"/>
                      </a:lnTo>
                      <a:lnTo>
                        <a:pt x="7" y="1811"/>
                      </a:lnTo>
                      <a:lnTo>
                        <a:pt x="14" y="1843"/>
                      </a:lnTo>
                      <a:lnTo>
                        <a:pt x="21" y="1873"/>
                      </a:lnTo>
                      <a:lnTo>
                        <a:pt x="29" y="1902"/>
                      </a:lnTo>
                      <a:lnTo>
                        <a:pt x="40" y="1931"/>
                      </a:lnTo>
                      <a:lnTo>
                        <a:pt x="52" y="1958"/>
                      </a:lnTo>
                      <a:lnTo>
                        <a:pt x="64" y="1984"/>
                      </a:lnTo>
                      <a:lnTo>
                        <a:pt x="79" y="2009"/>
                      </a:lnTo>
                      <a:lnTo>
                        <a:pt x="95" y="2033"/>
                      </a:lnTo>
                      <a:lnTo>
                        <a:pt x="111" y="2057"/>
                      </a:lnTo>
                      <a:lnTo>
                        <a:pt x="129" y="2079"/>
                      </a:lnTo>
                      <a:lnTo>
                        <a:pt x="149" y="2099"/>
                      </a:lnTo>
                      <a:lnTo>
                        <a:pt x="169" y="2119"/>
                      </a:lnTo>
                      <a:lnTo>
                        <a:pt x="191" y="2137"/>
                      </a:lnTo>
                      <a:lnTo>
                        <a:pt x="213" y="2155"/>
                      </a:lnTo>
                      <a:lnTo>
                        <a:pt x="237" y="2172"/>
                      </a:lnTo>
                      <a:lnTo>
                        <a:pt x="262" y="2188"/>
                      </a:lnTo>
                      <a:lnTo>
                        <a:pt x="287" y="2201"/>
                      </a:lnTo>
                      <a:lnTo>
                        <a:pt x="312" y="2215"/>
                      </a:lnTo>
                      <a:lnTo>
                        <a:pt x="340" y="2227"/>
                      </a:lnTo>
                      <a:lnTo>
                        <a:pt x="367" y="2238"/>
                      </a:lnTo>
                      <a:lnTo>
                        <a:pt x="396" y="2247"/>
                      </a:lnTo>
                      <a:lnTo>
                        <a:pt x="425" y="2257"/>
                      </a:lnTo>
                      <a:lnTo>
                        <a:pt x="455" y="2264"/>
                      </a:lnTo>
                      <a:lnTo>
                        <a:pt x="485" y="2270"/>
                      </a:lnTo>
                      <a:lnTo>
                        <a:pt x="516" y="2276"/>
                      </a:lnTo>
                      <a:lnTo>
                        <a:pt x="548" y="2280"/>
                      </a:lnTo>
                      <a:lnTo>
                        <a:pt x="579" y="2283"/>
                      </a:lnTo>
                      <a:lnTo>
                        <a:pt x="612" y="2284"/>
                      </a:lnTo>
                      <a:lnTo>
                        <a:pt x="644" y="2285"/>
                      </a:lnTo>
                      <a:lnTo>
                        <a:pt x="689" y="2284"/>
                      </a:lnTo>
                      <a:lnTo>
                        <a:pt x="733" y="2281"/>
                      </a:lnTo>
                      <a:lnTo>
                        <a:pt x="755" y="2279"/>
                      </a:lnTo>
                      <a:lnTo>
                        <a:pt x="776" y="2277"/>
                      </a:lnTo>
                      <a:lnTo>
                        <a:pt x="797" y="2273"/>
                      </a:lnTo>
                      <a:lnTo>
                        <a:pt x="819" y="2269"/>
                      </a:lnTo>
                      <a:lnTo>
                        <a:pt x="839" y="2265"/>
                      </a:lnTo>
                      <a:lnTo>
                        <a:pt x="860" y="2260"/>
                      </a:lnTo>
                      <a:lnTo>
                        <a:pt x="880" y="2255"/>
                      </a:lnTo>
                      <a:lnTo>
                        <a:pt x="901" y="2248"/>
                      </a:lnTo>
                      <a:lnTo>
                        <a:pt x="920" y="2242"/>
                      </a:lnTo>
                      <a:lnTo>
                        <a:pt x="940" y="2235"/>
                      </a:lnTo>
                      <a:lnTo>
                        <a:pt x="959" y="2226"/>
                      </a:lnTo>
                      <a:lnTo>
                        <a:pt x="978" y="2218"/>
                      </a:lnTo>
                      <a:lnTo>
                        <a:pt x="995" y="2208"/>
                      </a:lnTo>
                      <a:lnTo>
                        <a:pt x="1013" y="2199"/>
                      </a:lnTo>
                      <a:lnTo>
                        <a:pt x="1031" y="2189"/>
                      </a:lnTo>
                      <a:lnTo>
                        <a:pt x="1048" y="2177"/>
                      </a:lnTo>
                      <a:lnTo>
                        <a:pt x="1065" y="2164"/>
                      </a:lnTo>
                      <a:lnTo>
                        <a:pt x="1082" y="2152"/>
                      </a:lnTo>
                      <a:lnTo>
                        <a:pt x="1097" y="2138"/>
                      </a:lnTo>
                      <a:lnTo>
                        <a:pt x="1112" y="2125"/>
                      </a:lnTo>
                      <a:lnTo>
                        <a:pt x="1127" y="2110"/>
                      </a:lnTo>
                      <a:lnTo>
                        <a:pt x="1142" y="2094"/>
                      </a:lnTo>
                      <a:lnTo>
                        <a:pt x="1155" y="2077"/>
                      </a:lnTo>
                      <a:lnTo>
                        <a:pt x="1168" y="2060"/>
                      </a:lnTo>
                      <a:lnTo>
                        <a:pt x="1180" y="2042"/>
                      </a:lnTo>
                      <a:lnTo>
                        <a:pt x="1192" y="2023"/>
                      </a:lnTo>
                      <a:lnTo>
                        <a:pt x="1204" y="2003"/>
                      </a:lnTo>
                      <a:lnTo>
                        <a:pt x="1214" y="1982"/>
                      </a:lnTo>
                      <a:lnTo>
                        <a:pt x="1224" y="1982"/>
                      </a:lnTo>
                      <a:lnTo>
                        <a:pt x="1224" y="2235"/>
                      </a:lnTo>
                      <a:lnTo>
                        <a:pt x="1711" y="2235"/>
                      </a:lnTo>
                      <a:close/>
                      <a:moveTo>
                        <a:pt x="1224" y="1272"/>
                      </a:moveTo>
                      <a:lnTo>
                        <a:pt x="1224" y="1298"/>
                      </a:lnTo>
                      <a:lnTo>
                        <a:pt x="1223" y="1325"/>
                      </a:lnTo>
                      <a:lnTo>
                        <a:pt x="1220" y="1352"/>
                      </a:lnTo>
                      <a:lnTo>
                        <a:pt x="1218" y="1379"/>
                      </a:lnTo>
                      <a:lnTo>
                        <a:pt x="1215" y="1408"/>
                      </a:lnTo>
                      <a:lnTo>
                        <a:pt x="1211" y="1436"/>
                      </a:lnTo>
                      <a:lnTo>
                        <a:pt x="1206" y="1463"/>
                      </a:lnTo>
                      <a:lnTo>
                        <a:pt x="1200" y="1492"/>
                      </a:lnTo>
                      <a:lnTo>
                        <a:pt x="1194" y="1520"/>
                      </a:lnTo>
                      <a:lnTo>
                        <a:pt x="1187" y="1547"/>
                      </a:lnTo>
                      <a:lnTo>
                        <a:pt x="1178" y="1574"/>
                      </a:lnTo>
                      <a:lnTo>
                        <a:pt x="1169" y="1602"/>
                      </a:lnTo>
                      <a:lnTo>
                        <a:pt x="1159" y="1628"/>
                      </a:lnTo>
                      <a:lnTo>
                        <a:pt x="1148" y="1654"/>
                      </a:lnTo>
                      <a:lnTo>
                        <a:pt x="1136" y="1679"/>
                      </a:lnTo>
                      <a:lnTo>
                        <a:pt x="1124" y="1704"/>
                      </a:lnTo>
                      <a:lnTo>
                        <a:pt x="1110" y="1727"/>
                      </a:lnTo>
                      <a:lnTo>
                        <a:pt x="1095" y="1750"/>
                      </a:lnTo>
                      <a:lnTo>
                        <a:pt x="1079" y="1772"/>
                      </a:lnTo>
                      <a:lnTo>
                        <a:pt x="1062" y="1793"/>
                      </a:lnTo>
                      <a:lnTo>
                        <a:pt x="1044" y="1813"/>
                      </a:lnTo>
                      <a:lnTo>
                        <a:pt x="1025" y="1831"/>
                      </a:lnTo>
                      <a:lnTo>
                        <a:pt x="1004" y="1849"/>
                      </a:lnTo>
                      <a:lnTo>
                        <a:pt x="983" y="1864"/>
                      </a:lnTo>
                      <a:lnTo>
                        <a:pt x="961" y="1878"/>
                      </a:lnTo>
                      <a:lnTo>
                        <a:pt x="937" y="1891"/>
                      </a:lnTo>
                      <a:lnTo>
                        <a:pt x="911" y="1901"/>
                      </a:lnTo>
                      <a:lnTo>
                        <a:pt x="885" y="1911"/>
                      </a:lnTo>
                      <a:lnTo>
                        <a:pt x="858" y="1918"/>
                      </a:lnTo>
                      <a:lnTo>
                        <a:pt x="829" y="1923"/>
                      </a:lnTo>
                      <a:lnTo>
                        <a:pt x="799" y="1927"/>
                      </a:lnTo>
                      <a:lnTo>
                        <a:pt x="768" y="1928"/>
                      </a:lnTo>
                      <a:lnTo>
                        <a:pt x="753" y="1927"/>
                      </a:lnTo>
                      <a:lnTo>
                        <a:pt x="737" y="1927"/>
                      </a:lnTo>
                      <a:lnTo>
                        <a:pt x="722" y="1924"/>
                      </a:lnTo>
                      <a:lnTo>
                        <a:pt x="707" y="1923"/>
                      </a:lnTo>
                      <a:lnTo>
                        <a:pt x="694" y="1921"/>
                      </a:lnTo>
                      <a:lnTo>
                        <a:pt x="680" y="1918"/>
                      </a:lnTo>
                      <a:lnTo>
                        <a:pt x="666" y="1915"/>
                      </a:lnTo>
                      <a:lnTo>
                        <a:pt x="654" y="1911"/>
                      </a:lnTo>
                      <a:lnTo>
                        <a:pt x="641" y="1907"/>
                      </a:lnTo>
                      <a:lnTo>
                        <a:pt x="630" y="1901"/>
                      </a:lnTo>
                      <a:lnTo>
                        <a:pt x="618" y="1896"/>
                      </a:lnTo>
                      <a:lnTo>
                        <a:pt x="608" y="1890"/>
                      </a:lnTo>
                      <a:lnTo>
                        <a:pt x="597" y="1884"/>
                      </a:lnTo>
                      <a:lnTo>
                        <a:pt x="587" y="1877"/>
                      </a:lnTo>
                      <a:lnTo>
                        <a:pt x="577" y="1870"/>
                      </a:lnTo>
                      <a:lnTo>
                        <a:pt x="569" y="1862"/>
                      </a:lnTo>
                      <a:lnTo>
                        <a:pt x="560" y="1853"/>
                      </a:lnTo>
                      <a:lnTo>
                        <a:pt x="552" y="1845"/>
                      </a:lnTo>
                      <a:lnTo>
                        <a:pt x="545" y="1835"/>
                      </a:lnTo>
                      <a:lnTo>
                        <a:pt x="538" y="1825"/>
                      </a:lnTo>
                      <a:lnTo>
                        <a:pt x="531" y="1814"/>
                      </a:lnTo>
                      <a:lnTo>
                        <a:pt x="526" y="1804"/>
                      </a:lnTo>
                      <a:lnTo>
                        <a:pt x="520" y="1792"/>
                      </a:lnTo>
                      <a:lnTo>
                        <a:pt x="515" y="1780"/>
                      </a:lnTo>
                      <a:lnTo>
                        <a:pt x="511" y="1767"/>
                      </a:lnTo>
                      <a:lnTo>
                        <a:pt x="507" y="1755"/>
                      </a:lnTo>
                      <a:lnTo>
                        <a:pt x="504" y="1741"/>
                      </a:lnTo>
                      <a:lnTo>
                        <a:pt x="501" y="1726"/>
                      </a:lnTo>
                      <a:lnTo>
                        <a:pt x="499" y="1713"/>
                      </a:lnTo>
                      <a:lnTo>
                        <a:pt x="498" y="1697"/>
                      </a:lnTo>
                      <a:lnTo>
                        <a:pt x="497" y="1681"/>
                      </a:lnTo>
                      <a:lnTo>
                        <a:pt x="497" y="1666"/>
                      </a:lnTo>
                      <a:lnTo>
                        <a:pt x="498" y="1635"/>
                      </a:lnTo>
                      <a:lnTo>
                        <a:pt x="502" y="1607"/>
                      </a:lnTo>
                      <a:lnTo>
                        <a:pt x="509" y="1580"/>
                      </a:lnTo>
                      <a:lnTo>
                        <a:pt x="518" y="1553"/>
                      </a:lnTo>
                      <a:lnTo>
                        <a:pt x="530" y="1529"/>
                      </a:lnTo>
                      <a:lnTo>
                        <a:pt x="542" y="1506"/>
                      </a:lnTo>
                      <a:lnTo>
                        <a:pt x="558" y="1485"/>
                      </a:lnTo>
                      <a:lnTo>
                        <a:pt x="576" y="1464"/>
                      </a:lnTo>
                      <a:lnTo>
                        <a:pt x="595" y="1445"/>
                      </a:lnTo>
                      <a:lnTo>
                        <a:pt x="616" y="1428"/>
                      </a:lnTo>
                      <a:lnTo>
                        <a:pt x="639" y="1411"/>
                      </a:lnTo>
                      <a:lnTo>
                        <a:pt x="662" y="1396"/>
                      </a:lnTo>
                      <a:lnTo>
                        <a:pt x="687" y="1382"/>
                      </a:lnTo>
                      <a:lnTo>
                        <a:pt x="714" y="1368"/>
                      </a:lnTo>
                      <a:lnTo>
                        <a:pt x="741" y="1356"/>
                      </a:lnTo>
                      <a:lnTo>
                        <a:pt x="768" y="1345"/>
                      </a:lnTo>
                      <a:lnTo>
                        <a:pt x="798" y="1334"/>
                      </a:lnTo>
                      <a:lnTo>
                        <a:pt x="826" y="1325"/>
                      </a:lnTo>
                      <a:lnTo>
                        <a:pt x="857" y="1317"/>
                      </a:lnTo>
                      <a:lnTo>
                        <a:pt x="886" y="1309"/>
                      </a:lnTo>
                      <a:lnTo>
                        <a:pt x="917" y="1302"/>
                      </a:lnTo>
                      <a:lnTo>
                        <a:pt x="947" y="1297"/>
                      </a:lnTo>
                      <a:lnTo>
                        <a:pt x="978" y="1291"/>
                      </a:lnTo>
                      <a:lnTo>
                        <a:pt x="1007" y="1286"/>
                      </a:lnTo>
                      <a:lnTo>
                        <a:pt x="1066" y="1279"/>
                      </a:lnTo>
                      <a:lnTo>
                        <a:pt x="1123" y="1275"/>
                      </a:lnTo>
                      <a:lnTo>
                        <a:pt x="1175" y="1272"/>
                      </a:lnTo>
                      <a:lnTo>
                        <a:pt x="1224" y="1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1" name="Freeform 6"/>
                <p:cNvSpPr>
                  <a:spLocks/>
                </p:cNvSpPr>
                <p:nvPr userDrawn="1"/>
              </p:nvSpPr>
              <p:spPr bwMode="auto">
                <a:xfrm>
                  <a:off x="1211263" y="2555875"/>
                  <a:ext cx="265112" cy="330200"/>
                </a:xfrm>
                <a:custGeom>
                  <a:avLst/>
                  <a:gdLst/>
                  <a:ahLst/>
                  <a:cxnLst>
                    <a:cxn ang="0">
                      <a:pos x="1287"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2" y="497"/>
                    </a:cxn>
                    <a:cxn ang="0">
                      <a:pos x="619" y="581"/>
                    </a:cxn>
                    <a:cxn ang="0">
                      <a:pos x="582" y="676"/>
                    </a:cxn>
                    <a:cxn ang="0">
                      <a:pos x="558" y="777"/>
                    </a:cxn>
                    <a:cxn ang="0">
                      <a:pos x="546" y="880"/>
                    </a:cxn>
                    <a:cxn ang="0">
                      <a:pos x="544" y="1006"/>
                    </a:cxn>
                    <a:cxn ang="0">
                      <a:pos x="566" y="1202"/>
                    </a:cxn>
                    <a:cxn ang="0">
                      <a:pos x="617" y="1383"/>
                    </a:cxn>
                    <a:cxn ang="0">
                      <a:pos x="698" y="1543"/>
                    </a:cxn>
                    <a:cxn ang="0">
                      <a:pos x="805" y="1679"/>
                    </a:cxn>
                    <a:cxn ang="0">
                      <a:pos x="941" y="1789"/>
                    </a:cxn>
                    <a:cxn ang="0">
                      <a:pos x="1102" y="1870"/>
                    </a:cxn>
                    <a:cxn ang="0">
                      <a:pos x="1288" y="1916"/>
                    </a:cxn>
                    <a:cxn ang="0">
                      <a:pos x="1491" y="1927"/>
                    </a:cxn>
                    <a:cxn ang="0">
                      <a:pos x="1653" y="1912"/>
                    </a:cxn>
                    <a:cxn ang="0">
                      <a:pos x="1745" y="1893"/>
                    </a:cxn>
                    <a:cxn ang="0">
                      <a:pos x="1812" y="2184"/>
                    </a:cxn>
                    <a:cxn ang="0">
                      <a:pos x="1656" y="2227"/>
                    </a:cxn>
                    <a:cxn ang="0">
                      <a:pos x="1496" y="2259"/>
                    </a:cxn>
                    <a:cxn ang="0">
                      <a:pos x="1335" y="2279"/>
                    </a:cxn>
                    <a:cxn ang="0">
                      <a:pos x="1173" y="2285"/>
                    </a:cxn>
                    <a:cxn ang="0">
                      <a:pos x="898" y="2263"/>
                    </a:cxn>
                    <a:cxn ang="0">
                      <a:pos x="659" y="2199"/>
                    </a:cxn>
                    <a:cxn ang="0">
                      <a:pos x="458" y="2094"/>
                    </a:cxn>
                    <a:cxn ang="0">
                      <a:pos x="293" y="1952"/>
                    </a:cxn>
                    <a:cxn ang="0">
                      <a:pos x="165" y="1772"/>
                    </a:cxn>
                    <a:cxn ang="0">
                      <a:pos x="73" y="1561"/>
                    </a:cxn>
                    <a:cxn ang="0">
                      <a:pos x="18" y="1319"/>
                    </a:cxn>
                    <a:cxn ang="0">
                      <a:pos x="0" y="1046"/>
                    </a:cxn>
                    <a:cxn ang="0">
                      <a:pos x="16" y="820"/>
                    </a:cxn>
                    <a:cxn ang="0">
                      <a:pos x="64" y="616"/>
                    </a:cxn>
                    <a:cxn ang="0">
                      <a:pos x="144" y="437"/>
                    </a:cxn>
                    <a:cxn ang="0">
                      <a:pos x="255" y="286"/>
                    </a:cxn>
                    <a:cxn ang="0">
                      <a:pos x="396" y="165"/>
                    </a:cxn>
                    <a:cxn ang="0">
                      <a:pos x="569" y="75"/>
                    </a:cxn>
                    <a:cxn ang="0">
                      <a:pos x="771" y="19"/>
                    </a:cxn>
                    <a:cxn ang="0">
                      <a:pos x="1003" y="0"/>
                    </a:cxn>
                    <a:cxn ang="0">
                      <a:pos x="1192" y="13"/>
                    </a:cxn>
                    <a:cxn ang="0">
                      <a:pos x="1358" y="49"/>
                    </a:cxn>
                    <a:cxn ang="0">
                      <a:pos x="1501" y="111"/>
                    </a:cxn>
                    <a:cxn ang="0">
                      <a:pos x="1619" y="198"/>
                    </a:cxn>
                    <a:cxn ang="0">
                      <a:pos x="1713" y="310"/>
                    </a:cxn>
                    <a:cxn ang="0">
                      <a:pos x="1781" y="448"/>
                    </a:cxn>
                    <a:cxn ang="0">
                      <a:pos x="1822" y="610"/>
                    </a:cxn>
                    <a:cxn ang="0">
                      <a:pos x="1836" y="799"/>
                    </a:cxn>
                  </a:cxnLst>
                  <a:rect l="0" t="0" r="r" b="b"/>
                  <a:pathLst>
                    <a:path w="1836" h="2285">
                      <a:moveTo>
                        <a:pt x="1293" y="799"/>
                      </a:moveTo>
                      <a:lnTo>
                        <a:pt x="1292" y="757"/>
                      </a:lnTo>
                      <a:lnTo>
                        <a:pt x="1289" y="715"/>
                      </a:lnTo>
                      <a:lnTo>
                        <a:pt x="1287" y="695"/>
                      </a:lnTo>
                      <a:lnTo>
                        <a:pt x="1285" y="675"/>
                      </a:lnTo>
                      <a:lnTo>
                        <a:pt x="1282" y="655"/>
                      </a:lnTo>
                      <a:lnTo>
                        <a:pt x="1278" y="635"/>
                      </a:lnTo>
                      <a:lnTo>
                        <a:pt x="1274" y="616"/>
                      </a:lnTo>
                      <a:lnTo>
                        <a:pt x="1270" y="598"/>
                      </a:lnTo>
                      <a:lnTo>
                        <a:pt x="1264" y="579"/>
                      </a:lnTo>
                      <a:lnTo>
                        <a:pt x="1258" y="561"/>
                      </a:lnTo>
                      <a:lnTo>
                        <a:pt x="1251" y="543"/>
                      </a:lnTo>
                      <a:lnTo>
                        <a:pt x="1244" y="526"/>
                      </a:lnTo>
                      <a:lnTo>
                        <a:pt x="1236" y="511"/>
                      </a:lnTo>
                      <a:lnTo>
                        <a:pt x="1227" y="494"/>
                      </a:lnTo>
                      <a:lnTo>
                        <a:pt x="1217" y="479"/>
                      </a:lnTo>
                      <a:lnTo>
                        <a:pt x="1207" y="464"/>
                      </a:lnTo>
                      <a:lnTo>
                        <a:pt x="1195" y="452"/>
                      </a:lnTo>
                      <a:lnTo>
                        <a:pt x="1184" y="438"/>
                      </a:lnTo>
                      <a:lnTo>
                        <a:pt x="1170" y="427"/>
                      </a:lnTo>
                      <a:lnTo>
                        <a:pt x="1156" y="415"/>
                      </a:lnTo>
                      <a:lnTo>
                        <a:pt x="1142" y="405"/>
                      </a:lnTo>
                      <a:lnTo>
                        <a:pt x="1126" y="395"/>
                      </a:lnTo>
                      <a:lnTo>
                        <a:pt x="1109" y="387"/>
                      </a:lnTo>
                      <a:lnTo>
                        <a:pt x="1091" y="380"/>
                      </a:lnTo>
                      <a:lnTo>
                        <a:pt x="1072" y="373"/>
                      </a:lnTo>
                      <a:lnTo>
                        <a:pt x="1052" y="368"/>
                      </a:lnTo>
                      <a:lnTo>
                        <a:pt x="1031" y="364"/>
                      </a:lnTo>
                      <a:lnTo>
                        <a:pt x="1009" y="361"/>
                      </a:lnTo>
                      <a:lnTo>
                        <a:pt x="986" y="359"/>
                      </a:lnTo>
                      <a:lnTo>
                        <a:pt x="962" y="359"/>
                      </a:lnTo>
                      <a:lnTo>
                        <a:pt x="931" y="360"/>
                      </a:lnTo>
                      <a:lnTo>
                        <a:pt x="904" y="362"/>
                      </a:lnTo>
                      <a:lnTo>
                        <a:pt x="877" y="367"/>
                      </a:lnTo>
                      <a:lnTo>
                        <a:pt x="851" y="373"/>
                      </a:lnTo>
                      <a:lnTo>
                        <a:pt x="826" y="382"/>
                      </a:lnTo>
                      <a:lnTo>
                        <a:pt x="803" y="391"/>
                      </a:lnTo>
                      <a:lnTo>
                        <a:pt x="781" y="403"/>
                      </a:lnTo>
                      <a:lnTo>
                        <a:pt x="760" y="415"/>
                      </a:lnTo>
                      <a:lnTo>
                        <a:pt x="740" y="429"/>
                      </a:lnTo>
                      <a:lnTo>
                        <a:pt x="721" y="445"/>
                      </a:lnTo>
                      <a:lnTo>
                        <a:pt x="704" y="460"/>
                      </a:lnTo>
                      <a:lnTo>
                        <a:pt x="688" y="478"/>
                      </a:lnTo>
                      <a:lnTo>
                        <a:pt x="672" y="497"/>
                      </a:lnTo>
                      <a:lnTo>
                        <a:pt x="657" y="517"/>
                      </a:lnTo>
                      <a:lnTo>
                        <a:pt x="643" y="537"/>
                      </a:lnTo>
                      <a:lnTo>
                        <a:pt x="631" y="559"/>
                      </a:lnTo>
                      <a:lnTo>
                        <a:pt x="619" y="581"/>
                      </a:lnTo>
                      <a:lnTo>
                        <a:pt x="609" y="604"/>
                      </a:lnTo>
                      <a:lnTo>
                        <a:pt x="599" y="627"/>
                      </a:lnTo>
                      <a:lnTo>
                        <a:pt x="590" y="651"/>
                      </a:lnTo>
                      <a:lnTo>
                        <a:pt x="582" y="676"/>
                      </a:lnTo>
                      <a:lnTo>
                        <a:pt x="575" y="700"/>
                      </a:lnTo>
                      <a:lnTo>
                        <a:pt x="569" y="725"/>
                      </a:lnTo>
                      <a:lnTo>
                        <a:pt x="563" y="752"/>
                      </a:lnTo>
                      <a:lnTo>
                        <a:pt x="558" y="777"/>
                      </a:lnTo>
                      <a:lnTo>
                        <a:pt x="554" y="803"/>
                      </a:lnTo>
                      <a:lnTo>
                        <a:pt x="550" y="828"/>
                      </a:lnTo>
                      <a:lnTo>
                        <a:pt x="548" y="854"/>
                      </a:lnTo>
                      <a:lnTo>
                        <a:pt x="546" y="880"/>
                      </a:lnTo>
                      <a:lnTo>
                        <a:pt x="544" y="905"/>
                      </a:lnTo>
                      <a:lnTo>
                        <a:pt x="543" y="930"/>
                      </a:lnTo>
                      <a:lnTo>
                        <a:pt x="543" y="955"/>
                      </a:lnTo>
                      <a:lnTo>
                        <a:pt x="544" y="1006"/>
                      </a:lnTo>
                      <a:lnTo>
                        <a:pt x="547" y="1057"/>
                      </a:lnTo>
                      <a:lnTo>
                        <a:pt x="551" y="1106"/>
                      </a:lnTo>
                      <a:lnTo>
                        <a:pt x="557" y="1155"/>
                      </a:lnTo>
                      <a:lnTo>
                        <a:pt x="566" y="1202"/>
                      </a:lnTo>
                      <a:lnTo>
                        <a:pt x="576" y="1250"/>
                      </a:lnTo>
                      <a:lnTo>
                        <a:pt x="588" y="1295"/>
                      </a:lnTo>
                      <a:lnTo>
                        <a:pt x="602" y="1339"/>
                      </a:lnTo>
                      <a:lnTo>
                        <a:pt x="617" y="1383"/>
                      </a:lnTo>
                      <a:lnTo>
                        <a:pt x="635" y="1425"/>
                      </a:lnTo>
                      <a:lnTo>
                        <a:pt x="654" y="1465"/>
                      </a:lnTo>
                      <a:lnTo>
                        <a:pt x="675" y="1504"/>
                      </a:lnTo>
                      <a:lnTo>
                        <a:pt x="698" y="1543"/>
                      </a:lnTo>
                      <a:lnTo>
                        <a:pt x="722" y="1579"/>
                      </a:lnTo>
                      <a:lnTo>
                        <a:pt x="749" y="1614"/>
                      </a:lnTo>
                      <a:lnTo>
                        <a:pt x="776" y="1648"/>
                      </a:lnTo>
                      <a:lnTo>
                        <a:pt x="805" y="1679"/>
                      </a:lnTo>
                      <a:lnTo>
                        <a:pt x="837" y="1710"/>
                      </a:lnTo>
                      <a:lnTo>
                        <a:pt x="869" y="1738"/>
                      </a:lnTo>
                      <a:lnTo>
                        <a:pt x="904" y="1765"/>
                      </a:lnTo>
                      <a:lnTo>
                        <a:pt x="941" y="1789"/>
                      </a:lnTo>
                      <a:lnTo>
                        <a:pt x="979" y="1812"/>
                      </a:lnTo>
                      <a:lnTo>
                        <a:pt x="1018" y="1833"/>
                      </a:lnTo>
                      <a:lnTo>
                        <a:pt x="1059" y="1853"/>
                      </a:lnTo>
                      <a:lnTo>
                        <a:pt x="1102" y="1870"/>
                      </a:lnTo>
                      <a:lnTo>
                        <a:pt x="1146" y="1885"/>
                      </a:lnTo>
                      <a:lnTo>
                        <a:pt x="1192" y="1897"/>
                      </a:lnTo>
                      <a:lnTo>
                        <a:pt x="1239" y="1908"/>
                      </a:lnTo>
                      <a:lnTo>
                        <a:pt x="1288" y="1916"/>
                      </a:lnTo>
                      <a:lnTo>
                        <a:pt x="1338" y="1922"/>
                      </a:lnTo>
                      <a:lnTo>
                        <a:pt x="1391" y="1926"/>
                      </a:lnTo>
                      <a:lnTo>
                        <a:pt x="1444" y="1928"/>
                      </a:lnTo>
                      <a:lnTo>
                        <a:pt x="1491" y="1927"/>
                      </a:lnTo>
                      <a:lnTo>
                        <a:pt x="1537" y="1924"/>
                      </a:lnTo>
                      <a:lnTo>
                        <a:pt x="1584" y="1920"/>
                      </a:lnTo>
                      <a:lnTo>
                        <a:pt x="1631" y="1915"/>
                      </a:lnTo>
                      <a:lnTo>
                        <a:pt x="1653" y="1912"/>
                      </a:lnTo>
                      <a:lnTo>
                        <a:pt x="1676" y="1908"/>
                      </a:lnTo>
                      <a:lnTo>
                        <a:pt x="1699" y="1904"/>
                      </a:lnTo>
                      <a:lnTo>
                        <a:pt x="1722" y="1898"/>
                      </a:lnTo>
                      <a:lnTo>
                        <a:pt x="1745" y="1893"/>
                      </a:lnTo>
                      <a:lnTo>
                        <a:pt x="1767" y="1887"/>
                      </a:lnTo>
                      <a:lnTo>
                        <a:pt x="1790" y="1879"/>
                      </a:lnTo>
                      <a:lnTo>
                        <a:pt x="1812" y="1872"/>
                      </a:lnTo>
                      <a:lnTo>
                        <a:pt x="1812" y="2184"/>
                      </a:lnTo>
                      <a:lnTo>
                        <a:pt x="1773" y="2196"/>
                      </a:lnTo>
                      <a:lnTo>
                        <a:pt x="1735" y="2207"/>
                      </a:lnTo>
                      <a:lnTo>
                        <a:pt x="1695" y="2217"/>
                      </a:lnTo>
                      <a:lnTo>
                        <a:pt x="1656" y="2227"/>
                      </a:lnTo>
                      <a:lnTo>
                        <a:pt x="1616" y="2236"/>
                      </a:lnTo>
                      <a:lnTo>
                        <a:pt x="1576" y="2244"/>
                      </a:lnTo>
                      <a:lnTo>
                        <a:pt x="1536" y="2251"/>
                      </a:lnTo>
                      <a:lnTo>
                        <a:pt x="1496" y="2259"/>
                      </a:lnTo>
                      <a:lnTo>
                        <a:pt x="1456" y="2265"/>
                      </a:lnTo>
                      <a:lnTo>
                        <a:pt x="1416" y="2270"/>
                      </a:lnTo>
                      <a:lnTo>
                        <a:pt x="1375" y="2275"/>
                      </a:lnTo>
                      <a:lnTo>
                        <a:pt x="1335" y="2279"/>
                      </a:lnTo>
                      <a:lnTo>
                        <a:pt x="1294" y="2281"/>
                      </a:lnTo>
                      <a:lnTo>
                        <a:pt x="1254" y="2283"/>
                      </a:lnTo>
                      <a:lnTo>
                        <a:pt x="1213" y="2285"/>
                      </a:lnTo>
                      <a:lnTo>
                        <a:pt x="1173" y="2285"/>
                      </a:lnTo>
                      <a:lnTo>
                        <a:pt x="1101" y="2284"/>
                      </a:lnTo>
                      <a:lnTo>
                        <a:pt x="1031" y="2280"/>
                      </a:lnTo>
                      <a:lnTo>
                        <a:pt x="963" y="2272"/>
                      </a:lnTo>
                      <a:lnTo>
                        <a:pt x="898" y="2263"/>
                      </a:lnTo>
                      <a:lnTo>
                        <a:pt x="835" y="2250"/>
                      </a:lnTo>
                      <a:lnTo>
                        <a:pt x="774" y="2236"/>
                      </a:lnTo>
                      <a:lnTo>
                        <a:pt x="716" y="2219"/>
                      </a:lnTo>
                      <a:lnTo>
                        <a:pt x="659" y="2199"/>
                      </a:lnTo>
                      <a:lnTo>
                        <a:pt x="606" y="2176"/>
                      </a:lnTo>
                      <a:lnTo>
                        <a:pt x="554" y="2151"/>
                      </a:lnTo>
                      <a:lnTo>
                        <a:pt x="505" y="2124"/>
                      </a:lnTo>
                      <a:lnTo>
                        <a:pt x="458" y="2094"/>
                      </a:lnTo>
                      <a:lnTo>
                        <a:pt x="413" y="2062"/>
                      </a:lnTo>
                      <a:lnTo>
                        <a:pt x="371" y="2027"/>
                      </a:lnTo>
                      <a:lnTo>
                        <a:pt x="331" y="1990"/>
                      </a:lnTo>
                      <a:lnTo>
                        <a:pt x="293" y="1952"/>
                      </a:lnTo>
                      <a:lnTo>
                        <a:pt x="258" y="1910"/>
                      </a:lnTo>
                      <a:lnTo>
                        <a:pt x="224" y="1867"/>
                      </a:lnTo>
                      <a:lnTo>
                        <a:pt x="194" y="1821"/>
                      </a:lnTo>
                      <a:lnTo>
                        <a:pt x="165" y="1772"/>
                      </a:lnTo>
                      <a:lnTo>
                        <a:pt x="139" y="1723"/>
                      </a:lnTo>
                      <a:lnTo>
                        <a:pt x="115" y="1671"/>
                      </a:lnTo>
                      <a:lnTo>
                        <a:pt x="93" y="1617"/>
                      </a:lnTo>
                      <a:lnTo>
                        <a:pt x="73" y="1561"/>
                      </a:lnTo>
                      <a:lnTo>
                        <a:pt x="56" y="1503"/>
                      </a:lnTo>
                      <a:lnTo>
                        <a:pt x="41" y="1443"/>
                      </a:lnTo>
                      <a:lnTo>
                        <a:pt x="29" y="1382"/>
                      </a:lnTo>
                      <a:lnTo>
                        <a:pt x="18" y="1319"/>
                      </a:lnTo>
                      <a:lnTo>
                        <a:pt x="11" y="1253"/>
                      </a:lnTo>
                      <a:lnTo>
                        <a:pt x="4" y="1186"/>
                      </a:lnTo>
                      <a:lnTo>
                        <a:pt x="1" y="1117"/>
                      </a:lnTo>
                      <a:lnTo>
                        <a:pt x="0" y="1046"/>
                      </a:lnTo>
                      <a:lnTo>
                        <a:pt x="1" y="987"/>
                      </a:lnTo>
                      <a:lnTo>
                        <a:pt x="4" y="931"/>
                      </a:lnTo>
                      <a:lnTo>
                        <a:pt x="9" y="874"/>
                      </a:lnTo>
                      <a:lnTo>
                        <a:pt x="16" y="820"/>
                      </a:lnTo>
                      <a:lnTo>
                        <a:pt x="25" y="766"/>
                      </a:lnTo>
                      <a:lnTo>
                        <a:pt x="36" y="715"/>
                      </a:lnTo>
                      <a:lnTo>
                        <a:pt x="48" y="665"/>
                      </a:lnTo>
                      <a:lnTo>
                        <a:pt x="64" y="616"/>
                      </a:lnTo>
                      <a:lnTo>
                        <a:pt x="81" y="569"/>
                      </a:lnTo>
                      <a:lnTo>
                        <a:pt x="100" y="523"/>
                      </a:lnTo>
                      <a:lnTo>
                        <a:pt x="121" y="479"/>
                      </a:lnTo>
                      <a:lnTo>
                        <a:pt x="144" y="437"/>
                      </a:lnTo>
                      <a:lnTo>
                        <a:pt x="168" y="396"/>
                      </a:lnTo>
                      <a:lnTo>
                        <a:pt x="196" y="359"/>
                      </a:lnTo>
                      <a:lnTo>
                        <a:pt x="224" y="321"/>
                      </a:lnTo>
                      <a:lnTo>
                        <a:pt x="255" y="286"/>
                      </a:lnTo>
                      <a:lnTo>
                        <a:pt x="287" y="253"/>
                      </a:lnTo>
                      <a:lnTo>
                        <a:pt x="322" y="221"/>
                      </a:lnTo>
                      <a:lnTo>
                        <a:pt x="358" y="192"/>
                      </a:lnTo>
                      <a:lnTo>
                        <a:pt x="396" y="165"/>
                      </a:lnTo>
                      <a:lnTo>
                        <a:pt x="436" y="140"/>
                      </a:lnTo>
                      <a:lnTo>
                        <a:pt x="478" y="115"/>
                      </a:lnTo>
                      <a:lnTo>
                        <a:pt x="523" y="95"/>
                      </a:lnTo>
                      <a:lnTo>
                        <a:pt x="569" y="75"/>
                      </a:lnTo>
                      <a:lnTo>
                        <a:pt x="616" y="58"/>
                      </a:lnTo>
                      <a:lnTo>
                        <a:pt x="666" y="43"/>
                      </a:lnTo>
                      <a:lnTo>
                        <a:pt x="717" y="31"/>
                      </a:lnTo>
                      <a:lnTo>
                        <a:pt x="771" y="19"/>
                      </a:lnTo>
                      <a:lnTo>
                        <a:pt x="826" y="12"/>
                      </a:lnTo>
                      <a:lnTo>
                        <a:pt x="883" y="5"/>
                      </a:lnTo>
                      <a:lnTo>
                        <a:pt x="942" y="1"/>
                      </a:lnTo>
                      <a:lnTo>
                        <a:pt x="1003" y="0"/>
                      </a:lnTo>
                      <a:lnTo>
                        <a:pt x="1052" y="1"/>
                      </a:lnTo>
                      <a:lnTo>
                        <a:pt x="1100" y="3"/>
                      </a:lnTo>
                      <a:lnTo>
                        <a:pt x="1147" y="8"/>
                      </a:lnTo>
                      <a:lnTo>
                        <a:pt x="1192" y="13"/>
                      </a:lnTo>
                      <a:lnTo>
                        <a:pt x="1235" y="20"/>
                      </a:lnTo>
                      <a:lnTo>
                        <a:pt x="1277" y="28"/>
                      </a:lnTo>
                      <a:lnTo>
                        <a:pt x="1318" y="38"/>
                      </a:lnTo>
                      <a:lnTo>
                        <a:pt x="1358" y="49"/>
                      </a:lnTo>
                      <a:lnTo>
                        <a:pt x="1396" y="63"/>
                      </a:lnTo>
                      <a:lnTo>
                        <a:pt x="1432" y="78"/>
                      </a:lnTo>
                      <a:lnTo>
                        <a:pt x="1468" y="93"/>
                      </a:lnTo>
                      <a:lnTo>
                        <a:pt x="1501" y="111"/>
                      </a:lnTo>
                      <a:lnTo>
                        <a:pt x="1533" y="131"/>
                      </a:lnTo>
                      <a:lnTo>
                        <a:pt x="1563" y="152"/>
                      </a:lnTo>
                      <a:lnTo>
                        <a:pt x="1592" y="174"/>
                      </a:lnTo>
                      <a:lnTo>
                        <a:pt x="1619" y="198"/>
                      </a:lnTo>
                      <a:lnTo>
                        <a:pt x="1645" y="224"/>
                      </a:lnTo>
                      <a:lnTo>
                        <a:pt x="1669" y="252"/>
                      </a:lnTo>
                      <a:lnTo>
                        <a:pt x="1691" y="280"/>
                      </a:lnTo>
                      <a:lnTo>
                        <a:pt x="1713" y="310"/>
                      </a:lnTo>
                      <a:lnTo>
                        <a:pt x="1732" y="342"/>
                      </a:lnTo>
                      <a:lnTo>
                        <a:pt x="1749" y="375"/>
                      </a:lnTo>
                      <a:lnTo>
                        <a:pt x="1766" y="411"/>
                      </a:lnTo>
                      <a:lnTo>
                        <a:pt x="1781" y="448"/>
                      </a:lnTo>
                      <a:lnTo>
                        <a:pt x="1793" y="485"/>
                      </a:lnTo>
                      <a:lnTo>
                        <a:pt x="1804" y="526"/>
                      </a:lnTo>
                      <a:lnTo>
                        <a:pt x="1813" y="567"/>
                      </a:lnTo>
                      <a:lnTo>
                        <a:pt x="1822" y="610"/>
                      </a:lnTo>
                      <a:lnTo>
                        <a:pt x="1827" y="655"/>
                      </a:lnTo>
                      <a:lnTo>
                        <a:pt x="1832" y="701"/>
                      </a:lnTo>
                      <a:lnTo>
                        <a:pt x="1834" y="750"/>
                      </a:lnTo>
                      <a:lnTo>
                        <a:pt x="1836" y="799"/>
                      </a:lnTo>
                      <a:lnTo>
                        <a:pt x="1293"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2" name="Freeform 7"/>
                <p:cNvSpPr>
                  <a:spLocks/>
                </p:cNvSpPr>
                <p:nvPr userDrawn="1"/>
              </p:nvSpPr>
              <p:spPr bwMode="auto">
                <a:xfrm>
                  <a:off x="1493838" y="2555875"/>
                  <a:ext cx="265112" cy="330200"/>
                </a:xfrm>
                <a:custGeom>
                  <a:avLst/>
                  <a:gdLst/>
                  <a:ahLst/>
                  <a:cxnLst>
                    <a:cxn ang="0">
                      <a:pos x="1286"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1" y="497"/>
                    </a:cxn>
                    <a:cxn ang="0">
                      <a:pos x="619" y="581"/>
                    </a:cxn>
                    <a:cxn ang="0">
                      <a:pos x="582" y="676"/>
                    </a:cxn>
                    <a:cxn ang="0">
                      <a:pos x="558" y="777"/>
                    </a:cxn>
                    <a:cxn ang="0">
                      <a:pos x="545" y="880"/>
                    </a:cxn>
                    <a:cxn ang="0">
                      <a:pos x="543" y="1006"/>
                    </a:cxn>
                    <a:cxn ang="0">
                      <a:pos x="565" y="1202"/>
                    </a:cxn>
                    <a:cxn ang="0">
                      <a:pos x="617" y="1383"/>
                    </a:cxn>
                    <a:cxn ang="0">
                      <a:pos x="698" y="1543"/>
                    </a:cxn>
                    <a:cxn ang="0">
                      <a:pos x="805" y="1679"/>
                    </a:cxn>
                    <a:cxn ang="0">
                      <a:pos x="940" y="1789"/>
                    </a:cxn>
                    <a:cxn ang="0">
                      <a:pos x="1101" y="1870"/>
                    </a:cxn>
                    <a:cxn ang="0">
                      <a:pos x="1287" y="1916"/>
                    </a:cxn>
                    <a:cxn ang="0">
                      <a:pos x="1490" y="1927"/>
                    </a:cxn>
                    <a:cxn ang="0">
                      <a:pos x="1652" y="1912"/>
                    </a:cxn>
                    <a:cxn ang="0">
                      <a:pos x="1744" y="1893"/>
                    </a:cxn>
                    <a:cxn ang="0">
                      <a:pos x="1812" y="2184"/>
                    </a:cxn>
                    <a:cxn ang="0">
                      <a:pos x="1655" y="2227"/>
                    </a:cxn>
                    <a:cxn ang="0">
                      <a:pos x="1495" y="2259"/>
                    </a:cxn>
                    <a:cxn ang="0">
                      <a:pos x="1335" y="2279"/>
                    </a:cxn>
                    <a:cxn ang="0">
                      <a:pos x="1173" y="2285"/>
                    </a:cxn>
                    <a:cxn ang="0">
                      <a:pos x="897" y="2263"/>
                    </a:cxn>
                    <a:cxn ang="0">
                      <a:pos x="659" y="2199"/>
                    </a:cxn>
                    <a:cxn ang="0">
                      <a:pos x="458" y="2094"/>
                    </a:cxn>
                    <a:cxn ang="0">
                      <a:pos x="293" y="1952"/>
                    </a:cxn>
                    <a:cxn ang="0">
                      <a:pos x="165" y="1772"/>
                    </a:cxn>
                    <a:cxn ang="0">
                      <a:pos x="72" y="1561"/>
                    </a:cxn>
                    <a:cxn ang="0">
                      <a:pos x="18" y="1319"/>
                    </a:cxn>
                    <a:cxn ang="0">
                      <a:pos x="0" y="1046"/>
                    </a:cxn>
                    <a:cxn ang="0">
                      <a:pos x="15" y="820"/>
                    </a:cxn>
                    <a:cxn ang="0">
                      <a:pos x="64" y="616"/>
                    </a:cxn>
                    <a:cxn ang="0">
                      <a:pos x="143" y="437"/>
                    </a:cxn>
                    <a:cxn ang="0">
                      <a:pos x="254" y="286"/>
                    </a:cxn>
                    <a:cxn ang="0">
                      <a:pos x="396" y="165"/>
                    </a:cxn>
                    <a:cxn ang="0">
                      <a:pos x="568" y="75"/>
                    </a:cxn>
                    <a:cxn ang="0">
                      <a:pos x="770" y="19"/>
                    </a:cxn>
                    <a:cxn ang="0">
                      <a:pos x="1002" y="0"/>
                    </a:cxn>
                    <a:cxn ang="0">
                      <a:pos x="1191" y="13"/>
                    </a:cxn>
                    <a:cxn ang="0">
                      <a:pos x="1358" y="49"/>
                    </a:cxn>
                    <a:cxn ang="0">
                      <a:pos x="1500" y="111"/>
                    </a:cxn>
                    <a:cxn ang="0">
                      <a:pos x="1618" y="198"/>
                    </a:cxn>
                    <a:cxn ang="0">
                      <a:pos x="1712" y="310"/>
                    </a:cxn>
                    <a:cxn ang="0">
                      <a:pos x="1779" y="448"/>
                    </a:cxn>
                    <a:cxn ang="0">
                      <a:pos x="1821" y="610"/>
                    </a:cxn>
                    <a:cxn ang="0">
                      <a:pos x="1835" y="799"/>
                    </a:cxn>
                  </a:cxnLst>
                  <a:rect l="0" t="0" r="r" b="b"/>
                  <a:pathLst>
                    <a:path w="1835" h="2285">
                      <a:moveTo>
                        <a:pt x="1292" y="799"/>
                      </a:moveTo>
                      <a:lnTo>
                        <a:pt x="1292" y="757"/>
                      </a:lnTo>
                      <a:lnTo>
                        <a:pt x="1288" y="715"/>
                      </a:lnTo>
                      <a:lnTo>
                        <a:pt x="1286" y="695"/>
                      </a:lnTo>
                      <a:lnTo>
                        <a:pt x="1284" y="675"/>
                      </a:lnTo>
                      <a:lnTo>
                        <a:pt x="1281" y="655"/>
                      </a:lnTo>
                      <a:lnTo>
                        <a:pt x="1278" y="635"/>
                      </a:lnTo>
                      <a:lnTo>
                        <a:pt x="1274" y="616"/>
                      </a:lnTo>
                      <a:lnTo>
                        <a:pt x="1268" y="598"/>
                      </a:lnTo>
                      <a:lnTo>
                        <a:pt x="1263" y="579"/>
                      </a:lnTo>
                      <a:lnTo>
                        <a:pt x="1258" y="561"/>
                      </a:lnTo>
                      <a:lnTo>
                        <a:pt x="1251" y="543"/>
                      </a:lnTo>
                      <a:lnTo>
                        <a:pt x="1243" y="526"/>
                      </a:lnTo>
                      <a:lnTo>
                        <a:pt x="1235" y="511"/>
                      </a:lnTo>
                      <a:lnTo>
                        <a:pt x="1226" y="494"/>
                      </a:lnTo>
                      <a:lnTo>
                        <a:pt x="1217" y="479"/>
                      </a:lnTo>
                      <a:lnTo>
                        <a:pt x="1206" y="464"/>
                      </a:lnTo>
                      <a:lnTo>
                        <a:pt x="1195" y="452"/>
                      </a:lnTo>
                      <a:lnTo>
                        <a:pt x="1183" y="438"/>
                      </a:lnTo>
                      <a:lnTo>
                        <a:pt x="1170" y="427"/>
                      </a:lnTo>
                      <a:lnTo>
                        <a:pt x="1156" y="415"/>
                      </a:lnTo>
                      <a:lnTo>
                        <a:pt x="1141" y="405"/>
                      </a:lnTo>
                      <a:lnTo>
                        <a:pt x="1125" y="395"/>
                      </a:lnTo>
                      <a:lnTo>
                        <a:pt x="1109" y="387"/>
                      </a:lnTo>
                      <a:lnTo>
                        <a:pt x="1091" y="380"/>
                      </a:lnTo>
                      <a:lnTo>
                        <a:pt x="1072" y="373"/>
                      </a:lnTo>
                      <a:lnTo>
                        <a:pt x="1052" y="368"/>
                      </a:lnTo>
                      <a:lnTo>
                        <a:pt x="1031" y="364"/>
                      </a:lnTo>
                      <a:lnTo>
                        <a:pt x="1009" y="361"/>
                      </a:lnTo>
                      <a:lnTo>
                        <a:pt x="985" y="359"/>
                      </a:lnTo>
                      <a:lnTo>
                        <a:pt x="960" y="359"/>
                      </a:lnTo>
                      <a:lnTo>
                        <a:pt x="931" y="360"/>
                      </a:lnTo>
                      <a:lnTo>
                        <a:pt x="903" y="362"/>
                      </a:lnTo>
                      <a:lnTo>
                        <a:pt x="876" y="367"/>
                      </a:lnTo>
                      <a:lnTo>
                        <a:pt x="850" y="373"/>
                      </a:lnTo>
                      <a:lnTo>
                        <a:pt x="826" y="382"/>
                      </a:lnTo>
                      <a:lnTo>
                        <a:pt x="803" y="391"/>
                      </a:lnTo>
                      <a:lnTo>
                        <a:pt x="781" y="403"/>
                      </a:lnTo>
                      <a:lnTo>
                        <a:pt x="760" y="415"/>
                      </a:lnTo>
                      <a:lnTo>
                        <a:pt x="740" y="429"/>
                      </a:lnTo>
                      <a:lnTo>
                        <a:pt x="721" y="445"/>
                      </a:lnTo>
                      <a:lnTo>
                        <a:pt x="703" y="460"/>
                      </a:lnTo>
                      <a:lnTo>
                        <a:pt x="687" y="478"/>
                      </a:lnTo>
                      <a:lnTo>
                        <a:pt x="671" y="497"/>
                      </a:lnTo>
                      <a:lnTo>
                        <a:pt x="657" y="517"/>
                      </a:lnTo>
                      <a:lnTo>
                        <a:pt x="643" y="537"/>
                      </a:lnTo>
                      <a:lnTo>
                        <a:pt x="630" y="559"/>
                      </a:lnTo>
                      <a:lnTo>
                        <a:pt x="619" y="581"/>
                      </a:lnTo>
                      <a:lnTo>
                        <a:pt x="608" y="604"/>
                      </a:lnTo>
                      <a:lnTo>
                        <a:pt x="599" y="627"/>
                      </a:lnTo>
                      <a:lnTo>
                        <a:pt x="589" y="651"/>
                      </a:lnTo>
                      <a:lnTo>
                        <a:pt x="582" y="676"/>
                      </a:lnTo>
                      <a:lnTo>
                        <a:pt x="575" y="700"/>
                      </a:lnTo>
                      <a:lnTo>
                        <a:pt x="568" y="725"/>
                      </a:lnTo>
                      <a:lnTo>
                        <a:pt x="562" y="752"/>
                      </a:lnTo>
                      <a:lnTo>
                        <a:pt x="558" y="777"/>
                      </a:lnTo>
                      <a:lnTo>
                        <a:pt x="554" y="803"/>
                      </a:lnTo>
                      <a:lnTo>
                        <a:pt x="549" y="828"/>
                      </a:lnTo>
                      <a:lnTo>
                        <a:pt x="547" y="854"/>
                      </a:lnTo>
                      <a:lnTo>
                        <a:pt x="545" y="880"/>
                      </a:lnTo>
                      <a:lnTo>
                        <a:pt x="543" y="905"/>
                      </a:lnTo>
                      <a:lnTo>
                        <a:pt x="542" y="930"/>
                      </a:lnTo>
                      <a:lnTo>
                        <a:pt x="542" y="955"/>
                      </a:lnTo>
                      <a:lnTo>
                        <a:pt x="543" y="1006"/>
                      </a:lnTo>
                      <a:lnTo>
                        <a:pt x="546" y="1057"/>
                      </a:lnTo>
                      <a:lnTo>
                        <a:pt x="550" y="1106"/>
                      </a:lnTo>
                      <a:lnTo>
                        <a:pt x="557" y="1155"/>
                      </a:lnTo>
                      <a:lnTo>
                        <a:pt x="565" y="1202"/>
                      </a:lnTo>
                      <a:lnTo>
                        <a:pt x="576" y="1250"/>
                      </a:lnTo>
                      <a:lnTo>
                        <a:pt x="587" y="1295"/>
                      </a:lnTo>
                      <a:lnTo>
                        <a:pt x="602" y="1339"/>
                      </a:lnTo>
                      <a:lnTo>
                        <a:pt x="617" y="1383"/>
                      </a:lnTo>
                      <a:lnTo>
                        <a:pt x="635" y="1425"/>
                      </a:lnTo>
                      <a:lnTo>
                        <a:pt x="653" y="1465"/>
                      </a:lnTo>
                      <a:lnTo>
                        <a:pt x="675" y="1504"/>
                      </a:lnTo>
                      <a:lnTo>
                        <a:pt x="698" y="1543"/>
                      </a:lnTo>
                      <a:lnTo>
                        <a:pt x="722" y="1579"/>
                      </a:lnTo>
                      <a:lnTo>
                        <a:pt x="748" y="1614"/>
                      </a:lnTo>
                      <a:lnTo>
                        <a:pt x="775" y="1648"/>
                      </a:lnTo>
                      <a:lnTo>
                        <a:pt x="805" y="1679"/>
                      </a:lnTo>
                      <a:lnTo>
                        <a:pt x="836" y="1710"/>
                      </a:lnTo>
                      <a:lnTo>
                        <a:pt x="869" y="1738"/>
                      </a:lnTo>
                      <a:lnTo>
                        <a:pt x="904" y="1765"/>
                      </a:lnTo>
                      <a:lnTo>
                        <a:pt x="940" y="1789"/>
                      </a:lnTo>
                      <a:lnTo>
                        <a:pt x="978" y="1812"/>
                      </a:lnTo>
                      <a:lnTo>
                        <a:pt x="1017" y="1833"/>
                      </a:lnTo>
                      <a:lnTo>
                        <a:pt x="1058" y="1853"/>
                      </a:lnTo>
                      <a:lnTo>
                        <a:pt x="1101" y="1870"/>
                      </a:lnTo>
                      <a:lnTo>
                        <a:pt x="1145" y="1885"/>
                      </a:lnTo>
                      <a:lnTo>
                        <a:pt x="1192" y="1897"/>
                      </a:lnTo>
                      <a:lnTo>
                        <a:pt x="1239" y="1908"/>
                      </a:lnTo>
                      <a:lnTo>
                        <a:pt x="1287" y="1916"/>
                      </a:lnTo>
                      <a:lnTo>
                        <a:pt x="1338" y="1922"/>
                      </a:lnTo>
                      <a:lnTo>
                        <a:pt x="1390" y="1926"/>
                      </a:lnTo>
                      <a:lnTo>
                        <a:pt x="1444" y="1928"/>
                      </a:lnTo>
                      <a:lnTo>
                        <a:pt x="1490" y="1927"/>
                      </a:lnTo>
                      <a:lnTo>
                        <a:pt x="1536" y="1924"/>
                      </a:lnTo>
                      <a:lnTo>
                        <a:pt x="1584" y="1920"/>
                      </a:lnTo>
                      <a:lnTo>
                        <a:pt x="1630" y="1915"/>
                      </a:lnTo>
                      <a:lnTo>
                        <a:pt x="1652" y="1912"/>
                      </a:lnTo>
                      <a:lnTo>
                        <a:pt x="1675" y="1908"/>
                      </a:lnTo>
                      <a:lnTo>
                        <a:pt x="1698" y="1904"/>
                      </a:lnTo>
                      <a:lnTo>
                        <a:pt x="1721" y="1898"/>
                      </a:lnTo>
                      <a:lnTo>
                        <a:pt x="1744" y="1893"/>
                      </a:lnTo>
                      <a:lnTo>
                        <a:pt x="1767" y="1887"/>
                      </a:lnTo>
                      <a:lnTo>
                        <a:pt x="1789" y="1879"/>
                      </a:lnTo>
                      <a:lnTo>
                        <a:pt x="1812" y="1872"/>
                      </a:lnTo>
                      <a:lnTo>
                        <a:pt x="1812" y="2184"/>
                      </a:lnTo>
                      <a:lnTo>
                        <a:pt x="1773" y="2196"/>
                      </a:lnTo>
                      <a:lnTo>
                        <a:pt x="1734" y="2207"/>
                      </a:lnTo>
                      <a:lnTo>
                        <a:pt x="1694" y="2217"/>
                      </a:lnTo>
                      <a:lnTo>
                        <a:pt x="1655" y="2227"/>
                      </a:lnTo>
                      <a:lnTo>
                        <a:pt x="1615" y="2236"/>
                      </a:lnTo>
                      <a:lnTo>
                        <a:pt x="1575" y="2244"/>
                      </a:lnTo>
                      <a:lnTo>
                        <a:pt x="1535" y="2251"/>
                      </a:lnTo>
                      <a:lnTo>
                        <a:pt x="1495" y="2259"/>
                      </a:lnTo>
                      <a:lnTo>
                        <a:pt x="1456" y="2265"/>
                      </a:lnTo>
                      <a:lnTo>
                        <a:pt x="1415" y="2270"/>
                      </a:lnTo>
                      <a:lnTo>
                        <a:pt x="1375" y="2275"/>
                      </a:lnTo>
                      <a:lnTo>
                        <a:pt x="1335" y="2279"/>
                      </a:lnTo>
                      <a:lnTo>
                        <a:pt x="1294" y="2281"/>
                      </a:lnTo>
                      <a:lnTo>
                        <a:pt x="1254" y="2283"/>
                      </a:lnTo>
                      <a:lnTo>
                        <a:pt x="1213" y="2285"/>
                      </a:lnTo>
                      <a:lnTo>
                        <a:pt x="1173" y="2285"/>
                      </a:lnTo>
                      <a:lnTo>
                        <a:pt x="1100" y="2284"/>
                      </a:lnTo>
                      <a:lnTo>
                        <a:pt x="1030" y="2280"/>
                      </a:lnTo>
                      <a:lnTo>
                        <a:pt x="963" y="2272"/>
                      </a:lnTo>
                      <a:lnTo>
                        <a:pt x="897" y="2263"/>
                      </a:lnTo>
                      <a:lnTo>
                        <a:pt x="834" y="2250"/>
                      </a:lnTo>
                      <a:lnTo>
                        <a:pt x="773" y="2236"/>
                      </a:lnTo>
                      <a:lnTo>
                        <a:pt x="716" y="2219"/>
                      </a:lnTo>
                      <a:lnTo>
                        <a:pt x="659" y="2199"/>
                      </a:lnTo>
                      <a:lnTo>
                        <a:pt x="605" y="2176"/>
                      </a:lnTo>
                      <a:lnTo>
                        <a:pt x="554" y="2151"/>
                      </a:lnTo>
                      <a:lnTo>
                        <a:pt x="504" y="2124"/>
                      </a:lnTo>
                      <a:lnTo>
                        <a:pt x="458" y="2094"/>
                      </a:lnTo>
                      <a:lnTo>
                        <a:pt x="413" y="2062"/>
                      </a:lnTo>
                      <a:lnTo>
                        <a:pt x="371" y="2027"/>
                      </a:lnTo>
                      <a:lnTo>
                        <a:pt x="331" y="1990"/>
                      </a:lnTo>
                      <a:lnTo>
                        <a:pt x="293" y="1952"/>
                      </a:lnTo>
                      <a:lnTo>
                        <a:pt x="257" y="1910"/>
                      </a:lnTo>
                      <a:lnTo>
                        <a:pt x="224" y="1867"/>
                      </a:lnTo>
                      <a:lnTo>
                        <a:pt x="193" y="1821"/>
                      </a:lnTo>
                      <a:lnTo>
                        <a:pt x="165" y="1772"/>
                      </a:lnTo>
                      <a:lnTo>
                        <a:pt x="137" y="1723"/>
                      </a:lnTo>
                      <a:lnTo>
                        <a:pt x="114" y="1671"/>
                      </a:lnTo>
                      <a:lnTo>
                        <a:pt x="92" y="1617"/>
                      </a:lnTo>
                      <a:lnTo>
                        <a:pt x="72" y="1561"/>
                      </a:lnTo>
                      <a:lnTo>
                        <a:pt x="55" y="1503"/>
                      </a:lnTo>
                      <a:lnTo>
                        <a:pt x="41" y="1443"/>
                      </a:lnTo>
                      <a:lnTo>
                        <a:pt x="28" y="1382"/>
                      </a:lnTo>
                      <a:lnTo>
                        <a:pt x="18" y="1319"/>
                      </a:lnTo>
                      <a:lnTo>
                        <a:pt x="9" y="1253"/>
                      </a:lnTo>
                      <a:lnTo>
                        <a:pt x="4" y="1186"/>
                      </a:lnTo>
                      <a:lnTo>
                        <a:pt x="1" y="1117"/>
                      </a:lnTo>
                      <a:lnTo>
                        <a:pt x="0" y="1046"/>
                      </a:lnTo>
                      <a:lnTo>
                        <a:pt x="1" y="987"/>
                      </a:lnTo>
                      <a:lnTo>
                        <a:pt x="3" y="931"/>
                      </a:lnTo>
                      <a:lnTo>
                        <a:pt x="8" y="874"/>
                      </a:lnTo>
                      <a:lnTo>
                        <a:pt x="15" y="820"/>
                      </a:lnTo>
                      <a:lnTo>
                        <a:pt x="25" y="766"/>
                      </a:lnTo>
                      <a:lnTo>
                        <a:pt x="35" y="715"/>
                      </a:lnTo>
                      <a:lnTo>
                        <a:pt x="48" y="665"/>
                      </a:lnTo>
                      <a:lnTo>
                        <a:pt x="64" y="616"/>
                      </a:lnTo>
                      <a:lnTo>
                        <a:pt x="81" y="569"/>
                      </a:lnTo>
                      <a:lnTo>
                        <a:pt x="100" y="523"/>
                      </a:lnTo>
                      <a:lnTo>
                        <a:pt x="121" y="479"/>
                      </a:lnTo>
                      <a:lnTo>
                        <a:pt x="143" y="437"/>
                      </a:lnTo>
                      <a:lnTo>
                        <a:pt x="168" y="396"/>
                      </a:lnTo>
                      <a:lnTo>
                        <a:pt x="194" y="359"/>
                      </a:lnTo>
                      <a:lnTo>
                        <a:pt x="224" y="321"/>
                      </a:lnTo>
                      <a:lnTo>
                        <a:pt x="254" y="286"/>
                      </a:lnTo>
                      <a:lnTo>
                        <a:pt x="287" y="253"/>
                      </a:lnTo>
                      <a:lnTo>
                        <a:pt x="321" y="221"/>
                      </a:lnTo>
                      <a:lnTo>
                        <a:pt x="357" y="192"/>
                      </a:lnTo>
                      <a:lnTo>
                        <a:pt x="396" y="165"/>
                      </a:lnTo>
                      <a:lnTo>
                        <a:pt x="436" y="140"/>
                      </a:lnTo>
                      <a:lnTo>
                        <a:pt x="478" y="115"/>
                      </a:lnTo>
                      <a:lnTo>
                        <a:pt x="522" y="95"/>
                      </a:lnTo>
                      <a:lnTo>
                        <a:pt x="568" y="75"/>
                      </a:lnTo>
                      <a:lnTo>
                        <a:pt x="616" y="58"/>
                      </a:lnTo>
                      <a:lnTo>
                        <a:pt x="665" y="43"/>
                      </a:lnTo>
                      <a:lnTo>
                        <a:pt x="717" y="31"/>
                      </a:lnTo>
                      <a:lnTo>
                        <a:pt x="770" y="19"/>
                      </a:lnTo>
                      <a:lnTo>
                        <a:pt x="825" y="12"/>
                      </a:lnTo>
                      <a:lnTo>
                        <a:pt x="883" y="5"/>
                      </a:lnTo>
                      <a:lnTo>
                        <a:pt x="942" y="1"/>
                      </a:lnTo>
                      <a:lnTo>
                        <a:pt x="1002" y="0"/>
                      </a:lnTo>
                      <a:lnTo>
                        <a:pt x="1052" y="1"/>
                      </a:lnTo>
                      <a:lnTo>
                        <a:pt x="1099" y="3"/>
                      </a:lnTo>
                      <a:lnTo>
                        <a:pt x="1145" y="8"/>
                      </a:lnTo>
                      <a:lnTo>
                        <a:pt x="1191" y="13"/>
                      </a:lnTo>
                      <a:lnTo>
                        <a:pt x="1235" y="20"/>
                      </a:lnTo>
                      <a:lnTo>
                        <a:pt x="1277" y="28"/>
                      </a:lnTo>
                      <a:lnTo>
                        <a:pt x="1318" y="38"/>
                      </a:lnTo>
                      <a:lnTo>
                        <a:pt x="1358" y="49"/>
                      </a:lnTo>
                      <a:lnTo>
                        <a:pt x="1396" y="63"/>
                      </a:lnTo>
                      <a:lnTo>
                        <a:pt x="1431" y="78"/>
                      </a:lnTo>
                      <a:lnTo>
                        <a:pt x="1466" y="93"/>
                      </a:lnTo>
                      <a:lnTo>
                        <a:pt x="1500" y="111"/>
                      </a:lnTo>
                      <a:lnTo>
                        <a:pt x="1532" y="131"/>
                      </a:lnTo>
                      <a:lnTo>
                        <a:pt x="1563" y="152"/>
                      </a:lnTo>
                      <a:lnTo>
                        <a:pt x="1591" y="174"/>
                      </a:lnTo>
                      <a:lnTo>
                        <a:pt x="1618" y="198"/>
                      </a:lnTo>
                      <a:lnTo>
                        <a:pt x="1644" y="224"/>
                      </a:lnTo>
                      <a:lnTo>
                        <a:pt x="1668" y="252"/>
                      </a:lnTo>
                      <a:lnTo>
                        <a:pt x="1691" y="280"/>
                      </a:lnTo>
                      <a:lnTo>
                        <a:pt x="1712" y="310"/>
                      </a:lnTo>
                      <a:lnTo>
                        <a:pt x="1731" y="342"/>
                      </a:lnTo>
                      <a:lnTo>
                        <a:pt x="1749" y="375"/>
                      </a:lnTo>
                      <a:lnTo>
                        <a:pt x="1766" y="411"/>
                      </a:lnTo>
                      <a:lnTo>
                        <a:pt x="1779" y="448"/>
                      </a:lnTo>
                      <a:lnTo>
                        <a:pt x="1793" y="485"/>
                      </a:lnTo>
                      <a:lnTo>
                        <a:pt x="1803" y="526"/>
                      </a:lnTo>
                      <a:lnTo>
                        <a:pt x="1813" y="567"/>
                      </a:lnTo>
                      <a:lnTo>
                        <a:pt x="1821" y="610"/>
                      </a:lnTo>
                      <a:lnTo>
                        <a:pt x="1827" y="655"/>
                      </a:lnTo>
                      <a:lnTo>
                        <a:pt x="1831" y="701"/>
                      </a:lnTo>
                      <a:lnTo>
                        <a:pt x="1834" y="750"/>
                      </a:lnTo>
                      <a:lnTo>
                        <a:pt x="1835" y="799"/>
                      </a:lnTo>
                      <a:lnTo>
                        <a:pt x="1292"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3" name="Freeform 8"/>
                <p:cNvSpPr>
                  <a:spLocks noEditPoints="1"/>
                </p:cNvSpPr>
                <p:nvPr userDrawn="1"/>
              </p:nvSpPr>
              <p:spPr bwMode="auto">
                <a:xfrm>
                  <a:off x="1782763" y="2555875"/>
                  <a:ext cx="255587" cy="330200"/>
                </a:xfrm>
                <a:custGeom>
                  <a:avLst/>
                  <a:gdLst/>
                  <a:ahLst/>
                  <a:cxnLst>
                    <a:cxn ang="0">
                      <a:pos x="1767" y="788"/>
                    </a:cxn>
                    <a:cxn ang="0">
                      <a:pos x="1742" y="607"/>
                    </a:cxn>
                    <a:cxn ang="0">
                      <a:pos x="1690" y="445"/>
                    </a:cxn>
                    <a:cxn ang="0">
                      <a:pos x="1612" y="305"/>
                    </a:cxn>
                    <a:cxn ang="0">
                      <a:pos x="1508" y="189"/>
                    </a:cxn>
                    <a:cxn ang="0">
                      <a:pos x="1378" y="99"/>
                    </a:cxn>
                    <a:cxn ang="0">
                      <a:pos x="1222" y="37"/>
                    </a:cxn>
                    <a:cxn ang="0">
                      <a:pos x="1040" y="4"/>
                    </a:cxn>
                    <a:cxn ang="0">
                      <a:pos x="820" y="5"/>
                    </a:cxn>
                    <a:cxn ang="0">
                      <a:pos x="609" y="42"/>
                    </a:cxn>
                    <a:cxn ang="0">
                      <a:pos x="431" y="114"/>
                    </a:cxn>
                    <a:cxn ang="0">
                      <a:pos x="285" y="218"/>
                    </a:cxn>
                    <a:cxn ang="0">
                      <a:pos x="171" y="353"/>
                    </a:cxn>
                    <a:cxn ang="0">
                      <a:pos x="87" y="516"/>
                    </a:cxn>
                    <a:cxn ang="0">
                      <a:pos x="31" y="703"/>
                    </a:cxn>
                    <a:cxn ang="0">
                      <a:pos x="3" y="914"/>
                    </a:cxn>
                    <a:cxn ang="0">
                      <a:pos x="3" y="1161"/>
                    </a:cxn>
                    <a:cxn ang="0">
                      <a:pos x="35" y="1412"/>
                    </a:cxn>
                    <a:cxn ang="0">
                      <a:pos x="99" y="1639"/>
                    </a:cxn>
                    <a:cxn ang="0">
                      <a:pos x="198" y="1839"/>
                    </a:cxn>
                    <a:cxn ang="0">
                      <a:pos x="332" y="2006"/>
                    </a:cxn>
                    <a:cxn ang="0">
                      <a:pos x="504" y="2138"/>
                    </a:cxn>
                    <a:cxn ang="0">
                      <a:pos x="713" y="2231"/>
                    </a:cxn>
                    <a:cxn ang="0">
                      <a:pos x="963" y="2279"/>
                    </a:cxn>
                    <a:cxn ang="0">
                      <a:pos x="1182" y="2284"/>
                    </a:cxn>
                    <a:cxn ang="0">
                      <a:pos x="1336" y="2275"/>
                    </a:cxn>
                    <a:cxn ang="0">
                      <a:pos x="1490" y="2254"/>
                    </a:cxn>
                    <a:cxn ang="0">
                      <a:pos x="1641" y="2220"/>
                    </a:cxn>
                    <a:cxn ang="0">
                      <a:pos x="1666" y="1862"/>
                    </a:cxn>
                    <a:cxn ang="0">
                      <a:pos x="1484" y="1909"/>
                    </a:cxn>
                    <a:cxn ang="0">
                      <a:pos x="1376" y="1923"/>
                    </a:cxn>
                    <a:cxn ang="0">
                      <a:pos x="1251" y="1926"/>
                    </a:cxn>
                    <a:cxn ang="0">
                      <a:pos x="1078" y="1896"/>
                    </a:cxn>
                    <a:cxn ang="0">
                      <a:pos x="922" y="1829"/>
                    </a:cxn>
                    <a:cxn ang="0">
                      <a:pos x="787" y="1733"/>
                    </a:cxn>
                    <a:cxn ang="0">
                      <a:pos x="673" y="1609"/>
                    </a:cxn>
                    <a:cxn ang="0">
                      <a:pos x="584" y="1466"/>
                    </a:cxn>
                    <a:cxn ang="0">
                      <a:pos x="520" y="1308"/>
                    </a:cxn>
                    <a:cxn ang="0">
                      <a:pos x="483" y="1139"/>
                    </a:cxn>
                    <a:cxn ang="0">
                      <a:pos x="1771" y="1009"/>
                    </a:cxn>
                    <a:cxn ang="0">
                      <a:pos x="493" y="662"/>
                    </a:cxn>
                    <a:cxn ang="0">
                      <a:pos x="515" y="586"/>
                    </a:cxn>
                    <a:cxn ang="0">
                      <a:pos x="549" y="518"/>
                    </a:cxn>
                    <a:cxn ang="0">
                      <a:pos x="594" y="458"/>
                    </a:cxn>
                    <a:cxn ang="0">
                      <a:pos x="649" y="408"/>
                    </a:cxn>
                    <a:cxn ang="0">
                      <a:pos x="712" y="369"/>
                    </a:cxn>
                    <a:cxn ang="0">
                      <a:pos x="783" y="342"/>
                    </a:cxn>
                    <a:cxn ang="0">
                      <a:pos x="861" y="328"/>
                    </a:cxn>
                    <a:cxn ang="0">
                      <a:pos x="944" y="328"/>
                    </a:cxn>
                    <a:cxn ang="0">
                      <a:pos x="1024" y="341"/>
                    </a:cxn>
                    <a:cxn ang="0">
                      <a:pos x="1096" y="366"/>
                    </a:cxn>
                    <a:cxn ang="0">
                      <a:pos x="1157" y="404"/>
                    </a:cxn>
                    <a:cxn ang="0">
                      <a:pos x="1207" y="452"/>
                    </a:cxn>
                    <a:cxn ang="0">
                      <a:pos x="1246" y="512"/>
                    </a:cxn>
                    <a:cxn ang="0">
                      <a:pos x="1272" y="581"/>
                    </a:cxn>
                    <a:cxn ang="0">
                      <a:pos x="1286" y="659"/>
                    </a:cxn>
                  </a:cxnLst>
                  <a:rect l="0" t="0" r="r" b="b"/>
                  <a:pathLst>
                    <a:path w="1771" h="2285">
                      <a:moveTo>
                        <a:pt x="1771" y="1009"/>
                      </a:moveTo>
                      <a:lnTo>
                        <a:pt x="1771" y="886"/>
                      </a:lnTo>
                      <a:lnTo>
                        <a:pt x="1771" y="837"/>
                      </a:lnTo>
                      <a:lnTo>
                        <a:pt x="1767" y="788"/>
                      </a:lnTo>
                      <a:lnTo>
                        <a:pt x="1764" y="741"/>
                      </a:lnTo>
                      <a:lnTo>
                        <a:pt x="1758" y="695"/>
                      </a:lnTo>
                      <a:lnTo>
                        <a:pt x="1751" y="650"/>
                      </a:lnTo>
                      <a:lnTo>
                        <a:pt x="1742" y="607"/>
                      </a:lnTo>
                      <a:lnTo>
                        <a:pt x="1732" y="564"/>
                      </a:lnTo>
                      <a:lnTo>
                        <a:pt x="1719" y="523"/>
                      </a:lnTo>
                      <a:lnTo>
                        <a:pt x="1705" y="483"/>
                      </a:lnTo>
                      <a:lnTo>
                        <a:pt x="1690" y="445"/>
                      </a:lnTo>
                      <a:lnTo>
                        <a:pt x="1673" y="408"/>
                      </a:lnTo>
                      <a:lnTo>
                        <a:pt x="1654" y="372"/>
                      </a:lnTo>
                      <a:lnTo>
                        <a:pt x="1634" y="338"/>
                      </a:lnTo>
                      <a:lnTo>
                        <a:pt x="1612" y="305"/>
                      </a:lnTo>
                      <a:lnTo>
                        <a:pt x="1589" y="274"/>
                      </a:lnTo>
                      <a:lnTo>
                        <a:pt x="1563" y="243"/>
                      </a:lnTo>
                      <a:lnTo>
                        <a:pt x="1537" y="215"/>
                      </a:lnTo>
                      <a:lnTo>
                        <a:pt x="1508" y="189"/>
                      </a:lnTo>
                      <a:lnTo>
                        <a:pt x="1478" y="164"/>
                      </a:lnTo>
                      <a:lnTo>
                        <a:pt x="1447" y="141"/>
                      </a:lnTo>
                      <a:lnTo>
                        <a:pt x="1413" y="119"/>
                      </a:lnTo>
                      <a:lnTo>
                        <a:pt x="1378" y="99"/>
                      </a:lnTo>
                      <a:lnTo>
                        <a:pt x="1342" y="81"/>
                      </a:lnTo>
                      <a:lnTo>
                        <a:pt x="1304" y="64"/>
                      </a:lnTo>
                      <a:lnTo>
                        <a:pt x="1264" y="49"/>
                      </a:lnTo>
                      <a:lnTo>
                        <a:pt x="1222" y="37"/>
                      </a:lnTo>
                      <a:lnTo>
                        <a:pt x="1179" y="25"/>
                      </a:lnTo>
                      <a:lnTo>
                        <a:pt x="1133" y="17"/>
                      </a:lnTo>
                      <a:lnTo>
                        <a:pt x="1087" y="10"/>
                      </a:lnTo>
                      <a:lnTo>
                        <a:pt x="1040" y="4"/>
                      </a:lnTo>
                      <a:lnTo>
                        <a:pt x="989" y="1"/>
                      </a:lnTo>
                      <a:lnTo>
                        <a:pt x="938" y="0"/>
                      </a:lnTo>
                      <a:lnTo>
                        <a:pt x="878" y="1"/>
                      </a:lnTo>
                      <a:lnTo>
                        <a:pt x="820" y="5"/>
                      </a:lnTo>
                      <a:lnTo>
                        <a:pt x="765" y="11"/>
                      </a:lnTo>
                      <a:lnTo>
                        <a:pt x="711" y="19"/>
                      </a:lnTo>
                      <a:lnTo>
                        <a:pt x="658" y="30"/>
                      </a:lnTo>
                      <a:lnTo>
                        <a:pt x="609" y="42"/>
                      </a:lnTo>
                      <a:lnTo>
                        <a:pt x="562" y="57"/>
                      </a:lnTo>
                      <a:lnTo>
                        <a:pt x="516" y="74"/>
                      </a:lnTo>
                      <a:lnTo>
                        <a:pt x="472" y="93"/>
                      </a:lnTo>
                      <a:lnTo>
                        <a:pt x="431" y="114"/>
                      </a:lnTo>
                      <a:lnTo>
                        <a:pt x="391" y="137"/>
                      </a:lnTo>
                      <a:lnTo>
                        <a:pt x="355" y="163"/>
                      </a:lnTo>
                      <a:lnTo>
                        <a:pt x="319" y="190"/>
                      </a:lnTo>
                      <a:lnTo>
                        <a:pt x="285" y="218"/>
                      </a:lnTo>
                      <a:lnTo>
                        <a:pt x="254" y="250"/>
                      </a:lnTo>
                      <a:lnTo>
                        <a:pt x="224" y="282"/>
                      </a:lnTo>
                      <a:lnTo>
                        <a:pt x="197" y="317"/>
                      </a:lnTo>
                      <a:lnTo>
                        <a:pt x="171" y="353"/>
                      </a:lnTo>
                      <a:lnTo>
                        <a:pt x="146" y="391"/>
                      </a:lnTo>
                      <a:lnTo>
                        <a:pt x="124" y="431"/>
                      </a:lnTo>
                      <a:lnTo>
                        <a:pt x="104" y="473"/>
                      </a:lnTo>
                      <a:lnTo>
                        <a:pt x="87" y="516"/>
                      </a:lnTo>
                      <a:lnTo>
                        <a:pt x="70" y="560"/>
                      </a:lnTo>
                      <a:lnTo>
                        <a:pt x="55" y="606"/>
                      </a:lnTo>
                      <a:lnTo>
                        <a:pt x="41" y="654"/>
                      </a:lnTo>
                      <a:lnTo>
                        <a:pt x="31" y="703"/>
                      </a:lnTo>
                      <a:lnTo>
                        <a:pt x="21" y="754"/>
                      </a:lnTo>
                      <a:lnTo>
                        <a:pt x="14" y="806"/>
                      </a:lnTo>
                      <a:lnTo>
                        <a:pt x="8" y="860"/>
                      </a:lnTo>
                      <a:lnTo>
                        <a:pt x="3" y="914"/>
                      </a:lnTo>
                      <a:lnTo>
                        <a:pt x="0" y="971"/>
                      </a:lnTo>
                      <a:lnTo>
                        <a:pt x="0" y="1028"/>
                      </a:lnTo>
                      <a:lnTo>
                        <a:pt x="1" y="1095"/>
                      </a:lnTo>
                      <a:lnTo>
                        <a:pt x="3" y="1161"/>
                      </a:lnTo>
                      <a:lnTo>
                        <a:pt x="9" y="1225"/>
                      </a:lnTo>
                      <a:lnTo>
                        <a:pt x="15" y="1289"/>
                      </a:lnTo>
                      <a:lnTo>
                        <a:pt x="24" y="1351"/>
                      </a:lnTo>
                      <a:lnTo>
                        <a:pt x="35" y="1412"/>
                      </a:lnTo>
                      <a:lnTo>
                        <a:pt x="48" y="1471"/>
                      </a:lnTo>
                      <a:lnTo>
                        <a:pt x="63" y="1528"/>
                      </a:lnTo>
                      <a:lnTo>
                        <a:pt x="80" y="1585"/>
                      </a:lnTo>
                      <a:lnTo>
                        <a:pt x="99" y="1639"/>
                      </a:lnTo>
                      <a:lnTo>
                        <a:pt x="121" y="1692"/>
                      </a:lnTo>
                      <a:lnTo>
                        <a:pt x="144" y="1742"/>
                      </a:lnTo>
                      <a:lnTo>
                        <a:pt x="170" y="1791"/>
                      </a:lnTo>
                      <a:lnTo>
                        <a:pt x="198" y="1839"/>
                      </a:lnTo>
                      <a:lnTo>
                        <a:pt x="228" y="1884"/>
                      </a:lnTo>
                      <a:lnTo>
                        <a:pt x="261" y="1927"/>
                      </a:lnTo>
                      <a:lnTo>
                        <a:pt x="295" y="1967"/>
                      </a:lnTo>
                      <a:lnTo>
                        <a:pt x="332" y="2006"/>
                      </a:lnTo>
                      <a:lnTo>
                        <a:pt x="371" y="2043"/>
                      </a:lnTo>
                      <a:lnTo>
                        <a:pt x="413" y="2077"/>
                      </a:lnTo>
                      <a:lnTo>
                        <a:pt x="458" y="2109"/>
                      </a:lnTo>
                      <a:lnTo>
                        <a:pt x="504" y="2138"/>
                      </a:lnTo>
                      <a:lnTo>
                        <a:pt x="552" y="2166"/>
                      </a:lnTo>
                      <a:lnTo>
                        <a:pt x="604" y="2190"/>
                      </a:lnTo>
                      <a:lnTo>
                        <a:pt x="657" y="2212"/>
                      </a:lnTo>
                      <a:lnTo>
                        <a:pt x="713" y="2231"/>
                      </a:lnTo>
                      <a:lnTo>
                        <a:pt x="772" y="2247"/>
                      </a:lnTo>
                      <a:lnTo>
                        <a:pt x="834" y="2261"/>
                      </a:lnTo>
                      <a:lnTo>
                        <a:pt x="897" y="2271"/>
                      </a:lnTo>
                      <a:lnTo>
                        <a:pt x="963" y="2279"/>
                      </a:lnTo>
                      <a:lnTo>
                        <a:pt x="1033" y="2284"/>
                      </a:lnTo>
                      <a:lnTo>
                        <a:pt x="1104" y="2285"/>
                      </a:lnTo>
                      <a:lnTo>
                        <a:pt x="1143" y="2285"/>
                      </a:lnTo>
                      <a:lnTo>
                        <a:pt x="1182" y="2284"/>
                      </a:lnTo>
                      <a:lnTo>
                        <a:pt x="1221" y="2283"/>
                      </a:lnTo>
                      <a:lnTo>
                        <a:pt x="1260" y="2281"/>
                      </a:lnTo>
                      <a:lnTo>
                        <a:pt x="1297" y="2278"/>
                      </a:lnTo>
                      <a:lnTo>
                        <a:pt x="1336" y="2275"/>
                      </a:lnTo>
                      <a:lnTo>
                        <a:pt x="1375" y="2270"/>
                      </a:lnTo>
                      <a:lnTo>
                        <a:pt x="1413" y="2265"/>
                      </a:lnTo>
                      <a:lnTo>
                        <a:pt x="1452" y="2260"/>
                      </a:lnTo>
                      <a:lnTo>
                        <a:pt x="1490" y="2254"/>
                      </a:lnTo>
                      <a:lnTo>
                        <a:pt x="1528" y="2246"/>
                      </a:lnTo>
                      <a:lnTo>
                        <a:pt x="1566" y="2239"/>
                      </a:lnTo>
                      <a:lnTo>
                        <a:pt x="1603" y="2229"/>
                      </a:lnTo>
                      <a:lnTo>
                        <a:pt x="1641" y="2220"/>
                      </a:lnTo>
                      <a:lnTo>
                        <a:pt x="1679" y="2210"/>
                      </a:lnTo>
                      <a:lnTo>
                        <a:pt x="1716" y="2198"/>
                      </a:lnTo>
                      <a:lnTo>
                        <a:pt x="1716" y="1845"/>
                      </a:lnTo>
                      <a:lnTo>
                        <a:pt x="1666" y="1862"/>
                      </a:lnTo>
                      <a:lnTo>
                        <a:pt x="1616" y="1877"/>
                      </a:lnTo>
                      <a:lnTo>
                        <a:pt x="1563" y="1891"/>
                      </a:lnTo>
                      <a:lnTo>
                        <a:pt x="1510" y="1904"/>
                      </a:lnTo>
                      <a:lnTo>
                        <a:pt x="1484" y="1909"/>
                      </a:lnTo>
                      <a:lnTo>
                        <a:pt x="1456" y="1913"/>
                      </a:lnTo>
                      <a:lnTo>
                        <a:pt x="1430" y="1917"/>
                      </a:lnTo>
                      <a:lnTo>
                        <a:pt x="1403" y="1920"/>
                      </a:lnTo>
                      <a:lnTo>
                        <a:pt x="1376" y="1923"/>
                      </a:lnTo>
                      <a:lnTo>
                        <a:pt x="1350" y="1926"/>
                      </a:lnTo>
                      <a:lnTo>
                        <a:pt x="1324" y="1927"/>
                      </a:lnTo>
                      <a:lnTo>
                        <a:pt x="1297" y="1928"/>
                      </a:lnTo>
                      <a:lnTo>
                        <a:pt x="1251" y="1926"/>
                      </a:lnTo>
                      <a:lnTo>
                        <a:pt x="1206" y="1922"/>
                      </a:lnTo>
                      <a:lnTo>
                        <a:pt x="1162" y="1916"/>
                      </a:lnTo>
                      <a:lnTo>
                        <a:pt x="1120" y="1907"/>
                      </a:lnTo>
                      <a:lnTo>
                        <a:pt x="1078" y="1896"/>
                      </a:lnTo>
                      <a:lnTo>
                        <a:pt x="1037" y="1883"/>
                      </a:lnTo>
                      <a:lnTo>
                        <a:pt x="997" y="1867"/>
                      </a:lnTo>
                      <a:lnTo>
                        <a:pt x="959" y="1849"/>
                      </a:lnTo>
                      <a:lnTo>
                        <a:pt x="922" y="1829"/>
                      </a:lnTo>
                      <a:lnTo>
                        <a:pt x="886" y="1808"/>
                      </a:lnTo>
                      <a:lnTo>
                        <a:pt x="852" y="1784"/>
                      </a:lnTo>
                      <a:lnTo>
                        <a:pt x="818" y="1759"/>
                      </a:lnTo>
                      <a:lnTo>
                        <a:pt x="787" y="1733"/>
                      </a:lnTo>
                      <a:lnTo>
                        <a:pt x="756" y="1703"/>
                      </a:lnTo>
                      <a:lnTo>
                        <a:pt x="727" y="1674"/>
                      </a:lnTo>
                      <a:lnTo>
                        <a:pt x="699" y="1643"/>
                      </a:lnTo>
                      <a:lnTo>
                        <a:pt x="673" y="1609"/>
                      </a:lnTo>
                      <a:lnTo>
                        <a:pt x="648" y="1575"/>
                      </a:lnTo>
                      <a:lnTo>
                        <a:pt x="625" y="1540"/>
                      </a:lnTo>
                      <a:lnTo>
                        <a:pt x="604" y="1504"/>
                      </a:lnTo>
                      <a:lnTo>
                        <a:pt x="584" y="1466"/>
                      </a:lnTo>
                      <a:lnTo>
                        <a:pt x="565" y="1428"/>
                      </a:lnTo>
                      <a:lnTo>
                        <a:pt x="548" y="1389"/>
                      </a:lnTo>
                      <a:lnTo>
                        <a:pt x="533" y="1349"/>
                      </a:lnTo>
                      <a:lnTo>
                        <a:pt x="520" y="1308"/>
                      </a:lnTo>
                      <a:lnTo>
                        <a:pt x="507" y="1266"/>
                      </a:lnTo>
                      <a:lnTo>
                        <a:pt x="498" y="1224"/>
                      </a:lnTo>
                      <a:lnTo>
                        <a:pt x="489" y="1182"/>
                      </a:lnTo>
                      <a:lnTo>
                        <a:pt x="483" y="1139"/>
                      </a:lnTo>
                      <a:lnTo>
                        <a:pt x="478" y="1096"/>
                      </a:lnTo>
                      <a:lnTo>
                        <a:pt x="475" y="1054"/>
                      </a:lnTo>
                      <a:lnTo>
                        <a:pt x="474" y="1009"/>
                      </a:lnTo>
                      <a:lnTo>
                        <a:pt x="1771" y="1009"/>
                      </a:lnTo>
                      <a:close/>
                      <a:moveTo>
                        <a:pt x="1288" y="702"/>
                      </a:moveTo>
                      <a:lnTo>
                        <a:pt x="488" y="702"/>
                      </a:lnTo>
                      <a:lnTo>
                        <a:pt x="490" y="681"/>
                      </a:lnTo>
                      <a:lnTo>
                        <a:pt x="493" y="662"/>
                      </a:lnTo>
                      <a:lnTo>
                        <a:pt x="498" y="643"/>
                      </a:lnTo>
                      <a:lnTo>
                        <a:pt x="503" y="623"/>
                      </a:lnTo>
                      <a:lnTo>
                        <a:pt x="509" y="604"/>
                      </a:lnTo>
                      <a:lnTo>
                        <a:pt x="515" y="586"/>
                      </a:lnTo>
                      <a:lnTo>
                        <a:pt x="523" y="568"/>
                      </a:lnTo>
                      <a:lnTo>
                        <a:pt x="531" y="550"/>
                      </a:lnTo>
                      <a:lnTo>
                        <a:pt x="540" y="534"/>
                      </a:lnTo>
                      <a:lnTo>
                        <a:pt x="549" y="518"/>
                      </a:lnTo>
                      <a:lnTo>
                        <a:pt x="560" y="502"/>
                      </a:lnTo>
                      <a:lnTo>
                        <a:pt x="570" y="487"/>
                      </a:lnTo>
                      <a:lnTo>
                        <a:pt x="582" y="472"/>
                      </a:lnTo>
                      <a:lnTo>
                        <a:pt x="594" y="458"/>
                      </a:lnTo>
                      <a:lnTo>
                        <a:pt x="607" y="445"/>
                      </a:lnTo>
                      <a:lnTo>
                        <a:pt x="621" y="432"/>
                      </a:lnTo>
                      <a:lnTo>
                        <a:pt x="634" y="419"/>
                      </a:lnTo>
                      <a:lnTo>
                        <a:pt x="649" y="408"/>
                      </a:lnTo>
                      <a:lnTo>
                        <a:pt x="664" y="397"/>
                      </a:lnTo>
                      <a:lnTo>
                        <a:pt x="679" y="387"/>
                      </a:lnTo>
                      <a:lnTo>
                        <a:pt x="696" y="378"/>
                      </a:lnTo>
                      <a:lnTo>
                        <a:pt x="712" y="369"/>
                      </a:lnTo>
                      <a:lnTo>
                        <a:pt x="730" y="362"/>
                      </a:lnTo>
                      <a:lnTo>
                        <a:pt x="747" y="354"/>
                      </a:lnTo>
                      <a:lnTo>
                        <a:pt x="765" y="348"/>
                      </a:lnTo>
                      <a:lnTo>
                        <a:pt x="783" y="342"/>
                      </a:lnTo>
                      <a:lnTo>
                        <a:pt x="802" y="338"/>
                      </a:lnTo>
                      <a:lnTo>
                        <a:pt x="821" y="333"/>
                      </a:lnTo>
                      <a:lnTo>
                        <a:pt x="841" y="330"/>
                      </a:lnTo>
                      <a:lnTo>
                        <a:pt x="861" y="328"/>
                      </a:lnTo>
                      <a:lnTo>
                        <a:pt x="881" y="327"/>
                      </a:lnTo>
                      <a:lnTo>
                        <a:pt x="901" y="326"/>
                      </a:lnTo>
                      <a:lnTo>
                        <a:pt x="923" y="326"/>
                      </a:lnTo>
                      <a:lnTo>
                        <a:pt x="944" y="328"/>
                      </a:lnTo>
                      <a:lnTo>
                        <a:pt x="965" y="330"/>
                      </a:lnTo>
                      <a:lnTo>
                        <a:pt x="985" y="332"/>
                      </a:lnTo>
                      <a:lnTo>
                        <a:pt x="1005" y="337"/>
                      </a:lnTo>
                      <a:lnTo>
                        <a:pt x="1024" y="341"/>
                      </a:lnTo>
                      <a:lnTo>
                        <a:pt x="1043" y="346"/>
                      </a:lnTo>
                      <a:lnTo>
                        <a:pt x="1061" y="352"/>
                      </a:lnTo>
                      <a:lnTo>
                        <a:pt x="1079" y="359"/>
                      </a:lnTo>
                      <a:lnTo>
                        <a:pt x="1096" y="366"/>
                      </a:lnTo>
                      <a:lnTo>
                        <a:pt x="1111" y="374"/>
                      </a:lnTo>
                      <a:lnTo>
                        <a:pt x="1127" y="384"/>
                      </a:lnTo>
                      <a:lnTo>
                        <a:pt x="1142" y="393"/>
                      </a:lnTo>
                      <a:lnTo>
                        <a:pt x="1157" y="404"/>
                      </a:lnTo>
                      <a:lnTo>
                        <a:pt x="1170" y="415"/>
                      </a:lnTo>
                      <a:lnTo>
                        <a:pt x="1183" y="427"/>
                      </a:lnTo>
                      <a:lnTo>
                        <a:pt x="1196" y="439"/>
                      </a:lnTo>
                      <a:lnTo>
                        <a:pt x="1207" y="452"/>
                      </a:lnTo>
                      <a:lnTo>
                        <a:pt x="1218" y="467"/>
                      </a:lnTo>
                      <a:lnTo>
                        <a:pt x="1228" y="480"/>
                      </a:lnTo>
                      <a:lnTo>
                        <a:pt x="1238" y="496"/>
                      </a:lnTo>
                      <a:lnTo>
                        <a:pt x="1246" y="512"/>
                      </a:lnTo>
                      <a:lnTo>
                        <a:pt x="1253" y="528"/>
                      </a:lnTo>
                      <a:lnTo>
                        <a:pt x="1261" y="545"/>
                      </a:lnTo>
                      <a:lnTo>
                        <a:pt x="1267" y="563"/>
                      </a:lnTo>
                      <a:lnTo>
                        <a:pt x="1272" y="581"/>
                      </a:lnTo>
                      <a:lnTo>
                        <a:pt x="1278" y="600"/>
                      </a:lnTo>
                      <a:lnTo>
                        <a:pt x="1281" y="619"/>
                      </a:lnTo>
                      <a:lnTo>
                        <a:pt x="1284" y="640"/>
                      </a:lnTo>
                      <a:lnTo>
                        <a:pt x="1286" y="659"/>
                      </a:lnTo>
                      <a:lnTo>
                        <a:pt x="1288" y="680"/>
                      </a:lnTo>
                      <a:lnTo>
                        <a:pt x="1288"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4" name="Freeform 9"/>
                <p:cNvSpPr>
                  <a:spLocks/>
                </p:cNvSpPr>
                <p:nvPr userDrawn="1"/>
              </p:nvSpPr>
              <p:spPr bwMode="auto">
                <a:xfrm>
                  <a:off x="2076450" y="2555875"/>
                  <a:ext cx="254000" cy="322263"/>
                </a:xfrm>
                <a:custGeom>
                  <a:avLst/>
                  <a:gdLst/>
                  <a:ahLst/>
                  <a:cxnLst>
                    <a:cxn ang="0">
                      <a:pos x="1252" y="940"/>
                    </a:cxn>
                    <a:cxn ang="0">
                      <a:pos x="1250" y="815"/>
                    </a:cxn>
                    <a:cxn ang="0">
                      <a:pos x="1242" y="710"/>
                    </a:cxn>
                    <a:cxn ang="0">
                      <a:pos x="1223" y="612"/>
                    </a:cxn>
                    <a:cxn ang="0">
                      <a:pos x="1208" y="570"/>
                    </a:cxn>
                    <a:cxn ang="0">
                      <a:pos x="1188" y="537"/>
                    </a:cxn>
                    <a:cxn ang="0">
                      <a:pos x="1166" y="513"/>
                    </a:cxn>
                    <a:cxn ang="0">
                      <a:pos x="1142" y="497"/>
                    </a:cxn>
                    <a:cxn ang="0">
                      <a:pos x="1115" y="487"/>
                    </a:cxn>
                    <a:cxn ang="0">
                      <a:pos x="1065" y="479"/>
                    </a:cxn>
                    <a:cxn ang="0">
                      <a:pos x="993" y="479"/>
                    </a:cxn>
                    <a:cxn ang="0">
                      <a:pos x="898" y="500"/>
                    </a:cxn>
                    <a:cxn ang="0">
                      <a:pos x="816" y="544"/>
                    </a:cxn>
                    <a:cxn ang="0">
                      <a:pos x="744" y="607"/>
                    </a:cxn>
                    <a:cxn ang="0">
                      <a:pos x="683" y="685"/>
                    </a:cxn>
                    <a:cxn ang="0">
                      <a:pos x="631" y="774"/>
                    </a:cxn>
                    <a:cxn ang="0">
                      <a:pos x="589" y="870"/>
                    </a:cxn>
                    <a:cxn ang="0">
                      <a:pos x="556" y="972"/>
                    </a:cxn>
                    <a:cxn ang="0">
                      <a:pos x="533" y="1072"/>
                    </a:cxn>
                    <a:cxn ang="0">
                      <a:pos x="519" y="1171"/>
                    </a:cxn>
                    <a:cxn ang="0">
                      <a:pos x="511" y="1262"/>
                    </a:cxn>
                    <a:cxn ang="0">
                      <a:pos x="0" y="2235"/>
                    </a:cxn>
                    <a:cxn ang="0">
                      <a:pos x="511" y="459"/>
                    </a:cxn>
                    <a:cxn ang="0">
                      <a:pos x="543" y="408"/>
                    </a:cxn>
                    <a:cxn ang="0">
                      <a:pos x="582" y="336"/>
                    </a:cxn>
                    <a:cxn ang="0">
                      <a:pos x="626" y="270"/>
                    </a:cxn>
                    <a:cxn ang="0">
                      <a:pos x="676" y="210"/>
                    </a:cxn>
                    <a:cxn ang="0">
                      <a:pos x="731" y="156"/>
                    </a:cxn>
                    <a:cxn ang="0">
                      <a:pos x="791" y="110"/>
                    </a:cxn>
                    <a:cxn ang="0">
                      <a:pos x="856" y="71"/>
                    </a:cxn>
                    <a:cxn ang="0">
                      <a:pos x="927" y="41"/>
                    </a:cxn>
                    <a:cxn ang="0">
                      <a:pos x="1003" y="19"/>
                    </a:cxn>
                    <a:cxn ang="0">
                      <a:pos x="1083" y="5"/>
                    </a:cxn>
                    <a:cxn ang="0">
                      <a:pos x="1169" y="0"/>
                    </a:cxn>
                    <a:cxn ang="0">
                      <a:pos x="1281" y="10"/>
                    </a:cxn>
                    <a:cxn ang="0">
                      <a:pos x="1379" y="35"/>
                    </a:cxn>
                    <a:cxn ang="0">
                      <a:pos x="1466" y="76"/>
                    </a:cxn>
                    <a:cxn ang="0">
                      <a:pos x="1540" y="129"/>
                    </a:cxn>
                    <a:cxn ang="0">
                      <a:pos x="1603" y="195"/>
                    </a:cxn>
                    <a:cxn ang="0">
                      <a:pos x="1656" y="272"/>
                    </a:cxn>
                    <a:cxn ang="0">
                      <a:pos x="1697" y="357"/>
                    </a:cxn>
                    <a:cxn ang="0">
                      <a:pos x="1728" y="450"/>
                    </a:cxn>
                    <a:cxn ang="0">
                      <a:pos x="1748" y="548"/>
                    </a:cxn>
                    <a:cxn ang="0">
                      <a:pos x="1760" y="651"/>
                    </a:cxn>
                    <a:cxn ang="0">
                      <a:pos x="1762" y="2235"/>
                    </a:cxn>
                  </a:cxnLst>
                  <a:rect l="0" t="0" r="r" b="b"/>
                  <a:pathLst>
                    <a:path w="1762" h="2235">
                      <a:moveTo>
                        <a:pt x="1252" y="2235"/>
                      </a:moveTo>
                      <a:lnTo>
                        <a:pt x="1252" y="986"/>
                      </a:lnTo>
                      <a:lnTo>
                        <a:pt x="1252" y="940"/>
                      </a:lnTo>
                      <a:lnTo>
                        <a:pt x="1252" y="881"/>
                      </a:lnTo>
                      <a:lnTo>
                        <a:pt x="1251" y="848"/>
                      </a:lnTo>
                      <a:lnTo>
                        <a:pt x="1250" y="815"/>
                      </a:lnTo>
                      <a:lnTo>
                        <a:pt x="1248" y="779"/>
                      </a:lnTo>
                      <a:lnTo>
                        <a:pt x="1245" y="744"/>
                      </a:lnTo>
                      <a:lnTo>
                        <a:pt x="1242" y="710"/>
                      </a:lnTo>
                      <a:lnTo>
                        <a:pt x="1237" y="675"/>
                      </a:lnTo>
                      <a:lnTo>
                        <a:pt x="1230" y="643"/>
                      </a:lnTo>
                      <a:lnTo>
                        <a:pt x="1223" y="612"/>
                      </a:lnTo>
                      <a:lnTo>
                        <a:pt x="1218" y="598"/>
                      </a:lnTo>
                      <a:lnTo>
                        <a:pt x="1213" y="584"/>
                      </a:lnTo>
                      <a:lnTo>
                        <a:pt x="1208" y="570"/>
                      </a:lnTo>
                      <a:lnTo>
                        <a:pt x="1202" y="559"/>
                      </a:lnTo>
                      <a:lnTo>
                        <a:pt x="1196" y="547"/>
                      </a:lnTo>
                      <a:lnTo>
                        <a:pt x="1188" y="537"/>
                      </a:lnTo>
                      <a:lnTo>
                        <a:pt x="1181" y="527"/>
                      </a:lnTo>
                      <a:lnTo>
                        <a:pt x="1173" y="519"/>
                      </a:lnTo>
                      <a:lnTo>
                        <a:pt x="1166" y="513"/>
                      </a:lnTo>
                      <a:lnTo>
                        <a:pt x="1159" y="506"/>
                      </a:lnTo>
                      <a:lnTo>
                        <a:pt x="1150" y="501"/>
                      </a:lnTo>
                      <a:lnTo>
                        <a:pt x="1142" y="497"/>
                      </a:lnTo>
                      <a:lnTo>
                        <a:pt x="1133" y="493"/>
                      </a:lnTo>
                      <a:lnTo>
                        <a:pt x="1124" y="490"/>
                      </a:lnTo>
                      <a:lnTo>
                        <a:pt x="1115" y="487"/>
                      </a:lnTo>
                      <a:lnTo>
                        <a:pt x="1105" y="484"/>
                      </a:lnTo>
                      <a:lnTo>
                        <a:pt x="1085" y="481"/>
                      </a:lnTo>
                      <a:lnTo>
                        <a:pt x="1065" y="479"/>
                      </a:lnTo>
                      <a:lnTo>
                        <a:pt x="1045" y="478"/>
                      </a:lnTo>
                      <a:lnTo>
                        <a:pt x="1026" y="478"/>
                      </a:lnTo>
                      <a:lnTo>
                        <a:pt x="993" y="479"/>
                      </a:lnTo>
                      <a:lnTo>
                        <a:pt x="960" y="483"/>
                      </a:lnTo>
                      <a:lnTo>
                        <a:pt x="929" y="491"/>
                      </a:lnTo>
                      <a:lnTo>
                        <a:pt x="898" y="500"/>
                      </a:lnTo>
                      <a:lnTo>
                        <a:pt x="870" y="513"/>
                      </a:lnTo>
                      <a:lnTo>
                        <a:pt x="842" y="527"/>
                      </a:lnTo>
                      <a:lnTo>
                        <a:pt x="816" y="544"/>
                      </a:lnTo>
                      <a:lnTo>
                        <a:pt x="791" y="563"/>
                      </a:lnTo>
                      <a:lnTo>
                        <a:pt x="767" y="584"/>
                      </a:lnTo>
                      <a:lnTo>
                        <a:pt x="744" y="607"/>
                      </a:lnTo>
                      <a:lnTo>
                        <a:pt x="721" y="631"/>
                      </a:lnTo>
                      <a:lnTo>
                        <a:pt x="701" y="657"/>
                      </a:lnTo>
                      <a:lnTo>
                        <a:pt x="683" y="685"/>
                      </a:lnTo>
                      <a:lnTo>
                        <a:pt x="664" y="713"/>
                      </a:lnTo>
                      <a:lnTo>
                        <a:pt x="647" y="743"/>
                      </a:lnTo>
                      <a:lnTo>
                        <a:pt x="631" y="774"/>
                      </a:lnTo>
                      <a:lnTo>
                        <a:pt x="615" y="805"/>
                      </a:lnTo>
                      <a:lnTo>
                        <a:pt x="602" y="838"/>
                      </a:lnTo>
                      <a:lnTo>
                        <a:pt x="589" y="870"/>
                      </a:lnTo>
                      <a:lnTo>
                        <a:pt x="577" y="904"/>
                      </a:lnTo>
                      <a:lnTo>
                        <a:pt x="566" y="937"/>
                      </a:lnTo>
                      <a:lnTo>
                        <a:pt x="556" y="972"/>
                      </a:lnTo>
                      <a:lnTo>
                        <a:pt x="548" y="1005"/>
                      </a:lnTo>
                      <a:lnTo>
                        <a:pt x="540" y="1039"/>
                      </a:lnTo>
                      <a:lnTo>
                        <a:pt x="533" y="1072"/>
                      </a:lnTo>
                      <a:lnTo>
                        <a:pt x="527" y="1106"/>
                      </a:lnTo>
                      <a:lnTo>
                        <a:pt x="522" y="1138"/>
                      </a:lnTo>
                      <a:lnTo>
                        <a:pt x="519" y="1171"/>
                      </a:lnTo>
                      <a:lnTo>
                        <a:pt x="515" y="1202"/>
                      </a:lnTo>
                      <a:lnTo>
                        <a:pt x="513" y="1233"/>
                      </a:lnTo>
                      <a:lnTo>
                        <a:pt x="511" y="1262"/>
                      </a:lnTo>
                      <a:lnTo>
                        <a:pt x="511" y="1290"/>
                      </a:lnTo>
                      <a:lnTo>
                        <a:pt x="511" y="2235"/>
                      </a:lnTo>
                      <a:lnTo>
                        <a:pt x="0" y="2235"/>
                      </a:lnTo>
                      <a:lnTo>
                        <a:pt x="0" y="52"/>
                      </a:lnTo>
                      <a:lnTo>
                        <a:pt x="511" y="52"/>
                      </a:lnTo>
                      <a:lnTo>
                        <a:pt x="511" y="459"/>
                      </a:lnTo>
                      <a:lnTo>
                        <a:pt x="521" y="459"/>
                      </a:lnTo>
                      <a:lnTo>
                        <a:pt x="531" y="433"/>
                      </a:lnTo>
                      <a:lnTo>
                        <a:pt x="543" y="408"/>
                      </a:lnTo>
                      <a:lnTo>
                        <a:pt x="555" y="384"/>
                      </a:lnTo>
                      <a:lnTo>
                        <a:pt x="568" y="360"/>
                      </a:lnTo>
                      <a:lnTo>
                        <a:pt x="582" y="336"/>
                      </a:lnTo>
                      <a:lnTo>
                        <a:pt x="596" y="314"/>
                      </a:lnTo>
                      <a:lnTo>
                        <a:pt x="611" y="292"/>
                      </a:lnTo>
                      <a:lnTo>
                        <a:pt x="626" y="270"/>
                      </a:lnTo>
                      <a:lnTo>
                        <a:pt x="642" y="249"/>
                      </a:lnTo>
                      <a:lnTo>
                        <a:pt x="658" y="229"/>
                      </a:lnTo>
                      <a:lnTo>
                        <a:pt x="676" y="210"/>
                      </a:lnTo>
                      <a:lnTo>
                        <a:pt x="693" y="191"/>
                      </a:lnTo>
                      <a:lnTo>
                        <a:pt x="712" y="173"/>
                      </a:lnTo>
                      <a:lnTo>
                        <a:pt x="731" y="156"/>
                      </a:lnTo>
                      <a:lnTo>
                        <a:pt x="750" y="141"/>
                      </a:lnTo>
                      <a:lnTo>
                        <a:pt x="771" y="125"/>
                      </a:lnTo>
                      <a:lnTo>
                        <a:pt x="791" y="110"/>
                      </a:lnTo>
                      <a:lnTo>
                        <a:pt x="812" y="97"/>
                      </a:lnTo>
                      <a:lnTo>
                        <a:pt x="834" y="84"/>
                      </a:lnTo>
                      <a:lnTo>
                        <a:pt x="856" y="71"/>
                      </a:lnTo>
                      <a:lnTo>
                        <a:pt x="879" y="61"/>
                      </a:lnTo>
                      <a:lnTo>
                        <a:pt x="903" y="51"/>
                      </a:lnTo>
                      <a:lnTo>
                        <a:pt x="927" y="41"/>
                      </a:lnTo>
                      <a:lnTo>
                        <a:pt x="952" y="33"/>
                      </a:lnTo>
                      <a:lnTo>
                        <a:pt x="977" y="25"/>
                      </a:lnTo>
                      <a:lnTo>
                        <a:pt x="1003" y="19"/>
                      </a:lnTo>
                      <a:lnTo>
                        <a:pt x="1029" y="14"/>
                      </a:lnTo>
                      <a:lnTo>
                        <a:pt x="1056" y="9"/>
                      </a:lnTo>
                      <a:lnTo>
                        <a:pt x="1083" y="5"/>
                      </a:lnTo>
                      <a:lnTo>
                        <a:pt x="1111" y="2"/>
                      </a:lnTo>
                      <a:lnTo>
                        <a:pt x="1140" y="1"/>
                      </a:lnTo>
                      <a:lnTo>
                        <a:pt x="1169" y="0"/>
                      </a:lnTo>
                      <a:lnTo>
                        <a:pt x="1207" y="1"/>
                      </a:lnTo>
                      <a:lnTo>
                        <a:pt x="1245" y="4"/>
                      </a:lnTo>
                      <a:lnTo>
                        <a:pt x="1281" y="10"/>
                      </a:lnTo>
                      <a:lnTo>
                        <a:pt x="1314" y="16"/>
                      </a:lnTo>
                      <a:lnTo>
                        <a:pt x="1348" y="24"/>
                      </a:lnTo>
                      <a:lnTo>
                        <a:pt x="1379" y="35"/>
                      </a:lnTo>
                      <a:lnTo>
                        <a:pt x="1409" y="46"/>
                      </a:lnTo>
                      <a:lnTo>
                        <a:pt x="1438" y="60"/>
                      </a:lnTo>
                      <a:lnTo>
                        <a:pt x="1466" y="76"/>
                      </a:lnTo>
                      <a:lnTo>
                        <a:pt x="1492" y="91"/>
                      </a:lnTo>
                      <a:lnTo>
                        <a:pt x="1517" y="110"/>
                      </a:lnTo>
                      <a:lnTo>
                        <a:pt x="1540" y="129"/>
                      </a:lnTo>
                      <a:lnTo>
                        <a:pt x="1562" y="150"/>
                      </a:lnTo>
                      <a:lnTo>
                        <a:pt x="1583" y="172"/>
                      </a:lnTo>
                      <a:lnTo>
                        <a:pt x="1603" y="195"/>
                      </a:lnTo>
                      <a:lnTo>
                        <a:pt x="1622" y="219"/>
                      </a:lnTo>
                      <a:lnTo>
                        <a:pt x="1640" y="245"/>
                      </a:lnTo>
                      <a:lnTo>
                        <a:pt x="1656" y="272"/>
                      </a:lnTo>
                      <a:lnTo>
                        <a:pt x="1671" y="299"/>
                      </a:lnTo>
                      <a:lnTo>
                        <a:pt x="1684" y="327"/>
                      </a:lnTo>
                      <a:lnTo>
                        <a:pt x="1697" y="357"/>
                      </a:lnTo>
                      <a:lnTo>
                        <a:pt x="1708" y="387"/>
                      </a:lnTo>
                      <a:lnTo>
                        <a:pt x="1719" y="418"/>
                      </a:lnTo>
                      <a:lnTo>
                        <a:pt x="1728" y="450"/>
                      </a:lnTo>
                      <a:lnTo>
                        <a:pt x="1736" y="482"/>
                      </a:lnTo>
                      <a:lnTo>
                        <a:pt x="1743" y="515"/>
                      </a:lnTo>
                      <a:lnTo>
                        <a:pt x="1748" y="548"/>
                      </a:lnTo>
                      <a:lnTo>
                        <a:pt x="1754" y="582"/>
                      </a:lnTo>
                      <a:lnTo>
                        <a:pt x="1757" y="616"/>
                      </a:lnTo>
                      <a:lnTo>
                        <a:pt x="1760" y="651"/>
                      </a:lnTo>
                      <a:lnTo>
                        <a:pt x="1761" y="686"/>
                      </a:lnTo>
                      <a:lnTo>
                        <a:pt x="1762" y="721"/>
                      </a:lnTo>
                      <a:lnTo>
                        <a:pt x="1762" y="2235"/>
                      </a:lnTo>
                      <a:lnTo>
                        <a:pt x="1252" y="2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5" name="Freeform 10"/>
                <p:cNvSpPr>
                  <a:spLocks/>
                </p:cNvSpPr>
                <p:nvPr userDrawn="1"/>
              </p:nvSpPr>
              <p:spPr bwMode="auto">
                <a:xfrm>
                  <a:off x="2349500" y="2459038"/>
                  <a:ext cx="228600" cy="427038"/>
                </a:xfrm>
                <a:custGeom>
                  <a:avLst/>
                  <a:gdLst/>
                  <a:ahLst/>
                  <a:cxnLst>
                    <a:cxn ang="0">
                      <a:pos x="939" y="2110"/>
                    </a:cxn>
                    <a:cxn ang="0">
                      <a:pos x="941" y="2205"/>
                    </a:cxn>
                    <a:cxn ang="0">
                      <a:pos x="948" y="2296"/>
                    </a:cxn>
                    <a:cxn ang="0">
                      <a:pos x="956" y="2339"/>
                    </a:cxn>
                    <a:cxn ang="0">
                      <a:pos x="964" y="2378"/>
                    </a:cxn>
                    <a:cxn ang="0">
                      <a:pos x="977" y="2417"/>
                    </a:cxn>
                    <a:cxn ang="0">
                      <a:pos x="992" y="2452"/>
                    </a:cxn>
                    <a:cxn ang="0">
                      <a:pos x="1012" y="2484"/>
                    </a:cxn>
                    <a:cxn ang="0">
                      <a:pos x="1036" y="2514"/>
                    </a:cxn>
                    <a:cxn ang="0">
                      <a:pos x="1063" y="2539"/>
                    </a:cxn>
                    <a:cxn ang="0">
                      <a:pos x="1097" y="2561"/>
                    </a:cxn>
                    <a:cxn ang="0">
                      <a:pos x="1134" y="2578"/>
                    </a:cxn>
                    <a:cxn ang="0">
                      <a:pos x="1179" y="2591"/>
                    </a:cxn>
                    <a:cxn ang="0">
                      <a:pos x="1228" y="2598"/>
                    </a:cxn>
                    <a:cxn ang="0">
                      <a:pos x="1285" y="2602"/>
                    </a:cxn>
                    <a:cxn ang="0">
                      <a:pos x="1343" y="2598"/>
                    </a:cxn>
                    <a:cxn ang="0">
                      <a:pos x="1401" y="2590"/>
                    </a:cxn>
                    <a:cxn ang="0">
                      <a:pos x="1460" y="2578"/>
                    </a:cxn>
                    <a:cxn ang="0">
                      <a:pos x="1519" y="2565"/>
                    </a:cxn>
                    <a:cxn ang="0">
                      <a:pos x="1467" y="2931"/>
                    </a:cxn>
                    <a:cxn ang="0">
                      <a:pos x="1361" y="2944"/>
                    </a:cxn>
                    <a:cxn ang="0">
                      <a:pos x="1256" y="2954"/>
                    </a:cxn>
                    <a:cxn ang="0">
                      <a:pos x="1152" y="2958"/>
                    </a:cxn>
                    <a:cxn ang="0">
                      <a:pos x="1059" y="2959"/>
                    </a:cxn>
                    <a:cxn ang="0">
                      <a:pos x="981" y="2955"/>
                    </a:cxn>
                    <a:cxn ang="0">
                      <a:pos x="907" y="2947"/>
                    </a:cxn>
                    <a:cxn ang="0">
                      <a:pos x="839" y="2936"/>
                    </a:cxn>
                    <a:cxn ang="0">
                      <a:pos x="776" y="2920"/>
                    </a:cxn>
                    <a:cxn ang="0">
                      <a:pos x="718" y="2900"/>
                    </a:cxn>
                    <a:cxn ang="0">
                      <a:pos x="666" y="2875"/>
                    </a:cxn>
                    <a:cxn ang="0">
                      <a:pos x="618" y="2846"/>
                    </a:cxn>
                    <a:cxn ang="0">
                      <a:pos x="576" y="2810"/>
                    </a:cxn>
                    <a:cxn ang="0">
                      <a:pos x="539" y="2770"/>
                    </a:cxn>
                    <a:cxn ang="0">
                      <a:pos x="508" y="2724"/>
                    </a:cxn>
                    <a:cxn ang="0">
                      <a:pos x="482" y="2672"/>
                    </a:cxn>
                    <a:cxn ang="0">
                      <a:pos x="461" y="2614"/>
                    </a:cxn>
                    <a:cxn ang="0">
                      <a:pos x="445" y="2549"/>
                    </a:cxn>
                    <a:cxn ang="0">
                      <a:pos x="434" y="2478"/>
                    </a:cxn>
                    <a:cxn ang="0">
                      <a:pos x="429" y="2400"/>
                    </a:cxn>
                    <a:cxn ang="0">
                      <a:pos x="428" y="1079"/>
                    </a:cxn>
                    <a:cxn ang="0">
                      <a:pos x="0" y="726"/>
                    </a:cxn>
                    <a:cxn ang="0">
                      <a:pos x="428" y="207"/>
                    </a:cxn>
                    <a:cxn ang="0">
                      <a:pos x="939" y="726"/>
                    </a:cxn>
                    <a:cxn ang="0">
                      <a:pos x="1587" y="1079"/>
                    </a:cxn>
                  </a:cxnLst>
                  <a:rect l="0" t="0" r="r" b="b"/>
                  <a:pathLst>
                    <a:path w="1587" h="2959">
                      <a:moveTo>
                        <a:pt x="939" y="1079"/>
                      </a:moveTo>
                      <a:lnTo>
                        <a:pt x="939" y="2110"/>
                      </a:lnTo>
                      <a:lnTo>
                        <a:pt x="940" y="2158"/>
                      </a:lnTo>
                      <a:lnTo>
                        <a:pt x="941" y="2205"/>
                      </a:lnTo>
                      <a:lnTo>
                        <a:pt x="944" y="2252"/>
                      </a:lnTo>
                      <a:lnTo>
                        <a:pt x="948" y="2296"/>
                      </a:lnTo>
                      <a:lnTo>
                        <a:pt x="951" y="2317"/>
                      </a:lnTo>
                      <a:lnTo>
                        <a:pt x="956" y="2339"/>
                      </a:lnTo>
                      <a:lnTo>
                        <a:pt x="960" y="2358"/>
                      </a:lnTo>
                      <a:lnTo>
                        <a:pt x="964" y="2378"/>
                      </a:lnTo>
                      <a:lnTo>
                        <a:pt x="970" y="2398"/>
                      </a:lnTo>
                      <a:lnTo>
                        <a:pt x="977" y="2417"/>
                      </a:lnTo>
                      <a:lnTo>
                        <a:pt x="984" y="2435"/>
                      </a:lnTo>
                      <a:lnTo>
                        <a:pt x="992" y="2452"/>
                      </a:lnTo>
                      <a:lnTo>
                        <a:pt x="1002" y="2469"/>
                      </a:lnTo>
                      <a:lnTo>
                        <a:pt x="1012" y="2484"/>
                      </a:lnTo>
                      <a:lnTo>
                        <a:pt x="1023" y="2500"/>
                      </a:lnTo>
                      <a:lnTo>
                        <a:pt x="1036" y="2514"/>
                      </a:lnTo>
                      <a:lnTo>
                        <a:pt x="1049" y="2527"/>
                      </a:lnTo>
                      <a:lnTo>
                        <a:pt x="1063" y="2539"/>
                      </a:lnTo>
                      <a:lnTo>
                        <a:pt x="1079" y="2550"/>
                      </a:lnTo>
                      <a:lnTo>
                        <a:pt x="1097" y="2561"/>
                      </a:lnTo>
                      <a:lnTo>
                        <a:pt x="1114" y="2570"/>
                      </a:lnTo>
                      <a:lnTo>
                        <a:pt x="1134" y="2578"/>
                      </a:lnTo>
                      <a:lnTo>
                        <a:pt x="1155" y="2585"/>
                      </a:lnTo>
                      <a:lnTo>
                        <a:pt x="1179" y="2591"/>
                      </a:lnTo>
                      <a:lnTo>
                        <a:pt x="1203" y="2595"/>
                      </a:lnTo>
                      <a:lnTo>
                        <a:pt x="1228" y="2598"/>
                      </a:lnTo>
                      <a:lnTo>
                        <a:pt x="1255" y="2601"/>
                      </a:lnTo>
                      <a:lnTo>
                        <a:pt x="1285" y="2602"/>
                      </a:lnTo>
                      <a:lnTo>
                        <a:pt x="1313" y="2601"/>
                      </a:lnTo>
                      <a:lnTo>
                        <a:pt x="1343" y="2598"/>
                      </a:lnTo>
                      <a:lnTo>
                        <a:pt x="1372" y="2594"/>
                      </a:lnTo>
                      <a:lnTo>
                        <a:pt x="1401" y="2590"/>
                      </a:lnTo>
                      <a:lnTo>
                        <a:pt x="1431" y="2584"/>
                      </a:lnTo>
                      <a:lnTo>
                        <a:pt x="1460" y="2578"/>
                      </a:lnTo>
                      <a:lnTo>
                        <a:pt x="1490" y="2571"/>
                      </a:lnTo>
                      <a:lnTo>
                        <a:pt x="1519" y="2565"/>
                      </a:lnTo>
                      <a:lnTo>
                        <a:pt x="1519" y="2922"/>
                      </a:lnTo>
                      <a:lnTo>
                        <a:pt x="1467" y="2931"/>
                      </a:lnTo>
                      <a:lnTo>
                        <a:pt x="1414" y="2938"/>
                      </a:lnTo>
                      <a:lnTo>
                        <a:pt x="1361" y="2944"/>
                      </a:lnTo>
                      <a:lnTo>
                        <a:pt x="1309" y="2950"/>
                      </a:lnTo>
                      <a:lnTo>
                        <a:pt x="1256" y="2954"/>
                      </a:lnTo>
                      <a:lnTo>
                        <a:pt x="1205" y="2957"/>
                      </a:lnTo>
                      <a:lnTo>
                        <a:pt x="1152" y="2958"/>
                      </a:lnTo>
                      <a:lnTo>
                        <a:pt x="1101" y="2959"/>
                      </a:lnTo>
                      <a:lnTo>
                        <a:pt x="1059" y="2959"/>
                      </a:lnTo>
                      <a:lnTo>
                        <a:pt x="1019" y="2957"/>
                      </a:lnTo>
                      <a:lnTo>
                        <a:pt x="981" y="2955"/>
                      </a:lnTo>
                      <a:lnTo>
                        <a:pt x="943" y="2952"/>
                      </a:lnTo>
                      <a:lnTo>
                        <a:pt x="907" y="2947"/>
                      </a:lnTo>
                      <a:lnTo>
                        <a:pt x="873" y="2942"/>
                      </a:lnTo>
                      <a:lnTo>
                        <a:pt x="839" y="2936"/>
                      </a:lnTo>
                      <a:lnTo>
                        <a:pt x="806" y="2929"/>
                      </a:lnTo>
                      <a:lnTo>
                        <a:pt x="776" y="2920"/>
                      </a:lnTo>
                      <a:lnTo>
                        <a:pt x="746" y="2911"/>
                      </a:lnTo>
                      <a:lnTo>
                        <a:pt x="718" y="2900"/>
                      </a:lnTo>
                      <a:lnTo>
                        <a:pt x="692" y="2889"/>
                      </a:lnTo>
                      <a:lnTo>
                        <a:pt x="666" y="2875"/>
                      </a:lnTo>
                      <a:lnTo>
                        <a:pt x="641" y="2862"/>
                      </a:lnTo>
                      <a:lnTo>
                        <a:pt x="618" y="2846"/>
                      </a:lnTo>
                      <a:lnTo>
                        <a:pt x="597" y="2829"/>
                      </a:lnTo>
                      <a:lnTo>
                        <a:pt x="576" y="2810"/>
                      </a:lnTo>
                      <a:lnTo>
                        <a:pt x="557" y="2791"/>
                      </a:lnTo>
                      <a:lnTo>
                        <a:pt x="539" y="2770"/>
                      </a:lnTo>
                      <a:lnTo>
                        <a:pt x="524" y="2748"/>
                      </a:lnTo>
                      <a:lnTo>
                        <a:pt x="508" y="2724"/>
                      </a:lnTo>
                      <a:lnTo>
                        <a:pt x="494" y="2699"/>
                      </a:lnTo>
                      <a:lnTo>
                        <a:pt x="482" y="2672"/>
                      </a:lnTo>
                      <a:lnTo>
                        <a:pt x="470" y="2644"/>
                      </a:lnTo>
                      <a:lnTo>
                        <a:pt x="461" y="2614"/>
                      </a:lnTo>
                      <a:lnTo>
                        <a:pt x="452" y="2583"/>
                      </a:lnTo>
                      <a:lnTo>
                        <a:pt x="445" y="2549"/>
                      </a:lnTo>
                      <a:lnTo>
                        <a:pt x="438" y="2515"/>
                      </a:lnTo>
                      <a:lnTo>
                        <a:pt x="434" y="2478"/>
                      </a:lnTo>
                      <a:lnTo>
                        <a:pt x="431" y="2440"/>
                      </a:lnTo>
                      <a:lnTo>
                        <a:pt x="429" y="2400"/>
                      </a:lnTo>
                      <a:lnTo>
                        <a:pt x="428" y="2358"/>
                      </a:lnTo>
                      <a:lnTo>
                        <a:pt x="428" y="1079"/>
                      </a:lnTo>
                      <a:lnTo>
                        <a:pt x="0" y="1079"/>
                      </a:lnTo>
                      <a:lnTo>
                        <a:pt x="0" y="726"/>
                      </a:lnTo>
                      <a:lnTo>
                        <a:pt x="428" y="726"/>
                      </a:lnTo>
                      <a:lnTo>
                        <a:pt x="428" y="207"/>
                      </a:lnTo>
                      <a:lnTo>
                        <a:pt x="939" y="0"/>
                      </a:lnTo>
                      <a:lnTo>
                        <a:pt x="939" y="726"/>
                      </a:lnTo>
                      <a:lnTo>
                        <a:pt x="1587" y="726"/>
                      </a:lnTo>
                      <a:lnTo>
                        <a:pt x="1587" y="1079"/>
                      </a:lnTo>
                      <a:lnTo>
                        <a:pt x="939" y="10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6" name="Freeform 11"/>
                <p:cNvSpPr>
                  <a:spLocks/>
                </p:cNvSpPr>
                <p:nvPr userDrawn="1"/>
              </p:nvSpPr>
              <p:spPr bwMode="auto">
                <a:xfrm>
                  <a:off x="2609850" y="2563813"/>
                  <a:ext cx="255587" cy="322263"/>
                </a:xfrm>
                <a:custGeom>
                  <a:avLst/>
                  <a:gdLst/>
                  <a:ahLst/>
                  <a:cxnLst>
                    <a:cxn ang="0">
                      <a:pos x="1243" y="1774"/>
                    </a:cxn>
                    <a:cxn ang="0">
                      <a:pos x="1208" y="1849"/>
                    </a:cxn>
                    <a:cxn ang="0">
                      <a:pos x="1167" y="1919"/>
                    </a:cxn>
                    <a:cxn ang="0">
                      <a:pos x="1120" y="1983"/>
                    </a:cxn>
                    <a:cxn ang="0">
                      <a:pos x="1068" y="2040"/>
                    </a:cxn>
                    <a:cxn ang="0">
                      <a:pos x="1012" y="2092"/>
                    </a:cxn>
                    <a:cxn ang="0">
                      <a:pos x="949" y="2136"/>
                    </a:cxn>
                    <a:cxn ang="0">
                      <a:pos x="881" y="2172"/>
                    </a:cxn>
                    <a:cxn ang="0">
                      <a:pos x="810" y="2201"/>
                    </a:cxn>
                    <a:cxn ang="0">
                      <a:pos x="733" y="2220"/>
                    </a:cxn>
                    <a:cxn ang="0">
                      <a:pos x="651" y="2231"/>
                    </a:cxn>
                    <a:cxn ang="0">
                      <a:pos x="555" y="2232"/>
                    </a:cxn>
                    <a:cxn ang="0">
                      <a:pos x="448" y="2217"/>
                    </a:cxn>
                    <a:cxn ang="0">
                      <a:pos x="354" y="2187"/>
                    </a:cxn>
                    <a:cxn ang="0">
                      <a:pos x="271" y="2142"/>
                    </a:cxn>
                    <a:cxn ang="0">
                      <a:pos x="200" y="2084"/>
                    </a:cxn>
                    <a:cxn ang="0">
                      <a:pos x="140" y="2014"/>
                    </a:cxn>
                    <a:cxn ang="0">
                      <a:pos x="92" y="1934"/>
                    </a:cxn>
                    <a:cxn ang="0">
                      <a:pos x="54" y="1846"/>
                    </a:cxn>
                    <a:cxn ang="0">
                      <a:pos x="27" y="1752"/>
                    </a:cxn>
                    <a:cxn ang="0">
                      <a:pos x="9" y="1651"/>
                    </a:cxn>
                    <a:cxn ang="0">
                      <a:pos x="1" y="1548"/>
                    </a:cxn>
                    <a:cxn ang="0">
                      <a:pos x="511" y="0"/>
                    </a:cxn>
                    <a:cxn ang="0">
                      <a:pos x="511" y="1353"/>
                    </a:cxn>
                    <a:cxn ang="0">
                      <a:pos x="516" y="1454"/>
                    </a:cxn>
                    <a:cxn ang="0">
                      <a:pos x="526" y="1558"/>
                    </a:cxn>
                    <a:cxn ang="0">
                      <a:pos x="545" y="1637"/>
                    </a:cxn>
                    <a:cxn ang="0">
                      <a:pos x="561" y="1675"/>
                    </a:cxn>
                    <a:cxn ang="0">
                      <a:pos x="582" y="1707"/>
                    </a:cxn>
                    <a:cxn ang="0">
                      <a:pos x="605" y="1727"/>
                    </a:cxn>
                    <a:cxn ang="0">
                      <a:pos x="630" y="1740"/>
                    </a:cxn>
                    <a:cxn ang="0">
                      <a:pos x="658" y="1749"/>
                    </a:cxn>
                    <a:cxn ang="0">
                      <a:pos x="717" y="1755"/>
                    </a:cxn>
                    <a:cxn ang="0">
                      <a:pos x="804" y="1750"/>
                    </a:cxn>
                    <a:cxn ang="0">
                      <a:pos x="894" y="1720"/>
                    </a:cxn>
                    <a:cxn ang="0">
                      <a:pos x="973" y="1670"/>
                    </a:cxn>
                    <a:cxn ang="0">
                      <a:pos x="1041" y="1602"/>
                    </a:cxn>
                    <a:cxn ang="0">
                      <a:pos x="1099" y="1520"/>
                    </a:cxn>
                    <a:cxn ang="0">
                      <a:pos x="1147" y="1428"/>
                    </a:cxn>
                    <a:cxn ang="0">
                      <a:pos x="1186" y="1330"/>
                    </a:cxn>
                    <a:cxn ang="0">
                      <a:pos x="1216" y="1229"/>
                    </a:cxn>
                    <a:cxn ang="0">
                      <a:pos x="1236" y="1128"/>
                    </a:cxn>
                    <a:cxn ang="0">
                      <a:pos x="1248" y="1032"/>
                    </a:cxn>
                    <a:cxn ang="0">
                      <a:pos x="1252" y="944"/>
                    </a:cxn>
                    <a:cxn ang="0">
                      <a:pos x="1762" y="2183"/>
                    </a:cxn>
                  </a:cxnLst>
                  <a:rect l="0" t="0" r="r" b="b"/>
                  <a:pathLst>
                    <a:path w="1762" h="2233">
                      <a:moveTo>
                        <a:pt x="1252" y="2183"/>
                      </a:moveTo>
                      <a:lnTo>
                        <a:pt x="1252" y="1774"/>
                      </a:lnTo>
                      <a:lnTo>
                        <a:pt x="1243" y="1774"/>
                      </a:lnTo>
                      <a:lnTo>
                        <a:pt x="1232" y="1800"/>
                      </a:lnTo>
                      <a:lnTo>
                        <a:pt x="1220" y="1825"/>
                      </a:lnTo>
                      <a:lnTo>
                        <a:pt x="1208" y="1849"/>
                      </a:lnTo>
                      <a:lnTo>
                        <a:pt x="1195" y="1874"/>
                      </a:lnTo>
                      <a:lnTo>
                        <a:pt x="1181" y="1897"/>
                      </a:lnTo>
                      <a:lnTo>
                        <a:pt x="1167" y="1919"/>
                      </a:lnTo>
                      <a:lnTo>
                        <a:pt x="1151" y="1941"/>
                      </a:lnTo>
                      <a:lnTo>
                        <a:pt x="1137" y="1963"/>
                      </a:lnTo>
                      <a:lnTo>
                        <a:pt x="1120" y="1983"/>
                      </a:lnTo>
                      <a:lnTo>
                        <a:pt x="1103" y="2002"/>
                      </a:lnTo>
                      <a:lnTo>
                        <a:pt x="1086" y="2022"/>
                      </a:lnTo>
                      <a:lnTo>
                        <a:pt x="1068" y="2040"/>
                      </a:lnTo>
                      <a:lnTo>
                        <a:pt x="1050" y="2058"/>
                      </a:lnTo>
                      <a:lnTo>
                        <a:pt x="1031" y="2075"/>
                      </a:lnTo>
                      <a:lnTo>
                        <a:pt x="1012" y="2092"/>
                      </a:lnTo>
                      <a:lnTo>
                        <a:pt x="991" y="2107"/>
                      </a:lnTo>
                      <a:lnTo>
                        <a:pt x="971" y="2122"/>
                      </a:lnTo>
                      <a:lnTo>
                        <a:pt x="949" y="2136"/>
                      </a:lnTo>
                      <a:lnTo>
                        <a:pt x="928" y="2148"/>
                      </a:lnTo>
                      <a:lnTo>
                        <a:pt x="904" y="2161"/>
                      </a:lnTo>
                      <a:lnTo>
                        <a:pt x="881" y="2172"/>
                      </a:lnTo>
                      <a:lnTo>
                        <a:pt x="858" y="2182"/>
                      </a:lnTo>
                      <a:lnTo>
                        <a:pt x="834" y="2191"/>
                      </a:lnTo>
                      <a:lnTo>
                        <a:pt x="810" y="2201"/>
                      </a:lnTo>
                      <a:lnTo>
                        <a:pt x="785" y="2208"/>
                      </a:lnTo>
                      <a:lnTo>
                        <a:pt x="758" y="2214"/>
                      </a:lnTo>
                      <a:lnTo>
                        <a:pt x="733" y="2220"/>
                      </a:lnTo>
                      <a:lnTo>
                        <a:pt x="706" y="2225"/>
                      </a:lnTo>
                      <a:lnTo>
                        <a:pt x="678" y="2229"/>
                      </a:lnTo>
                      <a:lnTo>
                        <a:pt x="651" y="2231"/>
                      </a:lnTo>
                      <a:lnTo>
                        <a:pt x="623" y="2233"/>
                      </a:lnTo>
                      <a:lnTo>
                        <a:pt x="594" y="2233"/>
                      </a:lnTo>
                      <a:lnTo>
                        <a:pt x="555" y="2232"/>
                      </a:lnTo>
                      <a:lnTo>
                        <a:pt x="519" y="2229"/>
                      </a:lnTo>
                      <a:lnTo>
                        <a:pt x="483" y="2225"/>
                      </a:lnTo>
                      <a:lnTo>
                        <a:pt x="448" y="2217"/>
                      </a:lnTo>
                      <a:lnTo>
                        <a:pt x="416" y="2209"/>
                      </a:lnTo>
                      <a:lnTo>
                        <a:pt x="384" y="2198"/>
                      </a:lnTo>
                      <a:lnTo>
                        <a:pt x="354" y="2187"/>
                      </a:lnTo>
                      <a:lnTo>
                        <a:pt x="325" y="2173"/>
                      </a:lnTo>
                      <a:lnTo>
                        <a:pt x="297" y="2159"/>
                      </a:lnTo>
                      <a:lnTo>
                        <a:pt x="271" y="2142"/>
                      </a:lnTo>
                      <a:lnTo>
                        <a:pt x="246" y="2124"/>
                      </a:lnTo>
                      <a:lnTo>
                        <a:pt x="222" y="2104"/>
                      </a:lnTo>
                      <a:lnTo>
                        <a:pt x="200" y="2084"/>
                      </a:lnTo>
                      <a:lnTo>
                        <a:pt x="179" y="2062"/>
                      </a:lnTo>
                      <a:lnTo>
                        <a:pt x="159" y="2038"/>
                      </a:lnTo>
                      <a:lnTo>
                        <a:pt x="140" y="2014"/>
                      </a:lnTo>
                      <a:lnTo>
                        <a:pt x="123" y="1989"/>
                      </a:lnTo>
                      <a:lnTo>
                        <a:pt x="107" y="1962"/>
                      </a:lnTo>
                      <a:lnTo>
                        <a:pt x="92" y="1934"/>
                      </a:lnTo>
                      <a:lnTo>
                        <a:pt x="78" y="1906"/>
                      </a:lnTo>
                      <a:lnTo>
                        <a:pt x="66" y="1877"/>
                      </a:lnTo>
                      <a:lnTo>
                        <a:pt x="54" y="1846"/>
                      </a:lnTo>
                      <a:lnTo>
                        <a:pt x="44" y="1816"/>
                      </a:lnTo>
                      <a:lnTo>
                        <a:pt x="35" y="1784"/>
                      </a:lnTo>
                      <a:lnTo>
                        <a:pt x="27" y="1752"/>
                      </a:lnTo>
                      <a:lnTo>
                        <a:pt x="19" y="1719"/>
                      </a:lnTo>
                      <a:lnTo>
                        <a:pt x="14" y="1686"/>
                      </a:lnTo>
                      <a:lnTo>
                        <a:pt x="9" y="1651"/>
                      </a:lnTo>
                      <a:lnTo>
                        <a:pt x="6" y="1618"/>
                      </a:lnTo>
                      <a:lnTo>
                        <a:pt x="3" y="1583"/>
                      </a:lnTo>
                      <a:lnTo>
                        <a:pt x="1" y="1548"/>
                      </a:lnTo>
                      <a:lnTo>
                        <a:pt x="0" y="1513"/>
                      </a:lnTo>
                      <a:lnTo>
                        <a:pt x="0" y="0"/>
                      </a:lnTo>
                      <a:lnTo>
                        <a:pt x="511" y="0"/>
                      </a:lnTo>
                      <a:lnTo>
                        <a:pt x="511" y="1247"/>
                      </a:lnTo>
                      <a:lnTo>
                        <a:pt x="511" y="1294"/>
                      </a:lnTo>
                      <a:lnTo>
                        <a:pt x="511" y="1353"/>
                      </a:lnTo>
                      <a:lnTo>
                        <a:pt x="512" y="1385"/>
                      </a:lnTo>
                      <a:lnTo>
                        <a:pt x="513" y="1420"/>
                      </a:lnTo>
                      <a:lnTo>
                        <a:pt x="516" y="1454"/>
                      </a:lnTo>
                      <a:lnTo>
                        <a:pt x="518" y="1489"/>
                      </a:lnTo>
                      <a:lnTo>
                        <a:pt x="522" y="1525"/>
                      </a:lnTo>
                      <a:lnTo>
                        <a:pt x="526" y="1558"/>
                      </a:lnTo>
                      <a:lnTo>
                        <a:pt x="532" y="1591"/>
                      </a:lnTo>
                      <a:lnTo>
                        <a:pt x="541" y="1622"/>
                      </a:lnTo>
                      <a:lnTo>
                        <a:pt x="545" y="1637"/>
                      </a:lnTo>
                      <a:lnTo>
                        <a:pt x="550" y="1650"/>
                      </a:lnTo>
                      <a:lnTo>
                        <a:pt x="555" y="1663"/>
                      </a:lnTo>
                      <a:lnTo>
                        <a:pt x="561" y="1675"/>
                      </a:lnTo>
                      <a:lnTo>
                        <a:pt x="567" y="1687"/>
                      </a:lnTo>
                      <a:lnTo>
                        <a:pt x="574" y="1697"/>
                      </a:lnTo>
                      <a:lnTo>
                        <a:pt x="582" y="1707"/>
                      </a:lnTo>
                      <a:lnTo>
                        <a:pt x="589" y="1714"/>
                      </a:lnTo>
                      <a:lnTo>
                        <a:pt x="596" y="1722"/>
                      </a:lnTo>
                      <a:lnTo>
                        <a:pt x="605" y="1727"/>
                      </a:lnTo>
                      <a:lnTo>
                        <a:pt x="612" y="1732"/>
                      </a:lnTo>
                      <a:lnTo>
                        <a:pt x="621" y="1736"/>
                      </a:lnTo>
                      <a:lnTo>
                        <a:pt x="630" y="1740"/>
                      </a:lnTo>
                      <a:lnTo>
                        <a:pt x="640" y="1744"/>
                      </a:lnTo>
                      <a:lnTo>
                        <a:pt x="649" y="1747"/>
                      </a:lnTo>
                      <a:lnTo>
                        <a:pt x="658" y="1749"/>
                      </a:lnTo>
                      <a:lnTo>
                        <a:pt x="677" y="1752"/>
                      </a:lnTo>
                      <a:lnTo>
                        <a:pt x="697" y="1754"/>
                      </a:lnTo>
                      <a:lnTo>
                        <a:pt x="717" y="1755"/>
                      </a:lnTo>
                      <a:lnTo>
                        <a:pt x="737" y="1756"/>
                      </a:lnTo>
                      <a:lnTo>
                        <a:pt x="771" y="1754"/>
                      </a:lnTo>
                      <a:lnTo>
                        <a:pt x="804" y="1750"/>
                      </a:lnTo>
                      <a:lnTo>
                        <a:pt x="835" y="1743"/>
                      </a:lnTo>
                      <a:lnTo>
                        <a:pt x="865" y="1733"/>
                      </a:lnTo>
                      <a:lnTo>
                        <a:pt x="894" y="1720"/>
                      </a:lnTo>
                      <a:lnTo>
                        <a:pt x="921" y="1706"/>
                      </a:lnTo>
                      <a:lnTo>
                        <a:pt x="948" y="1689"/>
                      </a:lnTo>
                      <a:lnTo>
                        <a:pt x="973" y="1670"/>
                      </a:lnTo>
                      <a:lnTo>
                        <a:pt x="997" y="1649"/>
                      </a:lnTo>
                      <a:lnTo>
                        <a:pt x="1019" y="1627"/>
                      </a:lnTo>
                      <a:lnTo>
                        <a:pt x="1041" y="1602"/>
                      </a:lnTo>
                      <a:lnTo>
                        <a:pt x="1061" y="1577"/>
                      </a:lnTo>
                      <a:lnTo>
                        <a:pt x="1081" y="1550"/>
                      </a:lnTo>
                      <a:lnTo>
                        <a:pt x="1099" y="1520"/>
                      </a:lnTo>
                      <a:lnTo>
                        <a:pt x="1117" y="1491"/>
                      </a:lnTo>
                      <a:lnTo>
                        <a:pt x="1133" y="1461"/>
                      </a:lnTo>
                      <a:lnTo>
                        <a:pt x="1147" y="1428"/>
                      </a:lnTo>
                      <a:lnTo>
                        <a:pt x="1161" y="1397"/>
                      </a:lnTo>
                      <a:lnTo>
                        <a:pt x="1175" y="1363"/>
                      </a:lnTo>
                      <a:lnTo>
                        <a:pt x="1186" y="1330"/>
                      </a:lnTo>
                      <a:lnTo>
                        <a:pt x="1197" y="1296"/>
                      </a:lnTo>
                      <a:lnTo>
                        <a:pt x="1207" y="1262"/>
                      </a:lnTo>
                      <a:lnTo>
                        <a:pt x="1216" y="1229"/>
                      </a:lnTo>
                      <a:lnTo>
                        <a:pt x="1223" y="1195"/>
                      </a:lnTo>
                      <a:lnTo>
                        <a:pt x="1230" y="1162"/>
                      </a:lnTo>
                      <a:lnTo>
                        <a:pt x="1236" y="1128"/>
                      </a:lnTo>
                      <a:lnTo>
                        <a:pt x="1241" y="1096"/>
                      </a:lnTo>
                      <a:lnTo>
                        <a:pt x="1245" y="1063"/>
                      </a:lnTo>
                      <a:lnTo>
                        <a:pt x="1248" y="1032"/>
                      </a:lnTo>
                      <a:lnTo>
                        <a:pt x="1250" y="1002"/>
                      </a:lnTo>
                      <a:lnTo>
                        <a:pt x="1251" y="972"/>
                      </a:lnTo>
                      <a:lnTo>
                        <a:pt x="1252" y="944"/>
                      </a:lnTo>
                      <a:lnTo>
                        <a:pt x="1252" y="0"/>
                      </a:lnTo>
                      <a:lnTo>
                        <a:pt x="1762" y="0"/>
                      </a:lnTo>
                      <a:lnTo>
                        <a:pt x="1762" y="2183"/>
                      </a:lnTo>
                      <a:lnTo>
                        <a:pt x="1252" y="2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7" name="Freeform 12"/>
                <p:cNvSpPr>
                  <a:spLocks/>
                </p:cNvSpPr>
                <p:nvPr userDrawn="1"/>
              </p:nvSpPr>
              <p:spPr bwMode="auto">
                <a:xfrm>
                  <a:off x="2911475" y="2555875"/>
                  <a:ext cx="177800" cy="322263"/>
                </a:xfrm>
                <a:custGeom>
                  <a:avLst/>
                  <a:gdLst/>
                  <a:ahLst/>
                  <a:cxnLst>
                    <a:cxn ang="0">
                      <a:pos x="511" y="2235"/>
                    </a:cxn>
                    <a:cxn ang="0">
                      <a:pos x="0" y="52"/>
                    </a:cxn>
                    <a:cxn ang="0">
                      <a:pos x="511" y="455"/>
                    </a:cxn>
                    <a:cxn ang="0">
                      <a:pos x="536" y="427"/>
                    </a:cxn>
                    <a:cxn ang="0">
                      <a:pos x="568" y="373"/>
                    </a:cxn>
                    <a:cxn ang="0">
                      <a:pos x="600" y="324"/>
                    </a:cxn>
                    <a:cxn ang="0">
                      <a:pos x="634" y="278"/>
                    </a:cxn>
                    <a:cxn ang="0">
                      <a:pos x="667" y="235"/>
                    </a:cxn>
                    <a:cxn ang="0">
                      <a:pos x="703" y="196"/>
                    </a:cxn>
                    <a:cxn ang="0">
                      <a:pos x="740" y="161"/>
                    </a:cxn>
                    <a:cxn ang="0">
                      <a:pos x="779" y="129"/>
                    </a:cxn>
                    <a:cxn ang="0">
                      <a:pos x="821" y="101"/>
                    </a:cxn>
                    <a:cxn ang="0">
                      <a:pos x="864" y="76"/>
                    </a:cxn>
                    <a:cxn ang="0">
                      <a:pos x="910" y="55"/>
                    </a:cxn>
                    <a:cxn ang="0">
                      <a:pos x="960" y="37"/>
                    </a:cxn>
                    <a:cxn ang="0">
                      <a:pos x="1013" y="22"/>
                    </a:cxn>
                    <a:cxn ang="0">
                      <a:pos x="1069" y="12"/>
                    </a:cxn>
                    <a:cxn ang="0">
                      <a:pos x="1130" y="4"/>
                    </a:cxn>
                    <a:cxn ang="0">
                      <a:pos x="1194" y="1"/>
                    </a:cxn>
                    <a:cxn ang="0">
                      <a:pos x="1228" y="533"/>
                    </a:cxn>
                    <a:cxn ang="0">
                      <a:pos x="1134" y="536"/>
                    </a:cxn>
                    <a:cxn ang="0">
                      <a:pos x="1047" y="543"/>
                    </a:cxn>
                    <a:cxn ang="0">
                      <a:pos x="967" y="558"/>
                    </a:cxn>
                    <a:cxn ang="0">
                      <a:pos x="895" y="577"/>
                    </a:cxn>
                    <a:cxn ang="0">
                      <a:pos x="829" y="602"/>
                    </a:cxn>
                    <a:cxn ang="0">
                      <a:pos x="770" y="632"/>
                    </a:cxn>
                    <a:cxn ang="0">
                      <a:pos x="719" y="669"/>
                    </a:cxn>
                    <a:cxn ang="0">
                      <a:pos x="673" y="712"/>
                    </a:cxn>
                    <a:cxn ang="0">
                      <a:pos x="633" y="760"/>
                    </a:cxn>
                    <a:cxn ang="0">
                      <a:pos x="599" y="815"/>
                    </a:cxn>
                    <a:cxn ang="0">
                      <a:pos x="572" y="875"/>
                    </a:cxn>
                    <a:cxn ang="0">
                      <a:pos x="549" y="943"/>
                    </a:cxn>
                    <a:cxn ang="0">
                      <a:pos x="532" y="1017"/>
                    </a:cxn>
                    <a:cxn ang="0">
                      <a:pos x="520" y="1096"/>
                    </a:cxn>
                    <a:cxn ang="0">
                      <a:pos x="513" y="1182"/>
                    </a:cxn>
                    <a:cxn ang="0">
                      <a:pos x="511" y="1276"/>
                    </a:cxn>
                  </a:cxnLst>
                  <a:rect l="0" t="0" r="r" b="b"/>
                  <a:pathLst>
                    <a:path w="1228" h="2235">
                      <a:moveTo>
                        <a:pt x="511" y="1276"/>
                      </a:moveTo>
                      <a:lnTo>
                        <a:pt x="511" y="2235"/>
                      </a:lnTo>
                      <a:lnTo>
                        <a:pt x="0" y="2235"/>
                      </a:lnTo>
                      <a:lnTo>
                        <a:pt x="0" y="52"/>
                      </a:lnTo>
                      <a:lnTo>
                        <a:pt x="511" y="52"/>
                      </a:lnTo>
                      <a:lnTo>
                        <a:pt x="511" y="455"/>
                      </a:lnTo>
                      <a:lnTo>
                        <a:pt x="519" y="455"/>
                      </a:lnTo>
                      <a:lnTo>
                        <a:pt x="536" y="427"/>
                      </a:lnTo>
                      <a:lnTo>
                        <a:pt x="552" y="400"/>
                      </a:lnTo>
                      <a:lnTo>
                        <a:pt x="568" y="373"/>
                      </a:lnTo>
                      <a:lnTo>
                        <a:pt x="583" y="348"/>
                      </a:lnTo>
                      <a:lnTo>
                        <a:pt x="600" y="324"/>
                      </a:lnTo>
                      <a:lnTo>
                        <a:pt x="617" y="301"/>
                      </a:lnTo>
                      <a:lnTo>
                        <a:pt x="634" y="278"/>
                      </a:lnTo>
                      <a:lnTo>
                        <a:pt x="651" y="256"/>
                      </a:lnTo>
                      <a:lnTo>
                        <a:pt x="667" y="235"/>
                      </a:lnTo>
                      <a:lnTo>
                        <a:pt x="685" y="215"/>
                      </a:lnTo>
                      <a:lnTo>
                        <a:pt x="703" y="196"/>
                      </a:lnTo>
                      <a:lnTo>
                        <a:pt x="721" y="178"/>
                      </a:lnTo>
                      <a:lnTo>
                        <a:pt x="740" y="161"/>
                      </a:lnTo>
                      <a:lnTo>
                        <a:pt x="760" y="145"/>
                      </a:lnTo>
                      <a:lnTo>
                        <a:pt x="779" y="129"/>
                      </a:lnTo>
                      <a:lnTo>
                        <a:pt x="800" y="114"/>
                      </a:lnTo>
                      <a:lnTo>
                        <a:pt x="821" y="101"/>
                      </a:lnTo>
                      <a:lnTo>
                        <a:pt x="842" y="87"/>
                      </a:lnTo>
                      <a:lnTo>
                        <a:pt x="864" y="76"/>
                      </a:lnTo>
                      <a:lnTo>
                        <a:pt x="887" y="64"/>
                      </a:lnTo>
                      <a:lnTo>
                        <a:pt x="910" y="55"/>
                      </a:lnTo>
                      <a:lnTo>
                        <a:pt x="936" y="45"/>
                      </a:lnTo>
                      <a:lnTo>
                        <a:pt x="960" y="37"/>
                      </a:lnTo>
                      <a:lnTo>
                        <a:pt x="986" y="28"/>
                      </a:lnTo>
                      <a:lnTo>
                        <a:pt x="1013" y="22"/>
                      </a:lnTo>
                      <a:lnTo>
                        <a:pt x="1041" y="17"/>
                      </a:lnTo>
                      <a:lnTo>
                        <a:pt x="1069" y="12"/>
                      </a:lnTo>
                      <a:lnTo>
                        <a:pt x="1099" y="8"/>
                      </a:lnTo>
                      <a:lnTo>
                        <a:pt x="1130" y="4"/>
                      </a:lnTo>
                      <a:lnTo>
                        <a:pt x="1162" y="2"/>
                      </a:lnTo>
                      <a:lnTo>
                        <a:pt x="1194" y="1"/>
                      </a:lnTo>
                      <a:lnTo>
                        <a:pt x="1228" y="0"/>
                      </a:lnTo>
                      <a:lnTo>
                        <a:pt x="1228" y="533"/>
                      </a:lnTo>
                      <a:lnTo>
                        <a:pt x="1180" y="534"/>
                      </a:lnTo>
                      <a:lnTo>
                        <a:pt x="1134" y="536"/>
                      </a:lnTo>
                      <a:lnTo>
                        <a:pt x="1089" y="539"/>
                      </a:lnTo>
                      <a:lnTo>
                        <a:pt x="1047" y="543"/>
                      </a:lnTo>
                      <a:lnTo>
                        <a:pt x="1006" y="549"/>
                      </a:lnTo>
                      <a:lnTo>
                        <a:pt x="967" y="558"/>
                      </a:lnTo>
                      <a:lnTo>
                        <a:pt x="930" y="566"/>
                      </a:lnTo>
                      <a:lnTo>
                        <a:pt x="895" y="577"/>
                      </a:lnTo>
                      <a:lnTo>
                        <a:pt x="861" y="588"/>
                      </a:lnTo>
                      <a:lnTo>
                        <a:pt x="829" y="602"/>
                      </a:lnTo>
                      <a:lnTo>
                        <a:pt x="799" y="616"/>
                      </a:lnTo>
                      <a:lnTo>
                        <a:pt x="770" y="632"/>
                      </a:lnTo>
                      <a:lnTo>
                        <a:pt x="744" y="650"/>
                      </a:lnTo>
                      <a:lnTo>
                        <a:pt x="719" y="669"/>
                      </a:lnTo>
                      <a:lnTo>
                        <a:pt x="695" y="690"/>
                      </a:lnTo>
                      <a:lnTo>
                        <a:pt x="673" y="712"/>
                      </a:lnTo>
                      <a:lnTo>
                        <a:pt x="652" y="735"/>
                      </a:lnTo>
                      <a:lnTo>
                        <a:pt x="633" y="760"/>
                      </a:lnTo>
                      <a:lnTo>
                        <a:pt x="616" y="787"/>
                      </a:lnTo>
                      <a:lnTo>
                        <a:pt x="599" y="815"/>
                      </a:lnTo>
                      <a:lnTo>
                        <a:pt x="584" y="845"/>
                      </a:lnTo>
                      <a:lnTo>
                        <a:pt x="572" y="875"/>
                      </a:lnTo>
                      <a:lnTo>
                        <a:pt x="559" y="909"/>
                      </a:lnTo>
                      <a:lnTo>
                        <a:pt x="549" y="943"/>
                      </a:lnTo>
                      <a:lnTo>
                        <a:pt x="539" y="979"/>
                      </a:lnTo>
                      <a:lnTo>
                        <a:pt x="532" y="1017"/>
                      </a:lnTo>
                      <a:lnTo>
                        <a:pt x="526" y="1056"/>
                      </a:lnTo>
                      <a:lnTo>
                        <a:pt x="520" y="1096"/>
                      </a:lnTo>
                      <a:lnTo>
                        <a:pt x="516" y="1138"/>
                      </a:lnTo>
                      <a:lnTo>
                        <a:pt x="513" y="1182"/>
                      </a:lnTo>
                      <a:lnTo>
                        <a:pt x="511" y="1229"/>
                      </a:lnTo>
                      <a:lnTo>
                        <a:pt x="511" y="1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8" name="Freeform 13"/>
                <p:cNvSpPr>
                  <a:spLocks noEditPoints="1"/>
                </p:cNvSpPr>
                <p:nvPr userDrawn="1"/>
              </p:nvSpPr>
              <p:spPr bwMode="auto">
                <a:xfrm>
                  <a:off x="3103563" y="2555875"/>
                  <a:ext cx="255587" cy="330200"/>
                </a:xfrm>
                <a:custGeom>
                  <a:avLst/>
                  <a:gdLst/>
                  <a:ahLst/>
                  <a:cxnLst>
                    <a:cxn ang="0">
                      <a:pos x="1768" y="788"/>
                    </a:cxn>
                    <a:cxn ang="0">
                      <a:pos x="1742" y="607"/>
                    </a:cxn>
                    <a:cxn ang="0">
                      <a:pos x="1690" y="445"/>
                    </a:cxn>
                    <a:cxn ang="0">
                      <a:pos x="1612" y="305"/>
                    </a:cxn>
                    <a:cxn ang="0">
                      <a:pos x="1508" y="189"/>
                    </a:cxn>
                    <a:cxn ang="0">
                      <a:pos x="1378" y="99"/>
                    </a:cxn>
                    <a:cxn ang="0">
                      <a:pos x="1222" y="37"/>
                    </a:cxn>
                    <a:cxn ang="0">
                      <a:pos x="1039" y="4"/>
                    </a:cxn>
                    <a:cxn ang="0">
                      <a:pos x="821" y="5"/>
                    </a:cxn>
                    <a:cxn ang="0">
                      <a:pos x="609" y="42"/>
                    </a:cxn>
                    <a:cxn ang="0">
                      <a:pos x="432" y="114"/>
                    </a:cxn>
                    <a:cxn ang="0">
                      <a:pos x="286" y="218"/>
                    </a:cxn>
                    <a:cxn ang="0">
                      <a:pos x="171" y="353"/>
                    </a:cxn>
                    <a:cxn ang="0">
                      <a:pos x="86" y="516"/>
                    </a:cxn>
                    <a:cxn ang="0">
                      <a:pos x="30" y="703"/>
                    </a:cxn>
                    <a:cxn ang="0">
                      <a:pos x="3" y="914"/>
                    </a:cxn>
                    <a:cxn ang="0">
                      <a:pos x="4" y="1161"/>
                    </a:cxn>
                    <a:cxn ang="0">
                      <a:pos x="35" y="1412"/>
                    </a:cxn>
                    <a:cxn ang="0">
                      <a:pos x="100" y="1639"/>
                    </a:cxn>
                    <a:cxn ang="0">
                      <a:pos x="197" y="1839"/>
                    </a:cxn>
                    <a:cxn ang="0">
                      <a:pos x="332" y="2006"/>
                    </a:cxn>
                    <a:cxn ang="0">
                      <a:pos x="503" y="2138"/>
                    </a:cxn>
                    <a:cxn ang="0">
                      <a:pos x="714" y="2231"/>
                    </a:cxn>
                    <a:cxn ang="0">
                      <a:pos x="964" y="2279"/>
                    </a:cxn>
                    <a:cxn ang="0">
                      <a:pos x="1181" y="2284"/>
                    </a:cxn>
                    <a:cxn ang="0">
                      <a:pos x="1337" y="2275"/>
                    </a:cxn>
                    <a:cxn ang="0">
                      <a:pos x="1490" y="2254"/>
                    </a:cxn>
                    <a:cxn ang="0">
                      <a:pos x="1642" y="2220"/>
                    </a:cxn>
                    <a:cxn ang="0">
                      <a:pos x="1667" y="1862"/>
                    </a:cxn>
                    <a:cxn ang="0">
                      <a:pos x="1483" y="1909"/>
                    </a:cxn>
                    <a:cxn ang="0">
                      <a:pos x="1376" y="1923"/>
                    </a:cxn>
                    <a:cxn ang="0">
                      <a:pos x="1252" y="1926"/>
                    </a:cxn>
                    <a:cxn ang="0">
                      <a:pos x="1077" y="1896"/>
                    </a:cxn>
                    <a:cxn ang="0">
                      <a:pos x="922" y="1829"/>
                    </a:cxn>
                    <a:cxn ang="0">
                      <a:pos x="787" y="1733"/>
                    </a:cxn>
                    <a:cxn ang="0">
                      <a:pos x="674" y="1609"/>
                    </a:cxn>
                    <a:cxn ang="0">
                      <a:pos x="583" y="1466"/>
                    </a:cxn>
                    <a:cxn ang="0">
                      <a:pos x="519" y="1308"/>
                    </a:cxn>
                    <a:cxn ang="0">
                      <a:pos x="482" y="1139"/>
                    </a:cxn>
                    <a:cxn ang="0">
                      <a:pos x="1771" y="1009"/>
                    </a:cxn>
                    <a:cxn ang="0">
                      <a:pos x="494" y="662"/>
                    </a:cxn>
                    <a:cxn ang="0">
                      <a:pos x="515" y="586"/>
                    </a:cxn>
                    <a:cxn ang="0">
                      <a:pos x="550" y="518"/>
                    </a:cxn>
                    <a:cxn ang="0">
                      <a:pos x="594" y="458"/>
                    </a:cxn>
                    <a:cxn ang="0">
                      <a:pos x="648" y="408"/>
                    </a:cxn>
                    <a:cxn ang="0">
                      <a:pos x="712" y="369"/>
                    </a:cxn>
                    <a:cxn ang="0">
                      <a:pos x="783" y="342"/>
                    </a:cxn>
                    <a:cxn ang="0">
                      <a:pos x="861" y="328"/>
                    </a:cxn>
                    <a:cxn ang="0">
                      <a:pos x="945" y="328"/>
                    </a:cxn>
                    <a:cxn ang="0">
                      <a:pos x="1025" y="341"/>
                    </a:cxn>
                    <a:cxn ang="0">
                      <a:pos x="1095" y="366"/>
                    </a:cxn>
                    <a:cxn ang="0">
                      <a:pos x="1156" y="404"/>
                    </a:cxn>
                    <a:cxn ang="0">
                      <a:pos x="1207" y="452"/>
                    </a:cxn>
                    <a:cxn ang="0">
                      <a:pos x="1245" y="512"/>
                    </a:cxn>
                    <a:cxn ang="0">
                      <a:pos x="1273" y="581"/>
                    </a:cxn>
                    <a:cxn ang="0">
                      <a:pos x="1286" y="659"/>
                    </a:cxn>
                  </a:cxnLst>
                  <a:rect l="0" t="0" r="r" b="b"/>
                  <a:pathLst>
                    <a:path w="1771" h="2285">
                      <a:moveTo>
                        <a:pt x="1771" y="1009"/>
                      </a:moveTo>
                      <a:lnTo>
                        <a:pt x="1771" y="886"/>
                      </a:lnTo>
                      <a:lnTo>
                        <a:pt x="1770" y="837"/>
                      </a:lnTo>
                      <a:lnTo>
                        <a:pt x="1768" y="788"/>
                      </a:lnTo>
                      <a:lnTo>
                        <a:pt x="1764" y="741"/>
                      </a:lnTo>
                      <a:lnTo>
                        <a:pt x="1758" y="695"/>
                      </a:lnTo>
                      <a:lnTo>
                        <a:pt x="1751" y="650"/>
                      </a:lnTo>
                      <a:lnTo>
                        <a:pt x="1742" y="607"/>
                      </a:lnTo>
                      <a:lnTo>
                        <a:pt x="1731" y="564"/>
                      </a:lnTo>
                      <a:lnTo>
                        <a:pt x="1719" y="523"/>
                      </a:lnTo>
                      <a:lnTo>
                        <a:pt x="1706" y="483"/>
                      </a:lnTo>
                      <a:lnTo>
                        <a:pt x="1690" y="445"/>
                      </a:lnTo>
                      <a:lnTo>
                        <a:pt x="1673" y="408"/>
                      </a:lnTo>
                      <a:lnTo>
                        <a:pt x="1654" y="372"/>
                      </a:lnTo>
                      <a:lnTo>
                        <a:pt x="1634" y="338"/>
                      </a:lnTo>
                      <a:lnTo>
                        <a:pt x="1612" y="305"/>
                      </a:lnTo>
                      <a:lnTo>
                        <a:pt x="1588" y="274"/>
                      </a:lnTo>
                      <a:lnTo>
                        <a:pt x="1564" y="243"/>
                      </a:lnTo>
                      <a:lnTo>
                        <a:pt x="1537" y="215"/>
                      </a:lnTo>
                      <a:lnTo>
                        <a:pt x="1508" y="189"/>
                      </a:lnTo>
                      <a:lnTo>
                        <a:pt x="1478" y="164"/>
                      </a:lnTo>
                      <a:lnTo>
                        <a:pt x="1446" y="141"/>
                      </a:lnTo>
                      <a:lnTo>
                        <a:pt x="1413" y="119"/>
                      </a:lnTo>
                      <a:lnTo>
                        <a:pt x="1378" y="99"/>
                      </a:lnTo>
                      <a:lnTo>
                        <a:pt x="1341" y="81"/>
                      </a:lnTo>
                      <a:lnTo>
                        <a:pt x="1303" y="64"/>
                      </a:lnTo>
                      <a:lnTo>
                        <a:pt x="1263" y="49"/>
                      </a:lnTo>
                      <a:lnTo>
                        <a:pt x="1222" y="37"/>
                      </a:lnTo>
                      <a:lnTo>
                        <a:pt x="1179" y="25"/>
                      </a:lnTo>
                      <a:lnTo>
                        <a:pt x="1134" y="17"/>
                      </a:lnTo>
                      <a:lnTo>
                        <a:pt x="1088" y="10"/>
                      </a:lnTo>
                      <a:lnTo>
                        <a:pt x="1039" y="4"/>
                      </a:lnTo>
                      <a:lnTo>
                        <a:pt x="990" y="1"/>
                      </a:lnTo>
                      <a:lnTo>
                        <a:pt x="938" y="0"/>
                      </a:lnTo>
                      <a:lnTo>
                        <a:pt x="879" y="1"/>
                      </a:lnTo>
                      <a:lnTo>
                        <a:pt x="821" y="5"/>
                      </a:lnTo>
                      <a:lnTo>
                        <a:pt x="764" y="11"/>
                      </a:lnTo>
                      <a:lnTo>
                        <a:pt x="710" y="19"/>
                      </a:lnTo>
                      <a:lnTo>
                        <a:pt x="659" y="30"/>
                      </a:lnTo>
                      <a:lnTo>
                        <a:pt x="609" y="42"/>
                      </a:lnTo>
                      <a:lnTo>
                        <a:pt x="562" y="57"/>
                      </a:lnTo>
                      <a:lnTo>
                        <a:pt x="516" y="74"/>
                      </a:lnTo>
                      <a:lnTo>
                        <a:pt x="473" y="93"/>
                      </a:lnTo>
                      <a:lnTo>
                        <a:pt x="432" y="114"/>
                      </a:lnTo>
                      <a:lnTo>
                        <a:pt x="392" y="137"/>
                      </a:lnTo>
                      <a:lnTo>
                        <a:pt x="354" y="163"/>
                      </a:lnTo>
                      <a:lnTo>
                        <a:pt x="319" y="190"/>
                      </a:lnTo>
                      <a:lnTo>
                        <a:pt x="286" y="218"/>
                      </a:lnTo>
                      <a:lnTo>
                        <a:pt x="254" y="250"/>
                      </a:lnTo>
                      <a:lnTo>
                        <a:pt x="225" y="282"/>
                      </a:lnTo>
                      <a:lnTo>
                        <a:pt x="196" y="317"/>
                      </a:lnTo>
                      <a:lnTo>
                        <a:pt x="171" y="353"/>
                      </a:lnTo>
                      <a:lnTo>
                        <a:pt x="147" y="391"/>
                      </a:lnTo>
                      <a:lnTo>
                        <a:pt x="125" y="431"/>
                      </a:lnTo>
                      <a:lnTo>
                        <a:pt x="104" y="473"/>
                      </a:lnTo>
                      <a:lnTo>
                        <a:pt x="86" y="516"/>
                      </a:lnTo>
                      <a:lnTo>
                        <a:pt x="69" y="560"/>
                      </a:lnTo>
                      <a:lnTo>
                        <a:pt x="54" y="606"/>
                      </a:lnTo>
                      <a:lnTo>
                        <a:pt x="42" y="654"/>
                      </a:lnTo>
                      <a:lnTo>
                        <a:pt x="30" y="703"/>
                      </a:lnTo>
                      <a:lnTo>
                        <a:pt x="21" y="754"/>
                      </a:lnTo>
                      <a:lnTo>
                        <a:pt x="13" y="806"/>
                      </a:lnTo>
                      <a:lnTo>
                        <a:pt x="7" y="860"/>
                      </a:lnTo>
                      <a:lnTo>
                        <a:pt x="3" y="914"/>
                      </a:lnTo>
                      <a:lnTo>
                        <a:pt x="1" y="971"/>
                      </a:lnTo>
                      <a:lnTo>
                        <a:pt x="0" y="1028"/>
                      </a:lnTo>
                      <a:lnTo>
                        <a:pt x="1" y="1095"/>
                      </a:lnTo>
                      <a:lnTo>
                        <a:pt x="4" y="1161"/>
                      </a:lnTo>
                      <a:lnTo>
                        <a:pt x="8" y="1225"/>
                      </a:lnTo>
                      <a:lnTo>
                        <a:pt x="16" y="1289"/>
                      </a:lnTo>
                      <a:lnTo>
                        <a:pt x="24" y="1351"/>
                      </a:lnTo>
                      <a:lnTo>
                        <a:pt x="35" y="1412"/>
                      </a:lnTo>
                      <a:lnTo>
                        <a:pt x="48" y="1471"/>
                      </a:lnTo>
                      <a:lnTo>
                        <a:pt x="63" y="1528"/>
                      </a:lnTo>
                      <a:lnTo>
                        <a:pt x="80" y="1585"/>
                      </a:lnTo>
                      <a:lnTo>
                        <a:pt x="100" y="1639"/>
                      </a:lnTo>
                      <a:lnTo>
                        <a:pt x="121" y="1692"/>
                      </a:lnTo>
                      <a:lnTo>
                        <a:pt x="144" y="1742"/>
                      </a:lnTo>
                      <a:lnTo>
                        <a:pt x="170" y="1791"/>
                      </a:lnTo>
                      <a:lnTo>
                        <a:pt x="197" y="1839"/>
                      </a:lnTo>
                      <a:lnTo>
                        <a:pt x="228" y="1884"/>
                      </a:lnTo>
                      <a:lnTo>
                        <a:pt x="260" y="1927"/>
                      </a:lnTo>
                      <a:lnTo>
                        <a:pt x="295" y="1967"/>
                      </a:lnTo>
                      <a:lnTo>
                        <a:pt x="332" y="2006"/>
                      </a:lnTo>
                      <a:lnTo>
                        <a:pt x="372" y="2043"/>
                      </a:lnTo>
                      <a:lnTo>
                        <a:pt x="413" y="2077"/>
                      </a:lnTo>
                      <a:lnTo>
                        <a:pt x="457" y="2109"/>
                      </a:lnTo>
                      <a:lnTo>
                        <a:pt x="503" y="2138"/>
                      </a:lnTo>
                      <a:lnTo>
                        <a:pt x="553" y="2166"/>
                      </a:lnTo>
                      <a:lnTo>
                        <a:pt x="603" y="2190"/>
                      </a:lnTo>
                      <a:lnTo>
                        <a:pt x="657" y="2212"/>
                      </a:lnTo>
                      <a:lnTo>
                        <a:pt x="714" y="2231"/>
                      </a:lnTo>
                      <a:lnTo>
                        <a:pt x="772" y="2247"/>
                      </a:lnTo>
                      <a:lnTo>
                        <a:pt x="833" y="2261"/>
                      </a:lnTo>
                      <a:lnTo>
                        <a:pt x="897" y="2271"/>
                      </a:lnTo>
                      <a:lnTo>
                        <a:pt x="964" y="2279"/>
                      </a:lnTo>
                      <a:lnTo>
                        <a:pt x="1032" y="2284"/>
                      </a:lnTo>
                      <a:lnTo>
                        <a:pt x="1105" y="2285"/>
                      </a:lnTo>
                      <a:lnTo>
                        <a:pt x="1142" y="2285"/>
                      </a:lnTo>
                      <a:lnTo>
                        <a:pt x="1181" y="2284"/>
                      </a:lnTo>
                      <a:lnTo>
                        <a:pt x="1220" y="2283"/>
                      </a:lnTo>
                      <a:lnTo>
                        <a:pt x="1259" y="2281"/>
                      </a:lnTo>
                      <a:lnTo>
                        <a:pt x="1298" y="2278"/>
                      </a:lnTo>
                      <a:lnTo>
                        <a:pt x="1337" y="2275"/>
                      </a:lnTo>
                      <a:lnTo>
                        <a:pt x="1375" y="2270"/>
                      </a:lnTo>
                      <a:lnTo>
                        <a:pt x="1414" y="2265"/>
                      </a:lnTo>
                      <a:lnTo>
                        <a:pt x="1451" y="2260"/>
                      </a:lnTo>
                      <a:lnTo>
                        <a:pt x="1490" y="2254"/>
                      </a:lnTo>
                      <a:lnTo>
                        <a:pt x="1528" y="2246"/>
                      </a:lnTo>
                      <a:lnTo>
                        <a:pt x="1566" y="2239"/>
                      </a:lnTo>
                      <a:lnTo>
                        <a:pt x="1604" y="2229"/>
                      </a:lnTo>
                      <a:lnTo>
                        <a:pt x="1642" y="2220"/>
                      </a:lnTo>
                      <a:lnTo>
                        <a:pt x="1678" y="2210"/>
                      </a:lnTo>
                      <a:lnTo>
                        <a:pt x="1715" y="2198"/>
                      </a:lnTo>
                      <a:lnTo>
                        <a:pt x="1715" y="1845"/>
                      </a:lnTo>
                      <a:lnTo>
                        <a:pt x="1667" y="1862"/>
                      </a:lnTo>
                      <a:lnTo>
                        <a:pt x="1615" y="1877"/>
                      </a:lnTo>
                      <a:lnTo>
                        <a:pt x="1563" y="1891"/>
                      </a:lnTo>
                      <a:lnTo>
                        <a:pt x="1510" y="1904"/>
                      </a:lnTo>
                      <a:lnTo>
                        <a:pt x="1483" y="1909"/>
                      </a:lnTo>
                      <a:lnTo>
                        <a:pt x="1457" y="1913"/>
                      </a:lnTo>
                      <a:lnTo>
                        <a:pt x="1429" y="1917"/>
                      </a:lnTo>
                      <a:lnTo>
                        <a:pt x="1403" y="1920"/>
                      </a:lnTo>
                      <a:lnTo>
                        <a:pt x="1376" y="1923"/>
                      </a:lnTo>
                      <a:lnTo>
                        <a:pt x="1349" y="1926"/>
                      </a:lnTo>
                      <a:lnTo>
                        <a:pt x="1323" y="1927"/>
                      </a:lnTo>
                      <a:lnTo>
                        <a:pt x="1298" y="1928"/>
                      </a:lnTo>
                      <a:lnTo>
                        <a:pt x="1252" y="1926"/>
                      </a:lnTo>
                      <a:lnTo>
                        <a:pt x="1207" y="1922"/>
                      </a:lnTo>
                      <a:lnTo>
                        <a:pt x="1162" y="1916"/>
                      </a:lnTo>
                      <a:lnTo>
                        <a:pt x="1119" y="1907"/>
                      </a:lnTo>
                      <a:lnTo>
                        <a:pt x="1077" y="1896"/>
                      </a:lnTo>
                      <a:lnTo>
                        <a:pt x="1037" y="1883"/>
                      </a:lnTo>
                      <a:lnTo>
                        <a:pt x="997" y="1867"/>
                      </a:lnTo>
                      <a:lnTo>
                        <a:pt x="959" y="1849"/>
                      </a:lnTo>
                      <a:lnTo>
                        <a:pt x="922" y="1829"/>
                      </a:lnTo>
                      <a:lnTo>
                        <a:pt x="886" y="1808"/>
                      </a:lnTo>
                      <a:lnTo>
                        <a:pt x="851" y="1784"/>
                      </a:lnTo>
                      <a:lnTo>
                        <a:pt x="819" y="1759"/>
                      </a:lnTo>
                      <a:lnTo>
                        <a:pt x="787" y="1733"/>
                      </a:lnTo>
                      <a:lnTo>
                        <a:pt x="757" y="1703"/>
                      </a:lnTo>
                      <a:lnTo>
                        <a:pt x="727" y="1674"/>
                      </a:lnTo>
                      <a:lnTo>
                        <a:pt x="700" y="1643"/>
                      </a:lnTo>
                      <a:lnTo>
                        <a:pt x="674" y="1609"/>
                      </a:lnTo>
                      <a:lnTo>
                        <a:pt x="648" y="1575"/>
                      </a:lnTo>
                      <a:lnTo>
                        <a:pt x="625" y="1540"/>
                      </a:lnTo>
                      <a:lnTo>
                        <a:pt x="603" y="1504"/>
                      </a:lnTo>
                      <a:lnTo>
                        <a:pt x="583" y="1466"/>
                      </a:lnTo>
                      <a:lnTo>
                        <a:pt x="565" y="1428"/>
                      </a:lnTo>
                      <a:lnTo>
                        <a:pt x="548" y="1389"/>
                      </a:lnTo>
                      <a:lnTo>
                        <a:pt x="533" y="1349"/>
                      </a:lnTo>
                      <a:lnTo>
                        <a:pt x="519" y="1308"/>
                      </a:lnTo>
                      <a:lnTo>
                        <a:pt x="507" y="1266"/>
                      </a:lnTo>
                      <a:lnTo>
                        <a:pt x="497" y="1224"/>
                      </a:lnTo>
                      <a:lnTo>
                        <a:pt x="489" y="1182"/>
                      </a:lnTo>
                      <a:lnTo>
                        <a:pt x="482" y="1139"/>
                      </a:lnTo>
                      <a:lnTo>
                        <a:pt x="478" y="1096"/>
                      </a:lnTo>
                      <a:lnTo>
                        <a:pt x="475" y="1054"/>
                      </a:lnTo>
                      <a:lnTo>
                        <a:pt x="474" y="1009"/>
                      </a:lnTo>
                      <a:lnTo>
                        <a:pt x="1771" y="1009"/>
                      </a:lnTo>
                      <a:close/>
                      <a:moveTo>
                        <a:pt x="1289" y="702"/>
                      </a:moveTo>
                      <a:lnTo>
                        <a:pt x="488" y="702"/>
                      </a:lnTo>
                      <a:lnTo>
                        <a:pt x="490" y="681"/>
                      </a:lnTo>
                      <a:lnTo>
                        <a:pt x="494" y="662"/>
                      </a:lnTo>
                      <a:lnTo>
                        <a:pt x="498" y="643"/>
                      </a:lnTo>
                      <a:lnTo>
                        <a:pt x="503" y="623"/>
                      </a:lnTo>
                      <a:lnTo>
                        <a:pt x="509" y="604"/>
                      </a:lnTo>
                      <a:lnTo>
                        <a:pt x="515" y="586"/>
                      </a:lnTo>
                      <a:lnTo>
                        <a:pt x="522" y="568"/>
                      </a:lnTo>
                      <a:lnTo>
                        <a:pt x="531" y="550"/>
                      </a:lnTo>
                      <a:lnTo>
                        <a:pt x="540" y="534"/>
                      </a:lnTo>
                      <a:lnTo>
                        <a:pt x="550" y="518"/>
                      </a:lnTo>
                      <a:lnTo>
                        <a:pt x="559" y="502"/>
                      </a:lnTo>
                      <a:lnTo>
                        <a:pt x="571" y="487"/>
                      </a:lnTo>
                      <a:lnTo>
                        <a:pt x="582" y="472"/>
                      </a:lnTo>
                      <a:lnTo>
                        <a:pt x="594" y="458"/>
                      </a:lnTo>
                      <a:lnTo>
                        <a:pt x="607" y="445"/>
                      </a:lnTo>
                      <a:lnTo>
                        <a:pt x="620" y="432"/>
                      </a:lnTo>
                      <a:lnTo>
                        <a:pt x="635" y="419"/>
                      </a:lnTo>
                      <a:lnTo>
                        <a:pt x="648" y="408"/>
                      </a:lnTo>
                      <a:lnTo>
                        <a:pt x="664" y="397"/>
                      </a:lnTo>
                      <a:lnTo>
                        <a:pt x="680" y="387"/>
                      </a:lnTo>
                      <a:lnTo>
                        <a:pt x="696" y="378"/>
                      </a:lnTo>
                      <a:lnTo>
                        <a:pt x="712" y="369"/>
                      </a:lnTo>
                      <a:lnTo>
                        <a:pt x="729" y="362"/>
                      </a:lnTo>
                      <a:lnTo>
                        <a:pt x="747" y="354"/>
                      </a:lnTo>
                      <a:lnTo>
                        <a:pt x="765" y="348"/>
                      </a:lnTo>
                      <a:lnTo>
                        <a:pt x="783" y="342"/>
                      </a:lnTo>
                      <a:lnTo>
                        <a:pt x="802" y="338"/>
                      </a:lnTo>
                      <a:lnTo>
                        <a:pt x="821" y="333"/>
                      </a:lnTo>
                      <a:lnTo>
                        <a:pt x="841" y="330"/>
                      </a:lnTo>
                      <a:lnTo>
                        <a:pt x="861" y="328"/>
                      </a:lnTo>
                      <a:lnTo>
                        <a:pt x="881" y="327"/>
                      </a:lnTo>
                      <a:lnTo>
                        <a:pt x="902" y="326"/>
                      </a:lnTo>
                      <a:lnTo>
                        <a:pt x="923" y="326"/>
                      </a:lnTo>
                      <a:lnTo>
                        <a:pt x="945" y="328"/>
                      </a:lnTo>
                      <a:lnTo>
                        <a:pt x="965" y="330"/>
                      </a:lnTo>
                      <a:lnTo>
                        <a:pt x="986" y="332"/>
                      </a:lnTo>
                      <a:lnTo>
                        <a:pt x="1005" y="337"/>
                      </a:lnTo>
                      <a:lnTo>
                        <a:pt x="1025" y="341"/>
                      </a:lnTo>
                      <a:lnTo>
                        <a:pt x="1043" y="346"/>
                      </a:lnTo>
                      <a:lnTo>
                        <a:pt x="1061" y="352"/>
                      </a:lnTo>
                      <a:lnTo>
                        <a:pt x="1078" y="359"/>
                      </a:lnTo>
                      <a:lnTo>
                        <a:pt x="1095" y="366"/>
                      </a:lnTo>
                      <a:lnTo>
                        <a:pt x="1111" y="374"/>
                      </a:lnTo>
                      <a:lnTo>
                        <a:pt x="1127" y="384"/>
                      </a:lnTo>
                      <a:lnTo>
                        <a:pt x="1142" y="393"/>
                      </a:lnTo>
                      <a:lnTo>
                        <a:pt x="1156" y="404"/>
                      </a:lnTo>
                      <a:lnTo>
                        <a:pt x="1170" y="415"/>
                      </a:lnTo>
                      <a:lnTo>
                        <a:pt x="1182" y="427"/>
                      </a:lnTo>
                      <a:lnTo>
                        <a:pt x="1195" y="439"/>
                      </a:lnTo>
                      <a:lnTo>
                        <a:pt x="1207" y="452"/>
                      </a:lnTo>
                      <a:lnTo>
                        <a:pt x="1217" y="467"/>
                      </a:lnTo>
                      <a:lnTo>
                        <a:pt x="1228" y="480"/>
                      </a:lnTo>
                      <a:lnTo>
                        <a:pt x="1237" y="496"/>
                      </a:lnTo>
                      <a:lnTo>
                        <a:pt x="1245" y="512"/>
                      </a:lnTo>
                      <a:lnTo>
                        <a:pt x="1254" y="528"/>
                      </a:lnTo>
                      <a:lnTo>
                        <a:pt x="1261" y="545"/>
                      </a:lnTo>
                      <a:lnTo>
                        <a:pt x="1267" y="563"/>
                      </a:lnTo>
                      <a:lnTo>
                        <a:pt x="1273" y="581"/>
                      </a:lnTo>
                      <a:lnTo>
                        <a:pt x="1277" y="600"/>
                      </a:lnTo>
                      <a:lnTo>
                        <a:pt x="1281" y="619"/>
                      </a:lnTo>
                      <a:lnTo>
                        <a:pt x="1284" y="640"/>
                      </a:lnTo>
                      <a:lnTo>
                        <a:pt x="1286" y="659"/>
                      </a:lnTo>
                      <a:lnTo>
                        <a:pt x="1287" y="680"/>
                      </a:lnTo>
                      <a:lnTo>
                        <a:pt x="1289"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grpSp>
      </p:grpSp>
      <p:sp>
        <p:nvSpPr>
          <p:cNvPr id="69" name="Freeform 5"/>
          <p:cNvSpPr>
            <a:spLocks noChangeAspect="1" noEditPoints="1"/>
          </p:cNvSpPr>
          <p:nvPr userDrawn="1"/>
        </p:nvSpPr>
        <p:spPr bwMode="auto">
          <a:xfrm>
            <a:off x="5095815" y="845968"/>
            <a:ext cx="3618831" cy="188723"/>
          </a:xfrm>
          <a:custGeom>
            <a:avLst/>
            <a:gdLst>
              <a:gd name="T0" fmla="*/ 140 w 13706"/>
              <a:gd name="T1" fmla="*/ 64 h 628"/>
              <a:gd name="T2" fmla="*/ 13662 w 13706"/>
              <a:gd name="T3" fmla="*/ 399 h 628"/>
              <a:gd name="T4" fmla="*/ 13634 w 13706"/>
              <a:gd name="T5" fmla="*/ 304 h 628"/>
              <a:gd name="T6" fmla="*/ 13214 w 13706"/>
              <a:gd name="T7" fmla="*/ 479 h 628"/>
              <a:gd name="T8" fmla="*/ 13011 w 13706"/>
              <a:gd name="T9" fmla="*/ 199 h 628"/>
              <a:gd name="T10" fmla="*/ 12760 w 13706"/>
              <a:gd name="T11" fmla="*/ 169 h 628"/>
              <a:gd name="T12" fmla="*/ 12653 w 13706"/>
              <a:gd name="T13" fmla="*/ 486 h 628"/>
              <a:gd name="T14" fmla="*/ 12694 w 13706"/>
              <a:gd name="T15" fmla="*/ 206 h 628"/>
              <a:gd name="T16" fmla="*/ 12403 w 13706"/>
              <a:gd name="T17" fmla="*/ 338 h 628"/>
              <a:gd name="T18" fmla="*/ 12281 w 13706"/>
              <a:gd name="T19" fmla="*/ 248 h 628"/>
              <a:gd name="T20" fmla="*/ 12096 w 13706"/>
              <a:gd name="T21" fmla="*/ 229 h 628"/>
              <a:gd name="T22" fmla="*/ 11969 w 13706"/>
              <a:gd name="T23" fmla="*/ 477 h 628"/>
              <a:gd name="T24" fmla="*/ 11969 w 13706"/>
              <a:gd name="T25" fmla="*/ 477 h 628"/>
              <a:gd name="T26" fmla="*/ 11505 w 13706"/>
              <a:gd name="T27" fmla="*/ 221 h 628"/>
              <a:gd name="T28" fmla="*/ 11116 w 13706"/>
              <a:gd name="T29" fmla="*/ 253 h 628"/>
              <a:gd name="T30" fmla="*/ 10813 w 13706"/>
              <a:gd name="T31" fmla="*/ 0 h 628"/>
              <a:gd name="T32" fmla="*/ 10560 w 13706"/>
              <a:gd name="T33" fmla="*/ 169 h 628"/>
              <a:gd name="T34" fmla="*/ 10112 w 13706"/>
              <a:gd name="T35" fmla="*/ 479 h 628"/>
              <a:gd name="T36" fmla="*/ 10024 w 13706"/>
              <a:gd name="T37" fmla="*/ 559 h 628"/>
              <a:gd name="T38" fmla="*/ 9827 w 13706"/>
              <a:gd name="T39" fmla="*/ 161 h 628"/>
              <a:gd name="T40" fmla="*/ 9369 w 13706"/>
              <a:gd name="T41" fmla="*/ 199 h 628"/>
              <a:gd name="T42" fmla="*/ 9123 w 13706"/>
              <a:gd name="T43" fmla="*/ 307 h 628"/>
              <a:gd name="T44" fmla="*/ 9167 w 13706"/>
              <a:gd name="T45" fmla="*/ 257 h 628"/>
              <a:gd name="T46" fmla="*/ 8669 w 13706"/>
              <a:gd name="T47" fmla="*/ 29 h 628"/>
              <a:gd name="T48" fmla="*/ 8458 w 13706"/>
              <a:gd name="T49" fmla="*/ 161 h 628"/>
              <a:gd name="T50" fmla="*/ 8103 w 13706"/>
              <a:gd name="T51" fmla="*/ 257 h 628"/>
              <a:gd name="T52" fmla="*/ 8210 w 13706"/>
              <a:gd name="T53" fmla="*/ 449 h 628"/>
              <a:gd name="T54" fmla="*/ 7930 w 13706"/>
              <a:gd name="T55" fmla="*/ 479 h 628"/>
              <a:gd name="T56" fmla="*/ 7250 w 13706"/>
              <a:gd name="T57" fmla="*/ 479 h 628"/>
              <a:gd name="T58" fmla="*/ 7061 w 13706"/>
              <a:gd name="T59" fmla="*/ 438 h 628"/>
              <a:gd name="T60" fmla="*/ 7105 w 13706"/>
              <a:gd name="T61" fmla="*/ 479 h 628"/>
              <a:gd name="T62" fmla="*/ 6762 w 13706"/>
              <a:gd name="T63" fmla="*/ 68 h 628"/>
              <a:gd name="T64" fmla="*/ 6549 w 13706"/>
              <a:gd name="T65" fmla="*/ 169 h 628"/>
              <a:gd name="T66" fmla="*/ 6330 w 13706"/>
              <a:gd name="T67" fmla="*/ 199 h 628"/>
              <a:gd name="T68" fmla="*/ 6403 w 13706"/>
              <a:gd name="T69" fmla="*/ 219 h 628"/>
              <a:gd name="T70" fmla="*/ 6091 w 13706"/>
              <a:gd name="T71" fmla="*/ 479 h 628"/>
              <a:gd name="T72" fmla="*/ 5808 w 13706"/>
              <a:gd name="T73" fmla="*/ 437 h 628"/>
              <a:gd name="T74" fmla="*/ 5823 w 13706"/>
              <a:gd name="T75" fmla="*/ 29 h 628"/>
              <a:gd name="T76" fmla="*/ 5107 w 13706"/>
              <a:gd name="T77" fmla="*/ 318 h 628"/>
              <a:gd name="T78" fmla="*/ 5105 w 13706"/>
              <a:gd name="T79" fmla="*/ 219 h 628"/>
              <a:gd name="T80" fmla="*/ 5107 w 13706"/>
              <a:gd name="T81" fmla="*/ 420 h 628"/>
              <a:gd name="T82" fmla="*/ 4667 w 13706"/>
              <a:gd name="T83" fmla="*/ 240 h 628"/>
              <a:gd name="T84" fmla="*/ 4467 w 13706"/>
              <a:gd name="T85" fmla="*/ 88 h 628"/>
              <a:gd name="T86" fmla="*/ 4230 w 13706"/>
              <a:gd name="T87" fmla="*/ 169 h 628"/>
              <a:gd name="T88" fmla="*/ 4406 w 13706"/>
              <a:gd name="T89" fmla="*/ 443 h 628"/>
              <a:gd name="T90" fmla="*/ 3866 w 13706"/>
              <a:gd name="T91" fmla="*/ 486 h 628"/>
              <a:gd name="T92" fmla="*/ 3964 w 13706"/>
              <a:gd name="T93" fmla="*/ 479 h 628"/>
              <a:gd name="T94" fmla="*/ 3634 w 13706"/>
              <a:gd name="T95" fmla="*/ 199 h 628"/>
              <a:gd name="T96" fmla="*/ 3367 w 13706"/>
              <a:gd name="T97" fmla="*/ 206 h 628"/>
              <a:gd name="T98" fmla="*/ 3457 w 13706"/>
              <a:gd name="T99" fmla="*/ 479 h 628"/>
              <a:gd name="T100" fmla="*/ 3031 w 13706"/>
              <a:gd name="T101" fmla="*/ 486 h 628"/>
              <a:gd name="T102" fmla="*/ 2749 w 13706"/>
              <a:gd name="T103" fmla="*/ 444 h 628"/>
              <a:gd name="T104" fmla="*/ 1793 w 13706"/>
              <a:gd name="T105" fmla="*/ 169 h 628"/>
              <a:gd name="T106" fmla="*/ 1562 w 13706"/>
              <a:gd name="T107" fmla="*/ 326 h 628"/>
              <a:gd name="T108" fmla="*/ 1699 w 13706"/>
              <a:gd name="T109" fmla="*/ 169 h 628"/>
              <a:gd name="T110" fmla="*/ 1349 w 13706"/>
              <a:gd name="T111" fmla="*/ 199 h 628"/>
              <a:gd name="T112" fmla="*/ 1281 w 13706"/>
              <a:gd name="T113" fmla="*/ 313 h 628"/>
              <a:gd name="T114" fmla="*/ 1061 w 13706"/>
              <a:gd name="T115" fmla="*/ 169 h 628"/>
              <a:gd name="T116" fmla="*/ 1187 w 13706"/>
              <a:gd name="T117" fmla="*/ 483 h 628"/>
              <a:gd name="T118" fmla="*/ 803 w 13706"/>
              <a:gd name="T119" fmla="*/ 486 h 628"/>
              <a:gd name="T120" fmla="*/ 899 w 13706"/>
              <a:gd name="T121" fmla="*/ 479 h 628"/>
              <a:gd name="T122" fmla="*/ 545 w 13706"/>
              <a:gd name="T123" fmla="*/ 479 h 628"/>
              <a:gd name="T124" fmla="*/ 400 w 13706"/>
              <a:gd name="T125" fmla="*/ 1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6" h="628">
                <a:moveTo>
                  <a:pt x="5" y="420"/>
                </a:moveTo>
                <a:cubicBezTo>
                  <a:pt x="40" y="435"/>
                  <a:pt x="76" y="444"/>
                  <a:pt x="115" y="444"/>
                </a:cubicBezTo>
                <a:cubicBezTo>
                  <a:pt x="163" y="444"/>
                  <a:pt x="212" y="422"/>
                  <a:pt x="212" y="367"/>
                </a:cubicBezTo>
                <a:cubicBezTo>
                  <a:pt x="212" y="317"/>
                  <a:pt x="176" y="299"/>
                  <a:pt x="137" y="276"/>
                </a:cubicBezTo>
                <a:lnTo>
                  <a:pt x="97" y="254"/>
                </a:lnTo>
                <a:cubicBezTo>
                  <a:pt x="48" y="227"/>
                  <a:pt x="0" y="203"/>
                  <a:pt x="0" y="137"/>
                </a:cubicBezTo>
                <a:cubicBezTo>
                  <a:pt x="0" y="53"/>
                  <a:pt x="72" y="22"/>
                  <a:pt x="145" y="22"/>
                </a:cubicBezTo>
                <a:cubicBezTo>
                  <a:pt x="177" y="22"/>
                  <a:pt x="208" y="28"/>
                  <a:pt x="239" y="34"/>
                </a:cubicBezTo>
                <a:lnTo>
                  <a:pt x="239" y="84"/>
                </a:lnTo>
                <a:cubicBezTo>
                  <a:pt x="208" y="71"/>
                  <a:pt x="174" y="64"/>
                  <a:pt x="140" y="64"/>
                </a:cubicBezTo>
                <a:cubicBezTo>
                  <a:pt x="97" y="64"/>
                  <a:pt x="56" y="84"/>
                  <a:pt x="56" y="133"/>
                </a:cubicBezTo>
                <a:cubicBezTo>
                  <a:pt x="56" y="174"/>
                  <a:pt x="99" y="195"/>
                  <a:pt x="131" y="213"/>
                </a:cubicBezTo>
                <a:lnTo>
                  <a:pt x="172" y="236"/>
                </a:lnTo>
                <a:cubicBezTo>
                  <a:pt x="225" y="266"/>
                  <a:pt x="268" y="292"/>
                  <a:pt x="268" y="360"/>
                </a:cubicBezTo>
                <a:cubicBezTo>
                  <a:pt x="268" y="454"/>
                  <a:pt x="191" y="486"/>
                  <a:pt x="109" y="486"/>
                </a:cubicBezTo>
                <a:cubicBezTo>
                  <a:pt x="73" y="486"/>
                  <a:pt x="39" y="481"/>
                  <a:pt x="5" y="473"/>
                </a:cubicBezTo>
                <a:lnTo>
                  <a:pt x="5" y="420"/>
                </a:lnTo>
                <a:close/>
                <a:moveTo>
                  <a:pt x="13506" y="433"/>
                </a:moveTo>
                <a:cubicBezTo>
                  <a:pt x="13532" y="441"/>
                  <a:pt x="13558" y="449"/>
                  <a:pt x="13586" y="449"/>
                </a:cubicBezTo>
                <a:cubicBezTo>
                  <a:pt x="13619" y="449"/>
                  <a:pt x="13662" y="440"/>
                  <a:pt x="13662" y="399"/>
                </a:cubicBezTo>
                <a:cubicBezTo>
                  <a:pt x="13662" y="368"/>
                  <a:pt x="13628" y="355"/>
                  <a:pt x="13606" y="343"/>
                </a:cubicBezTo>
                <a:lnTo>
                  <a:pt x="13577" y="328"/>
                </a:lnTo>
                <a:cubicBezTo>
                  <a:pt x="13541" y="309"/>
                  <a:pt x="13507" y="291"/>
                  <a:pt x="13507" y="244"/>
                </a:cubicBezTo>
                <a:cubicBezTo>
                  <a:pt x="13507" y="183"/>
                  <a:pt x="13560" y="161"/>
                  <a:pt x="13613" y="161"/>
                </a:cubicBezTo>
                <a:cubicBezTo>
                  <a:pt x="13639" y="161"/>
                  <a:pt x="13662" y="166"/>
                  <a:pt x="13686" y="172"/>
                </a:cubicBezTo>
                <a:lnTo>
                  <a:pt x="13686" y="213"/>
                </a:lnTo>
                <a:cubicBezTo>
                  <a:pt x="13664" y="205"/>
                  <a:pt x="13637" y="199"/>
                  <a:pt x="13614" y="199"/>
                </a:cubicBezTo>
                <a:cubicBezTo>
                  <a:pt x="13590" y="199"/>
                  <a:pt x="13551" y="209"/>
                  <a:pt x="13551" y="239"/>
                </a:cubicBezTo>
                <a:cubicBezTo>
                  <a:pt x="13551" y="265"/>
                  <a:pt x="13589" y="277"/>
                  <a:pt x="13607" y="288"/>
                </a:cubicBezTo>
                <a:lnTo>
                  <a:pt x="13634" y="304"/>
                </a:lnTo>
                <a:cubicBezTo>
                  <a:pt x="13672" y="326"/>
                  <a:pt x="13706" y="342"/>
                  <a:pt x="13706" y="392"/>
                </a:cubicBezTo>
                <a:cubicBezTo>
                  <a:pt x="13706" y="462"/>
                  <a:pt x="13652" y="486"/>
                  <a:pt x="13590" y="486"/>
                </a:cubicBezTo>
                <a:cubicBezTo>
                  <a:pt x="13562" y="486"/>
                  <a:pt x="13534" y="482"/>
                  <a:pt x="13506" y="473"/>
                </a:cubicBezTo>
                <a:lnTo>
                  <a:pt x="13506" y="433"/>
                </a:lnTo>
                <a:close/>
                <a:moveTo>
                  <a:pt x="13392" y="479"/>
                </a:moveTo>
                <a:lnTo>
                  <a:pt x="13392" y="307"/>
                </a:lnTo>
                <a:cubicBezTo>
                  <a:pt x="13392" y="272"/>
                  <a:pt x="13398" y="206"/>
                  <a:pt x="13346" y="206"/>
                </a:cubicBezTo>
                <a:cubicBezTo>
                  <a:pt x="13284" y="206"/>
                  <a:pt x="13258" y="303"/>
                  <a:pt x="13258" y="351"/>
                </a:cubicBezTo>
                <a:lnTo>
                  <a:pt x="13258" y="479"/>
                </a:lnTo>
                <a:lnTo>
                  <a:pt x="13214" y="479"/>
                </a:lnTo>
                <a:lnTo>
                  <a:pt x="13214" y="169"/>
                </a:lnTo>
                <a:lnTo>
                  <a:pt x="13258" y="169"/>
                </a:lnTo>
                <a:lnTo>
                  <a:pt x="13258" y="240"/>
                </a:lnTo>
                <a:lnTo>
                  <a:pt x="13260" y="240"/>
                </a:lnTo>
                <a:cubicBezTo>
                  <a:pt x="13275" y="192"/>
                  <a:pt x="13303" y="161"/>
                  <a:pt x="13357" y="161"/>
                </a:cubicBezTo>
                <a:cubicBezTo>
                  <a:pt x="13411" y="161"/>
                  <a:pt x="13436" y="208"/>
                  <a:pt x="13436" y="257"/>
                </a:cubicBezTo>
                <a:lnTo>
                  <a:pt x="13436" y="479"/>
                </a:lnTo>
                <a:lnTo>
                  <a:pt x="13392" y="479"/>
                </a:lnTo>
                <a:close/>
                <a:moveTo>
                  <a:pt x="13088" y="324"/>
                </a:moveTo>
                <a:cubicBezTo>
                  <a:pt x="13088" y="274"/>
                  <a:pt x="13076" y="199"/>
                  <a:pt x="13011" y="199"/>
                </a:cubicBezTo>
                <a:cubicBezTo>
                  <a:pt x="12946" y="199"/>
                  <a:pt x="12935" y="274"/>
                  <a:pt x="12935" y="324"/>
                </a:cubicBezTo>
                <a:cubicBezTo>
                  <a:pt x="12935" y="373"/>
                  <a:pt x="12946" y="449"/>
                  <a:pt x="13011" y="449"/>
                </a:cubicBezTo>
                <a:cubicBezTo>
                  <a:pt x="13076" y="449"/>
                  <a:pt x="13088" y="374"/>
                  <a:pt x="13088" y="324"/>
                </a:cubicBezTo>
                <a:close/>
                <a:moveTo>
                  <a:pt x="12884" y="325"/>
                </a:moveTo>
                <a:cubicBezTo>
                  <a:pt x="12884" y="241"/>
                  <a:pt x="12914" y="161"/>
                  <a:pt x="13011" y="161"/>
                </a:cubicBezTo>
                <a:cubicBezTo>
                  <a:pt x="13108" y="161"/>
                  <a:pt x="13139" y="241"/>
                  <a:pt x="13139" y="325"/>
                </a:cubicBezTo>
                <a:cubicBezTo>
                  <a:pt x="13139" y="409"/>
                  <a:pt x="13108" y="486"/>
                  <a:pt x="13011" y="486"/>
                </a:cubicBezTo>
                <a:cubicBezTo>
                  <a:pt x="12914" y="486"/>
                  <a:pt x="12884" y="409"/>
                  <a:pt x="12884" y="325"/>
                </a:cubicBezTo>
                <a:close/>
                <a:moveTo>
                  <a:pt x="12760" y="479"/>
                </a:moveTo>
                <a:lnTo>
                  <a:pt x="12760" y="169"/>
                </a:lnTo>
                <a:lnTo>
                  <a:pt x="12804" y="169"/>
                </a:lnTo>
                <a:lnTo>
                  <a:pt x="12804" y="479"/>
                </a:lnTo>
                <a:lnTo>
                  <a:pt x="12760" y="479"/>
                </a:lnTo>
                <a:close/>
                <a:moveTo>
                  <a:pt x="12752" y="88"/>
                </a:moveTo>
                <a:lnTo>
                  <a:pt x="12752" y="29"/>
                </a:lnTo>
                <a:lnTo>
                  <a:pt x="12811" y="29"/>
                </a:lnTo>
                <a:lnTo>
                  <a:pt x="12811" y="88"/>
                </a:lnTo>
                <a:lnTo>
                  <a:pt x="12752" y="88"/>
                </a:lnTo>
                <a:close/>
                <a:moveTo>
                  <a:pt x="12692" y="483"/>
                </a:moveTo>
                <a:cubicBezTo>
                  <a:pt x="12679" y="485"/>
                  <a:pt x="12666" y="486"/>
                  <a:pt x="12653" y="486"/>
                </a:cubicBezTo>
                <a:cubicBezTo>
                  <a:pt x="12594" y="486"/>
                  <a:pt x="12567" y="467"/>
                  <a:pt x="12567" y="406"/>
                </a:cubicBezTo>
                <a:lnTo>
                  <a:pt x="12567" y="206"/>
                </a:lnTo>
                <a:lnTo>
                  <a:pt x="12516" y="206"/>
                </a:lnTo>
                <a:lnTo>
                  <a:pt x="12516" y="169"/>
                </a:lnTo>
                <a:lnTo>
                  <a:pt x="12567" y="169"/>
                </a:lnTo>
                <a:lnTo>
                  <a:pt x="12567" y="96"/>
                </a:lnTo>
                <a:lnTo>
                  <a:pt x="12611" y="68"/>
                </a:lnTo>
                <a:lnTo>
                  <a:pt x="12611" y="169"/>
                </a:lnTo>
                <a:lnTo>
                  <a:pt x="12694" y="169"/>
                </a:lnTo>
                <a:lnTo>
                  <a:pt x="12694" y="206"/>
                </a:lnTo>
                <a:lnTo>
                  <a:pt x="12611" y="206"/>
                </a:lnTo>
                <a:lnTo>
                  <a:pt x="12611" y="397"/>
                </a:lnTo>
                <a:cubicBezTo>
                  <a:pt x="12611" y="430"/>
                  <a:pt x="12626" y="449"/>
                  <a:pt x="12662" y="449"/>
                </a:cubicBezTo>
                <a:cubicBezTo>
                  <a:pt x="12674" y="449"/>
                  <a:pt x="12681" y="448"/>
                  <a:pt x="12692" y="443"/>
                </a:cubicBezTo>
                <a:lnTo>
                  <a:pt x="12692" y="483"/>
                </a:lnTo>
                <a:close/>
                <a:moveTo>
                  <a:pt x="12377" y="338"/>
                </a:moveTo>
                <a:cubicBezTo>
                  <a:pt x="12338" y="338"/>
                  <a:pt x="12276" y="355"/>
                  <a:pt x="12276" y="404"/>
                </a:cubicBezTo>
                <a:cubicBezTo>
                  <a:pt x="12276" y="430"/>
                  <a:pt x="12293" y="449"/>
                  <a:pt x="12319" y="449"/>
                </a:cubicBezTo>
                <a:cubicBezTo>
                  <a:pt x="12349" y="449"/>
                  <a:pt x="12379" y="429"/>
                  <a:pt x="12392" y="401"/>
                </a:cubicBezTo>
                <a:cubicBezTo>
                  <a:pt x="12402" y="378"/>
                  <a:pt x="12403" y="364"/>
                  <a:pt x="12403" y="338"/>
                </a:cubicBezTo>
                <a:lnTo>
                  <a:pt x="12377" y="338"/>
                </a:lnTo>
                <a:close/>
                <a:moveTo>
                  <a:pt x="12405" y="479"/>
                </a:moveTo>
                <a:lnTo>
                  <a:pt x="12405" y="438"/>
                </a:lnTo>
                <a:lnTo>
                  <a:pt x="12403" y="438"/>
                </a:lnTo>
                <a:cubicBezTo>
                  <a:pt x="12386" y="471"/>
                  <a:pt x="12343" y="486"/>
                  <a:pt x="12308" y="486"/>
                </a:cubicBezTo>
                <a:cubicBezTo>
                  <a:pt x="12254" y="486"/>
                  <a:pt x="12225" y="452"/>
                  <a:pt x="12225" y="400"/>
                </a:cubicBezTo>
                <a:cubicBezTo>
                  <a:pt x="12225" y="330"/>
                  <a:pt x="12305" y="301"/>
                  <a:pt x="12403" y="301"/>
                </a:cubicBezTo>
                <a:lnTo>
                  <a:pt x="12403" y="295"/>
                </a:lnTo>
                <a:cubicBezTo>
                  <a:pt x="12403" y="248"/>
                  <a:pt x="12406" y="199"/>
                  <a:pt x="12345" y="199"/>
                </a:cubicBezTo>
                <a:cubicBezTo>
                  <a:pt x="12307" y="199"/>
                  <a:pt x="12287" y="211"/>
                  <a:pt x="12281" y="248"/>
                </a:cubicBezTo>
                <a:lnTo>
                  <a:pt x="12232" y="248"/>
                </a:lnTo>
                <a:cubicBezTo>
                  <a:pt x="12234" y="186"/>
                  <a:pt x="12287" y="161"/>
                  <a:pt x="12343" y="161"/>
                </a:cubicBezTo>
                <a:cubicBezTo>
                  <a:pt x="12414" y="161"/>
                  <a:pt x="12448" y="191"/>
                  <a:pt x="12448" y="261"/>
                </a:cubicBezTo>
                <a:lnTo>
                  <a:pt x="12448" y="479"/>
                </a:lnTo>
                <a:lnTo>
                  <a:pt x="12405" y="479"/>
                </a:lnTo>
                <a:close/>
                <a:moveTo>
                  <a:pt x="12050" y="479"/>
                </a:moveTo>
                <a:lnTo>
                  <a:pt x="12050" y="169"/>
                </a:lnTo>
                <a:lnTo>
                  <a:pt x="12095" y="169"/>
                </a:lnTo>
                <a:lnTo>
                  <a:pt x="12095" y="229"/>
                </a:lnTo>
                <a:lnTo>
                  <a:pt x="12096" y="229"/>
                </a:lnTo>
                <a:cubicBezTo>
                  <a:pt x="12116" y="184"/>
                  <a:pt x="12150" y="161"/>
                  <a:pt x="12200" y="161"/>
                </a:cubicBezTo>
                <a:lnTo>
                  <a:pt x="12200" y="209"/>
                </a:lnTo>
                <a:cubicBezTo>
                  <a:pt x="12119" y="209"/>
                  <a:pt x="12095" y="283"/>
                  <a:pt x="12095" y="351"/>
                </a:cubicBezTo>
                <a:lnTo>
                  <a:pt x="12095" y="479"/>
                </a:lnTo>
                <a:lnTo>
                  <a:pt x="12050" y="479"/>
                </a:lnTo>
                <a:close/>
                <a:moveTo>
                  <a:pt x="11925" y="257"/>
                </a:moveTo>
                <a:cubicBezTo>
                  <a:pt x="11925" y="223"/>
                  <a:pt x="11900" y="199"/>
                  <a:pt x="11866" y="199"/>
                </a:cubicBezTo>
                <a:cubicBezTo>
                  <a:pt x="11828" y="199"/>
                  <a:pt x="11808" y="223"/>
                  <a:pt x="11800" y="257"/>
                </a:cubicBezTo>
                <a:lnTo>
                  <a:pt x="11925" y="257"/>
                </a:lnTo>
                <a:close/>
                <a:moveTo>
                  <a:pt x="11969" y="477"/>
                </a:moveTo>
                <a:cubicBezTo>
                  <a:pt x="11946" y="484"/>
                  <a:pt x="11922" y="486"/>
                  <a:pt x="11898" y="486"/>
                </a:cubicBezTo>
                <a:cubicBezTo>
                  <a:pt x="11790" y="486"/>
                  <a:pt x="11746" y="415"/>
                  <a:pt x="11746" y="313"/>
                </a:cubicBezTo>
                <a:cubicBezTo>
                  <a:pt x="11746" y="233"/>
                  <a:pt x="11776" y="161"/>
                  <a:pt x="11868" y="161"/>
                </a:cubicBezTo>
                <a:cubicBezTo>
                  <a:pt x="11939" y="161"/>
                  <a:pt x="11976" y="210"/>
                  <a:pt x="11976" y="280"/>
                </a:cubicBezTo>
                <a:lnTo>
                  <a:pt x="11976" y="295"/>
                </a:lnTo>
                <a:lnTo>
                  <a:pt x="11797" y="295"/>
                </a:lnTo>
                <a:lnTo>
                  <a:pt x="11797" y="313"/>
                </a:lnTo>
                <a:cubicBezTo>
                  <a:pt x="11797" y="381"/>
                  <a:pt x="11831" y="449"/>
                  <a:pt x="11907" y="449"/>
                </a:cubicBezTo>
                <a:cubicBezTo>
                  <a:pt x="11929" y="449"/>
                  <a:pt x="11948" y="446"/>
                  <a:pt x="11969" y="441"/>
                </a:cubicBezTo>
                <a:lnTo>
                  <a:pt x="11969" y="477"/>
                </a:lnTo>
                <a:close/>
                <a:moveTo>
                  <a:pt x="11642" y="313"/>
                </a:moveTo>
                <a:cubicBezTo>
                  <a:pt x="11642" y="270"/>
                  <a:pt x="11634" y="199"/>
                  <a:pt x="11577" y="199"/>
                </a:cubicBezTo>
                <a:cubicBezTo>
                  <a:pt x="11520" y="199"/>
                  <a:pt x="11504" y="279"/>
                  <a:pt x="11504" y="323"/>
                </a:cubicBezTo>
                <a:cubicBezTo>
                  <a:pt x="11504" y="366"/>
                  <a:pt x="11517" y="449"/>
                  <a:pt x="11576" y="449"/>
                </a:cubicBezTo>
                <a:cubicBezTo>
                  <a:pt x="11637" y="449"/>
                  <a:pt x="11642" y="356"/>
                  <a:pt x="11642" y="313"/>
                </a:cubicBezTo>
                <a:close/>
                <a:moveTo>
                  <a:pt x="11460" y="619"/>
                </a:moveTo>
                <a:lnTo>
                  <a:pt x="11460" y="169"/>
                </a:lnTo>
                <a:lnTo>
                  <a:pt x="11504" y="169"/>
                </a:lnTo>
                <a:lnTo>
                  <a:pt x="11504" y="221"/>
                </a:lnTo>
                <a:lnTo>
                  <a:pt x="11505" y="221"/>
                </a:lnTo>
                <a:cubicBezTo>
                  <a:pt x="11516" y="185"/>
                  <a:pt x="11548" y="161"/>
                  <a:pt x="11586" y="161"/>
                </a:cubicBezTo>
                <a:cubicBezTo>
                  <a:pt x="11676" y="161"/>
                  <a:pt x="11693" y="249"/>
                  <a:pt x="11693" y="321"/>
                </a:cubicBezTo>
                <a:cubicBezTo>
                  <a:pt x="11693" y="388"/>
                  <a:pt x="11672" y="486"/>
                  <a:pt x="11587" y="486"/>
                </a:cubicBezTo>
                <a:cubicBezTo>
                  <a:pt x="11547" y="486"/>
                  <a:pt x="11518" y="467"/>
                  <a:pt x="11505" y="428"/>
                </a:cubicBezTo>
                <a:lnTo>
                  <a:pt x="11504" y="428"/>
                </a:lnTo>
                <a:lnTo>
                  <a:pt x="11504" y="619"/>
                </a:lnTo>
                <a:lnTo>
                  <a:pt x="11460" y="619"/>
                </a:lnTo>
                <a:close/>
                <a:moveTo>
                  <a:pt x="11325" y="253"/>
                </a:moveTo>
                <a:cubicBezTo>
                  <a:pt x="11325" y="182"/>
                  <a:pt x="11315" y="64"/>
                  <a:pt x="11221" y="64"/>
                </a:cubicBezTo>
                <a:cubicBezTo>
                  <a:pt x="11126" y="64"/>
                  <a:pt x="11116" y="182"/>
                  <a:pt x="11116" y="253"/>
                </a:cubicBezTo>
                <a:cubicBezTo>
                  <a:pt x="11116" y="324"/>
                  <a:pt x="11126" y="444"/>
                  <a:pt x="11221" y="444"/>
                </a:cubicBezTo>
                <a:cubicBezTo>
                  <a:pt x="11315" y="444"/>
                  <a:pt x="11325" y="323"/>
                  <a:pt x="11325" y="253"/>
                </a:cubicBezTo>
                <a:close/>
                <a:moveTo>
                  <a:pt x="11060" y="253"/>
                </a:moveTo>
                <a:cubicBezTo>
                  <a:pt x="11060" y="144"/>
                  <a:pt x="11088" y="22"/>
                  <a:pt x="11221" y="22"/>
                </a:cubicBezTo>
                <a:cubicBezTo>
                  <a:pt x="11353" y="22"/>
                  <a:pt x="11381" y="146"/>
                  <a:pt x="11381" y="253"/>
                </a:cubicBezTo>
                <a:cubicBezTo>
                  <a:pt x="11381" y="360"/>
                  <a:pt x="11353" y="486"/>
                  <a:pt x="11221" y="486"/>
                </a:cubicBezTo>
                <a:cubicBezTo>
                  <a:pt x="11088" y="486"/>
                  <a:pt x="11060" y="360"/>
                  <a:pt x="11060" y="253"/>
                </a:cubicBezTo>
                <a:close/>
                <a:moveTo>
                  <a:pt x="10779" y="628"/>
                </a:moveTo>
                <a:lnTo>
                  <a:pt x="10779" y="0"/>
                </a:lnTo>
                <a:lnTo>
                  <a:pt x="10813" y="0"/>
                </a:lnTo>
                <a:lnTo>
                  <a:pt x="10813" y="628"/>
                </a:lnTo>
                <a:lnTo>
                  <a:pt x="10779" y="628"/>
                </a:lnTo>
                <a:close/>
                <a:moveTo>
                  <a:pt x="10364" y="605"/>
                </a:moveTo>
                <a:lnTo>
                  <a:pt x="10408" y="479"/>
                </a:lnTo>
                <a:lnTo>
                  <a:pt x="10289" y="169"/>
                </a:lnTo>
                <a:lnTo>
                  <a:pt x="10337" y="169"/>
                </a:lnTo>
                <a:lnTo>
                  <a:pt x="10427" y="413"/>
                </a:lnTo>
                <a:lnTo>
                  <a:pt x="10429" y="413"/>
                </a:lnTo>
                <a:lnTo>
                  <a:pt x="10512" y="169"/>
                </a:lnTo>
                <a:lnTo>
                  <a:pt x="10560" y="169"/>
                </a:lnTo>
                <a:lnTo>
                  <a:pt x="10410" y="605"/>
                </a:lnTo>
                <a:lnTo>
                  <a:pt x="10364" y="605"/>
                </a:lnTo>
                <a:close/>
                <a:moveTo>
                  <a:pt x="10196" y="318"/>
                </a:moveTo>
                <a:cubicBezTo>
                  <a:pt x="10196" y="275"/>
                  <a:pt x="10178" y="199"/>
                  <a:pt x="10123" y="199"/>
                </a:cubicBezTo>
                <a:cubicBezTo>
                  <a:pt x="10065" y="199"/>
                  <a:pt x="10058" y="286"/>
                  <a:pt x="10058" y="326"/>
                </a:cubicBezTo>
                <a:cubicBezTo>
                  <a:pt x="10058" y="367"/>
                  <a:pt x="10066" y="442"/>
                  <a:pt x="10121" y="442"/>
                </a:cubicBezTo>
                <a:cubicBezTo>
                  <a:pt x="10178" y="442"/>
                  <a:pt x="10196" y="362"/>
                  <a:pt x="10196" y="318"/>
                </a:cubicBezTo>
                <a:close/>
                <a:moveTo>
                  <a:pt x="10196" y="420"/>
                </a:moveTo>
                <a:lnTo>
                  <a:pt x="10194" y="420"/>
                </a:lnTo>
                <a:cubicBezTo>
                  <a:pt x="10182" y="457"/>
                  <a:pt x="10151" y="479"/>
                  <a:pt x="10112" y="479"/>
                </a:cubicBezTo>
                <a:cubicBezTo>
                  <a:pt x="10027" y="479"/>
                  <a:pt x="10007" y="396"/>
                  <a:pt x="10007" y="326"/>
                </a:cubicBezTo>
                <a:cubicBezTo>
                  <a:pt x="10007" y="259"/>
                  <a:pt x="10028" y="161"/>
                  <a:pt x="10113" y="161"/>
                </a:cubicBezTo>
                <a:cubicBezTo>
                  <a:pt x="10151" y="161"/>
                  <a:pt x="10184" y="183"/>
                  <a:pt x="10194" y="219"/>
                </a:cubicBezTo>
                <a:lnTo>
                  <a:pt x="10196" y="219"/>
                </a:lnTo>
                <a:lnTo>
                  <a:pt x="10196" y="169"/>
                </a:lnTo>
                <a:lnTo>
                  <a:pt x="10240" y="169"/>
                </a:lnTo>
                <a:lnTo>
                  <a:pt x="10240" y="480"/>
                </a:lnTo>
                <a:cubicBezTo>
                  <a:pt x="10240" y="569"/>
                  <a:pt x="10198" y="615"/>
                  <a:pt x="10108" y="615"/>
                </a:cubicBezTo>
                <a:cubicBezTo>
                  <a:pt x="10078" y="615"/>
                  <a:pt x="10053" y="610"/>
                  <a:pt x="10024" y="604"/>
                </a:cubicBezTo>
                <a:lnTo>
                  <a:pt x="10024" y="559"/>
                </a:lnTo>
                <a:cubicBezTo>
                  <a:pt x="10049" y="572"/>
                  <a:pt x="10074" y="578"/>
                  <a:pt x="10102" y="578"/>
                </a:cubicBezTo>
                <a:cubicBezTo>
                  <a:pt x="10173" y="578"/>
                  <a:pt x="10196" y="541"/>
                  <a:pt x="10196" y="475"/>
                </a:cubicBezTo>
                <a:lnTo>
                  <a:pt x="10196" y="420"/>
                </a:lnTo>
                <a:close/>
                <a:moveTo>
                  <a:pt x="9904" y="324"/>
                </a:moveTo>
                <a:cubicBezTo>
                  <a:pt x="9904" y="274"/>
                  <a:pt x="9892" y="199"/>
                  <a:pt x="9827" y="199"/>
                </a:cubicBezTo>
                <a:cubicBezTo>
                  <a:pt x="9762" y="199"/>
                  <a:pt x="9751" y="274"/>
                  <a:pt x="9751" y="324"/>
                </a:cubicBezTo>
                <a:cubicBezTo>
                  <a:pt x="9751" y="373"/>
                  <a:pt x="9762" y="449"/>
                  <a:pt x="9827" y="449"/>
                </a:cubicBezTo>
                <a:cubicBezTo>
                  <a:pt x="9892" y="449"/>
                  <a:pt x="9904" y="374"/>
                  <a:pt x="9904" y="324"/>
                </a:cubicBezTo>
                <a:close/>
                <a:moveTo>
                  <a:pt x="9700" y="325"/>
                </a:moveTo>
                <a:cubicBezTo>
                  <a:pt x="9700" y="241"/>
                  <a:pt x="9730" y="161"/>
                  <a:pt x="9827" y="161"/>
                </a:cubicBezTo>
                <a:cubicBezTo>
                  <a:pt x="9924" y="161"/>
                  <a:pt x="9955" y="241"/>
                  <a:pt x="9955" y="325"/>
                </a:cubicBezTo>
                <a:cubicBezTo>
                  <a:pt x="9955" y="409"/>
                  <a:pt x="9924" y="486"/>
                  <a:pt x="9827" y="486"/>
                </a:cubicBezTo>
                <a:cubicBezTo>
                  <a:pt x="9730" y="486"/>
                  <a:pt x="9700" y="409"/>
                  <a:pt x="9700" y="325"/>
                </a:cubicBezTo>
                <a:close/>
                <a:moveTo>
                  <a:pt x="9576" y="479"/>
                </a:moveTo>
                <a:lnTo>
                  <a:pt x="9576" y="29"/>
                </a:lnTo>
                <a:lnTo>
                  <a:pt x="9620" y="29"/>
                </a:lnTo>
                <a:lnTo>
                  <a:pt x="9620" y="479"/>
                </a:lnTo>
                <a:lnTo>
                  <a:pt x="9576" y="479"/>
                </a:lnTo>
                <a:close/>
                <a:moveTo>
                  <a:pt x="9446" y="324"/>
                </a:moveTo>
                <a:cubicBezTo>
                  <a:pt x="9446" y="274"/>
                  <a:pt x="9433" y="199"/>
                  <a:pt x="9369" y="199"/>
                </a:cubicBezTo>
                <a:cubicBezTo>
                  <a:pt x="9304" y="199"/>
                  <a:pt x="9293" y="274"/>
                  <a:pt x="9293" y="324"/>
                </a:cubicBezTo>
                <a:cubicBezTo>
                  <a:pt x="9293" y="373"/>
                  <a:pt x="9304" y="449"/>
                  <a:pt x="9369" y="449"/>
                </a:cubicBezTo>
                <a:cubicBezTo>
                  <a:pt x="9434" y="449"/>
                  <a:pt x="9446" y="374"/>
                  <a:pt x="9446" y="324"/>
                </a:cubicBezTo>
                <a:close/>
                <a:moveTo>
                  <a:pt x="9242" y="325"/>
                </a:moveTo>
                <a:cubicBezTo>
                  <a:pt x="9242" y="241"/>
                  <a:pt x="9272" y="161"/>
                  <a:pt x="9369" y="161"/>
                </a:cubicBezTo>
                <a:cubicBezTo>
                  <a:pt x="9466" y="161"/>
                  <a:pt x="9497" y="241"/>
                  <a:pt x="9497" y="325"/>
                </a:cubicBezTo>
                <a:cubicBezTo>
                  <a:pt x="9497" y="409"/>
                  <a:pt x="9466" y="486"/>
                  <a:pt x="9369" y="486"/>
                </a:cubicBezTo>
                <a:cubicBezTo>
                  <a:pt x="9272" y="486"/>
                  <a:pt x="9242" y="409"/>
                  <a:pt x="9242" y="325"/>
                </a:cubicBezTo>
                <a:close/>
                <a:moveTo>
                  <a:pt x="9123" y="479"/>
                </a:moveTo>
                <a:lnTo>
                  <a:pt x="9123" y="307"/>
                </a:lnTo>
                <a:cubicBezTo>
                  <a:pt x="9123" y="272"/>
                  <a:pt x="9129" y="206"/>
                  <a:pt x="9077" y="206"/>
                </a:cubicBezTo>
                <a:cubicBezTo>
                  <a:pt x="9015" y="206"/>
                  <a:pt x="8989" y="303"/>
                  <a:pt x="8989" y="351"/>
                </a:cubicBezTo>
                <a:lnTo>
                  <a:pt x="8989" y="479"/>
                </a:lnTo>
                <a:lnTo>
                  <a:pt x="8945" y="479"/>
                </a:lnTo>
                <a:lnTo>
                  <a:pt x="8945" y="169"/>
                </a:lnTo>
                <a:lnTo>
                  <a:pt x="8989" y="169"/>
                </a:lnTo>
                <a:lnTo>
                  <a:pt x="8989" y="240"/>
                </a:lnTo>
                <a:lnTo>
                  <a:pt x="8990" y="240"/>
                </a:lnTo>
                <a:cubicBezTo>
                  <a:pt x="9006" y="192"/>
                  <a:pt x="9033" y="161"/>
                  <a:pt x="9087" y="161"/>
                </a:cubicBezTo>
                <a:cubicBezTo>
                  <a:pt x="9142" y="161"/>
                  <a:pt x="9167" y="208"/>
                  <a:pt x="9167" y="257"/>
                </a:cubicBezTo>
                <a:lnTo>
                  <a:pt x="9167" y="479"/>
                </a:lnTo>
                <a:lnTo>
                  <a:pt x="9123" y="479"/>
                </a:lnTo>
                <a:close/>
                <a:moveTo>
                  <a:pt x="8803" y="479"/>
                </a:moveTo>
                <a:lnTo>
                  <a:pt x="8803" y="307"/>
                </a:lnTo>
                <a:cubicBezTo>
                  <a:pt x="8803" y="272"/>
                  <a:pt x="8809" y="206"/>
                  <a:pt x="8757" y="206"/>
                </a:cubicBezTo>
                <a:cubicBezTo>
                  <a:pt x="8695" y="206"/>
                  <a:pt x="8669" y="303"/>
                  <a:pt x="8669" y="351"/>
                </a:cubicBezTo>
                <a:lnTo>
                  <a:pt x="8669" y="479"/>
                </a:lnTo>
                <a:lnTo>
                  <a:pt x="8625" y="479"/>
                </a:lnTo>
                <a:lnTo>
                  <a:pt x="8625" y="29"/>
                </a:lnTo>
                <a:lnTo>
                  <a:pt x="8669" y="29"/>
                </a:lnTo>
                <a:lnTo>
                  <a:pt x="8669" y="240"/>
                </a:lnTo>
                <a:lnTo>
                  <a:pt x="8670" y="240"/>
                </a:lnTo>
                <a:cubicBezTo>
                  <a:pt x="8686" y="192"/>
                  <a:pt x="8714" y="161"/>
                  <a:pt x="8768" y="161"/>
                </a:cubicBezTo>
                <a:cubicBezTo>
                  <a:pt x="8822" y="161"/>
                  <a:pt x="8847" y="208"/>
                  <a:pt x="8847" y="257"/>
                </a:cubicBezTo>
                <a:lnTo>
                  <a:pt x="8847" y="479"/>
                </a:lnTo>
                <a:lnTo>
                  <a:pt x="8803" y="479"/>
                </a:lnTo>
                <a:close/>
                <a:moveTo>
                  <a:pt x="8556" y="478"/>
                </a:moveTo>
                <a:cubicBezTo>
                  <a:pt x="8534" y="484"/>
                  <a:pt x="8514" y="486"/>
                  <a:pt x="8491" y="486"/>
                </a:cubicBezTo>
                <a:cubicBezTo>
                  <a:pt x="8384" y="486"/>
                  <a:pt x="8331" y="421"/>
                  <a:pt x="8331" y="317"/>
                </a:cubicBezTo>
                <a:cubicBezTo>
                  <a:pt x="8331" y="232"/>
                  <a:pt x="8362" y="161"/>
                  <a:pt x="8458" y="161"/>
                </a:cubicBezTo>
                <a:cubicBezTo>
                  <a:pt x="8523" y="161"/>
                  <a:pt x="8564" y="196"/>
                  <a:pt x="8564" y="263"/>
                </a:cubicBezTo>
                <a:lnTo>
                  <a:pt x="8511" y="263"/>
                </a:lnTo>
                <a:cubicBezTo>
                  <a:pt x="8511" y="227"/>
                  <a:pt x="8495" y="199"/>
                  <a:pt x="8456" y="199"/>
                </a:cubicBezTo>
                <a:cubicBezTo>
                  <a:pt x="8399" y="199"/>
                  <a:pt x="8382" y="261"/>
                  <a:pt x="8382" y="307"/>
                </a:cubicBezTo>
                <a:cubicBezTo>
                  <a:pt x="8382" y="387"/>
                  <a:pt x="8417" y="449"/>
                  <a:pt x="8505" y="449"/>
                </a:cubicBezTo>
                <a:cubicBezTo>
                  <a:pt x="8523" y="449"/>
                  <a:pt x="8540" y="448"/>
                  <a:pt x="8556" y="443"/>
                </a:cubicBezTo>
                <a:lnTo>
                  <a:pt x="8556" y="478"/>
                </a:lnTo>
                <a:close/>
                <a:moveTo>
                  <a:pt x="8228" y="257"/>
                </a:moveTo>
                <a:cubicBezTo>
                  <a:pt x="8228" y="223"/>
                  <a:pt x="8203" y="199"/>
                  <a:pt x="8169" y="199"/>
                </a:cubicBezTo>
                <a:cubicBezTo>
                  <a:pt x="8131" y="199"/>
                  <a:pt x="8111" y="223"/>
                  <a:pt x="8103" y="257"/>
                </a:cubicBezTo>
                <a:lnTo>
                  <a:pt x="8228" y="257"/>
                </a:lnTo>
                <a:close/>
                <a:moveTo>
                  <a:pt x="8272" y="477"/>
                </a:moveTo>
                <a:cubicBezTo>
                  <a:pt x="8249" y="484"/>
                  <a:pt x="8225" y="486"/>
                  <a:pt x="8201" y="486"/>
                </a:cubicBezTo>
                <a:cubicBezTo>
                  <a:pt x="8093" y="486"/>
                  <a:pt x="8049" y="415"/>
                  <a:pt x="8049" y="313"/>
                </a:cubicBezTo>
                <a:cubicBezTo>
                  <a:pt x="8049" y="233"/>
                  <a:pt x="8079" y="161"/>
                  <a:pt x="8171" y="161"/>
                </a:cubicBezTo>
                <a:cubicBezTo>
                  <a:pt x="8242" y="161"/>
                  <a:pt x="8279" y="210"/>
                  <a:pt x="8279" y="280"/>
                </a:cubicBezTo>
                <a:lnTo>
                  <a:pt x="8279" y="295"/>
                </a:lnTo>
                <a:lnTo>
                  <a:pt x="8100" y="295"/>
                </a:lnTo>
                <a:lnTo>
                  <a:pt x="8100" y="313"/>
                </a:lnTo>
                <a:cubicBezTo>
                  <a:pt x="8100" y="381"/>
                  <a:pt x="8134" y="449"/>
                  <a:pt x="8210" y="449"/>
                </a:cubicBezTo>
                <a:cubicBezTo>
                  <a:pt x="8232" y="449"/>
                  <a:pt x="8251" y="446"/>
                  <a:pt x="8272" y="441"/>
                </a:cubicBezTo>
                <a:lnTo>
                  <a:pt x="8272" y="477"/>
                </a:lnTo>
                <a:close/>
                <a:moveTo>
                  <a:pt x="7879" y="479"/>
                </a:moveTo>
                <a:lnTo>
                  <a:pt x="7879" y="71"/>
                </a:lnTo>
                <a:lnTo>
                  <a:pt x="7771" y="71"/>
                </a:lnTo>
                <a:lnTo>
                  <a:pt x="7771" y="29"/>
                </a:lnTo>
                <a:lnTo>
                  <a:pt x="8037" y="29"/>
                </a:lnTo>
                <a:lnTo>
                  <a:pt x="8037" y="71"/>
                </a:lnTo>
                <a:lnTo>
                  <a:pt x="7930" y="71"/>
                </a:lnTo>
                <a:lnTo>
                  <a:pt x="7930" y="479"/>
                </a:lnTo>
                <a:lnTo>
                  <a:pt x="7879" y="479"/>
                </a:lnTo>
                <a:close/>
                <a:moveTo>
                  <a:pt x="7523" y="628"/>
                </a:moveTo>
                <a:lnTo>
                  <a:pt x="7523" y="0"/>
                </a:lnTo>
                <a:lnTo>
                  <a:pt x="7557" y="0"/>
                </a:lnTo>
                <a:lnTo>
                  <a:pt x="7557" y="628"/>
                </a:lnTo>
                <a:lnTo>
                  <a:pt x="7523" y="628"/>
                </a:lnTo>
                <a:close/>
                <a:moveTo>
                  <a:pt x="7206" y="479"/>
                </a:moveTo>
                <a:lnTo>
                  <a:pt x="7206" y="29"/>
                </a:lnTo>
                <a:lnTo>
                  <a:pt x="7250" y="29"/>
                </a:lnTo>
                <a:lnTo>
                  <a:pt x="7250" y="479"/>
                </a:lnTo>
                <a:lnTo>
                  <a:pt x="7206" y="479"/>
                </a:lnTo>
                <a:close/>
                <a:moveTo>
                  <a:pt x="7034" y="338"/>
                </a:moveTo>
                <a:cubicBezTo>
                  <a:pt x="6995" y="338"/>
                  <a:pt x="6933" y="355"/>
                  <a:pt x="6933" y="404"/>
                </a:cubicBezTo>
                <a:cubicBezTo>
                  <a:pt x="6933" y="430"/>
                  <a:pt x="6950" y="449"/>
                  <a:pt x="6976" y="449"/>
                </a:cubicBezTo>
                <a:cubicBezTo>
                  <a:pt x="7006" y="449"/>
                  <a:pt x="7036" y="429"/>
                  <a:pt x="7049" y="401"/>
                </a:cubicBezTo>
                <a:cubicBezTo>
                  <a:pt x="7059" y="378"/>
                  <a:pt x="7061" y="364"/>
                  <a:pt x="7061" y="338"/>
                </a:cubicBezTo>
                <a:lnTo>
                  <a:pt x="7034" y="338"/>
                </a:lnTo>
                <a:close/>
                <a:moveTo>
                  <a:pt x="7062" y="479"/>
                </a:moveTo>
                <a:lnTo>
                  <a:pt x="7062" y="438"/>
                </a:lnTo>
                <a:lnTo>
                  <a:pt x="7061" y="438"/>
                </a:lnTo>
                <a:cubicBezTo>
                  <a:pt x="7044" y="471"/>
                  <a:pt x="7000" y="486"/>
                  <a:pt x="6965" y="486"/>
                </a:cubicBezTo>
                <a:cubicBezTo>
                  <a:pt x="6911" y="486"/>
                  <a:pt x="6882" y="452"/>
                  <a:pt x="6882" y="400"/>
                </a:cubicBezTo>
                <a:cubicBezTo>
                  <a:pt x="6882" y="330"/>
                  <a:pt x="6963" y="301"/>
                  <a:pt x="7061" y="301"/>
                </a:cubicBezTo>
                <a:lnTo>
                  <a:pt x="7061" y="295"/>
                </a:lnTo>
                <a:cubicBezTo>
                  <a:pt x="7061" y="248"/>
                  <a:pt x="7063" y="199"/>
                  <a:pt x="7002" y="199"/>
                </a:cubicBezTo>
                <a:cubicBezTo>
                  <a:pt x="6965" y="199"/>
                  <a:pt x="6944" y="211"/>
                  <a:pt x="6939" y="248"/>
                </a:cubicBezTo>
                <a:lnTo>
                  <a:pt x="6889" y="248"/>
                </a:lnTo>
                <a:cubicBezTo>
                  <a:pt x="6891" y="186"/>
                  <a:pt x="6944" y="161"/>
                  <a:pt x="7001" y="161"/>
                </a:cubicBezTo>
                <a:cubicBezTo>
                  <a:pt x="7071" y="161"/>
                  <a:pt x="7105" y="191"/>
                  <a:pt x="7105" y="261"/>
                </a:cubicBezTo>
                <a:lnTo>
                  <a:pt x="7105" y="479"/>
                </a:lnTo>
                <a:lnTo>
                  <a:pt x="7062" y="479"/>
                </a:lnTo>
                <a:close/>
                <a:moveTo>
                  <a:pt x="6843" y="483"/>
                </a:moveTo>
                <a:cubicBezTo>
                  <a:pt x="6829" y="485"/>
                  <a:pt x="6816" y="486"/>
                  <a:pt x="6803" y="486"/>
                </a:cubicBezTo>
                <a:cubicBezTo>
                  <a:pt x="6745" y="486"/>
                  <a:pt x="6717" y="467"/>
                  <a:pt x="6717" y="406"/>
                </a:cubicBezTo>
                <a:lnTo>
                  <a:pt x="6717" y="206"/>
                </a:lnTo>
                <a:lnTo>
                  <a:pt x="6666" y="206"/>
                </a:lnTo>
                <a:lnTo>
                  <a:pt x="6666" y="169"/>
                </a:lnTo>
                <a:lnTo>
                  <a:pt x="6717" y="169"/>
                </a:lnTo>
                <a:lnTo>
                  <a:pt x="6717" y="96"/>
                </a:lnTo>
                <a:lnTo>
                  <a:pt x="6762" y="68"/>
                </a:lnTo>
                <a:lnTo>
                  <a:pt x="6762" y="169"/>
                </a:lnTo>
                <a:lnTo>
                  <a:pt x="6845" y="169"/>
                </a:lnTo>
                <a:lnTo>
                  <a:pt x="6845" y="206"/>
                </a:lnTo>
                <a:lnTo>
                  <a:pt x="6762" y="206"/>
                </a:lnTo>
                <a:lnTo>
                  <a:pt x="6762" y="397"/>
                </a:lnTo>
                <a:cubicBezTo>
                  <a:pt x="6762" y="430"/>
                  <a:pt x="6777" y="449"/>
                  <a:pt x="6813" y="449"/>
                </a:cubicBezTo>
                <a:cubicBezTo>
                  <a:pt x="6825" y="449"/>
                  <a:pt x="6832" y="448"/>
                  <a:pt x="6843" y="443"/>
                </a:cubicBezTo>
                <a:lnTo>
                  <a:pt x="6843" y="483"/>
                </a:lnTo>
                <a:close/>
                <a:moveTo>
                  <a:pt x="6549" y="479"/>
                </a:moveTo>
                <a:lnTo>
                  <a:pt x="6549" y="169"/>
                </a:lnTo>
                <a:lnTo>
                  <a:pt x="6593" y="169"/>
                </a:lnTo>
                <a:lnTo>
                  <a:pt x="6593" y="479"/>
                </a:lnTo>
                <a:lnTo>
                  <a:pt x="6549" y="479"/>
                </a:lnTo>
                <a:close/>
                <a:moveTo>
                  <a:pt x="6542" y="88"/>
                </a:moveTo>
                <a:lnTo>
                  <a:pt x="6542" y="29"/>
                </a:lnTo>
                <a:lnTo>
                  <a:pt x="6600" y="29"/>
                </a:lnTo>
                <a:lnTo>
                  <a:pt x="6600" y="88"/>
                </a:lnTo>
                <a:lnTo>
                  <a:pt x="6542" y="88"/>
                </a:lnTo>
                <a:close/>
                <a:moveTo>
                  <a:pt x="6403" y="318"/>
                </a:moveTo>
                <a:cubicBezTo>
                  <a:pt x="6403" y="275"/>
                  <a:pt x="6386" y="199"/>
                  <a:pt x="6330" y="199"/>
                </a:cubicBezTo>
                <a:cubicBezTo>
                  <a:pt x="6273" y="199"/>
                  <a:pt x="6266" y="286"/>
                  <a:pt x="6266" y="326"/>
                </a:cubicBezTo>
                <a:cubicBezTo>
                  <a:pt x="6266" y="367"/>
                  <a:pt x="6274" y="442"/>
                  <a:pt x="6329" y="442"/>
                </a:cubicBezTo>
                <a:cubicBezTo>
                  <a:pt x="6386" y="442"/>
                  <a:pt x="6403" y="362"/>
                  <a:pt x="6403" y="318"/>
                </a:cubicBezTo>
                <a:close/>
                <a:moveTo>
                  <a:pt x="6403" y="420"/>
                </a:moveTo>
                <a:lnTo>
                  <a:pt x="6402" y="420"/>
                </a:lnTo>
                <a:cubicBezTo>
                  <a:pt x="6390" y="457"/>
                  <a:pt x="6358" y="479"/>
                  <a:pt x="6320" y="479"/>
                </a:cubicBezTo>
                <a:cubicBezTo>
                  <a:pt x="6234" y="479"/>
                  <a:pt x="6215" y="396"/>
                  <a:pt x="6215" y="326"/>
                </a:cubicBezTo>
                <a:cubicBezTo>
                  <a:pt x="6215" y="259"/>
                  <a:pt x="6236" y="161"/>
                  <a:pt x="6321" y="161"/>
                </a:cubicBezTo>
                <a:cubicBezTo>
                  <a:pt x="6358" y="161"/>
                  <a:pt x="6392" y="183"/>
                  <a:pt x="6402" y="219"/>
                </a:cubicBezTo>
                <a:lnTo>
                  <a:pt x="6403" y="219"/>
                </a:lnTo>
                <a:lnTo>
                  <a:pt x="6403" y="169"/>
                </a:lnTo>
                <a:lnTo>
                  <a:pt x="6448" y="169"/>
                </a:lnTo>
                <a:lnTo>
                  <a:pt x="6448" y="480"/>
                </a:lnTo>
                <a:cubicBezTo>
                  <a:pt x="6448" y="569"/>
                  <a:pt x="6405" y="615"/>
                  <a:pt x="6316" y="615"/>
                </a:cubicBezTo>
                <a:cubicBezTo>
                  <a:pt x="6285" y="615"/>
                  <a:pt x="6260" y="610"/>
                  <a:pt x="6232" y="604"/>
                </a:cubicBezTo>
                <a:lnTo>
                  <a:pt x="6232" y="559"/>
                </a:lnTo>
                <a:cubicBezTo>
                  <a:pt x="6257" y="572"/>
                  <a:pt x="6281" y="578"/>
                  <a:pt x="6309" y="578"/>
                </a:cubicBezTo>
                <a:cubicBezTo>
                  <a:pt x="6381" y="578"/>
                  <a:pt x="6403" y="541"/>
                  <a:pt x="6403" y="475"/>
                </a:cubicBezTo>
                <a:lnTo>
                  <a:pt x="6403" y="420"/>
                </a:lnTo>
                <a:close/>
                <a:moveTo>
                  <a:pt x="6091" y="479"/>
                </a:moveTo>
                <a:lnTo>
                  <a:pt x="6091" y="169"/>
                </a:lnTo>
                <a:lnTo>
                  <a:pt x="6135" y="169"/>
                </a:lnTo>
                <a:lnTo>
                  <a:pt x="6135" y="479"/>
                </a:lnTo>
                <a:lnTo>
                  <a:pt x="6091" y="479"/>
                </a:lnTo>
                <a:close/>
                <a:moveTo>
                  <a:pt x="6084" y="88"/>
                </a:moveTo>
                <a:lnTo>
                  <a:pt x="6084" y="29"/>
                </a:lnTo>
                <a:lnTo>
                  <a:pt x="6142" y="29"/>
                </a:lnTo>
                <a:lnTo>
                  <a:pt x="6142" y="88"/>
                </a:lnTo>
                <a:lnTo>
                  <a:pt x="6084" y="88"/>
                </a:lnTo>
                <a:close/>
                <a:moveTo>
                  <a:pt x="5808" y="437"/>
                </a:moveTo>
                <a:cubicBezTo>
                  <a:pt x="5833" y="437"/>
                  <a:pt x="5860" y="435"/>
                  <a:pt x="5884" y="424"/>
                </a:cubicBezTo>
                <a:cubicBezTo>
                  <a:pt x="5947" y="395"/>
                  <a:pt x="5952" y="313"/>
                  <a:pt x="5952" y="253"/>
                </a:cubicBezTo>
                <a:cubicBezTo>
                  <a:pt x="5952" y="189"/>
                  <a:pt x="5946" y="107"/>
                  <a:pt x="5875" y="81"/>
                </a:cubicBezTo>
                <a:cubicBezTo>
                  <a:pt x="5852" y="73"/>
                  <a:pt x="5827" y="71"/>
                  <a:pt x="5802" y="71"/>
                </a:cubicBezTo>
                <a:lnTo>
                  <a:pt x="5773" y="71"/>
                </a:lnTo>
                <a:lnTo>
                  <a:pt x="5773" y="437"/>
                </a:lnTo>
                <a:lnTo>
                  <a:pt x="5808" y="437"/>
                </a:lnTo>
                <a:close/>
                <a:moveTo>
                  <a:pt x="5722" y="479"/>
                </a:moveTo>
                <a:lnTo>
                  <a:pt x="5722" y="29"/>
                </a:lnTo>
                <a:lnTo>
                  <a:pt x="5823" y="29"/>
                </a:lnTo>
                <a:cubicBezTo>
                  <a:pt x="5968" y="29"/>
                  <a:pt x="6008" y="123"/>
                  <a:pt x="6008" y="253"/>
                </a:cubicBezTo>
                <a:cubicBezTo>
                  <a:pt x="6008" y="338"/>
                  <a:pt x="5992" y="435"/>
                  <a:pt x="5901" y="467"/>
                </a:cubicBezTo>
                <a:cubicBezTo>
                  <a:pt x="5870" y="477"/>
                  <a:pt x="5838" y="479"/>
                  <a:pt x="5807" y="479"/>
                </a:cubicBezTo>
                <a:lnTo>
                  <a:pt x="5722" y="479"/>
                </a:lnTo>
                <a:close/>
                <a:moveTo>
                  <a:pt x="5419" y="628"/>
                </a:moveTo>
                <a:lnTo>
                  <a:pt x="5419" y="0"/>
                </a:lnTo>
                <a:lnTo>
                  <a:pt x="5452" y="0"/>
                </a:lnTo>
                <a:lnTo>
                  <a:pt x="5452" y="628"/>
                </a:lnTo>
                <a:lnTo>
                  <a:pt x="5419" y="628"/>
                </a:lnTo>
                <a:close/>
                <a:moveTo>
                  <a:pt x="5107" y="318"/>
                </a:moveTo>
                <a:cubicBezTo>
                  <a:pt x="5107" y="275"/>
                  <a:pt x="5089" y="199"/>
                  <a:pt x="5034" y="199"/>
                </a:cubicBezTo>
                <a:cubicBezTo>
                  <a:pt x="4976" y="199"/>
                  <a:pt x="4969" y="286"/>
                  <a:pt x="4969" y="326"/>
                </a:cubicBezTo>
                <a:cubicBezTo>
                  <a:pt x="4969" y="367"/>
                  <a:pt x="4977" y="442"/>
                  <a:pt x="5032" y="442"/>
                </a:cubicBezTo>
                <a:cubicBezTo>
                  <a:pt x="5089" y="442"/>
                  <a:pt x="5107" y="362"/>
                  <a:pt x="5107" y="318"/>
                </a:cubicBezTo>
                <a:close/>
                <a:moveTo>
                  <a:pt x="5107" y="420"/>
                </a:moveTo>
                <a:lnTo>
                  <a:pt x="5105" y="420"/>
                </a:lnTo>
                <a:cubicBezTo>
                  <a:pt x="5093" y="457"/>
                  <a:pt x="5062" y="479"/>
                  <a:pt x="5023" y="479"/>
                </a:cubicBezTo>
                <a:cubicBezTo>
                  <a:pt x="4938" y="479"/>
                  <a:pt x="4918" y="396"/>
                  <a:pt x="4918" y="326"/>
                </a:cubicBezTo>
                <a:cubicBezTo>
                  <a:pt x="4918" y="259"/>
                  <a:pt x="4939" y="161"/>
                  <a:pt x="5025" y="161"/>
                </a:cubicBezTo>
                <a:cubicBezTo>
                  <a:pt x="5062" y="161"/>
                  <a:pt x="5095" y="183"/>
                  <a:pt x="5105" y="219"/>
                </a:cubicBezTo>
                <a:lnTo>
                  <a:pt x="5107" y="219"/>
                </a:lnTo>
                <a:lnTo>
                  <a:pt x="5107" y="169"/>
                </a:lnTo>
                <a:lnTo>
                  <a:pt x="5151" y="169"/>
                </a:lnTo>
                <a:lnTo>
                  <a:pt x="5151" y="480"/>
                </a:lnTo>
                <a:cubicBezTo>
                  <a:pt x="5151" y="569"/>
                  <a:pt x="5109" y="615"/>
                  <a:pt x="5019" y="615"/>
                </a:cubicBezTo>
                <a:cubicBezTo>
                  <a:pt x="4989" y="615"/>
                  <a:pt x="4964" y="610"/>
                  <a:pt x="4935" y="604"/>
                </a:cubicBezTo>
                <a:lnTo>
                  <a:pt x="4935" y="559"/>
                </a:lnTo>
                <a:cubicBezTo>
                  <a:pt x="4961" y="572"/>
                  <a:pt x="4985" y="578"/>
                  <a:pt x="5013" y="578"/>
                </a:cubicBezTo>
                <a:cubicBezTo>
                  <a:pt x="5085" y="578"/>
                  <a:pt x="5107" y="541"/>
                  <a:pt x="5107" y="475"/>
                </a:cubicBezTo>
                <a:lnTo>
                  <a:pt x="5107" y="420"/>
                </a:lnTo>
                <a:close/>
                <a:moveTo>
                  <a:pt x="4799" y="479"/>
                </a:moveTo>
                <a:lnTo>
                  <a:pt x="4799" y="307"/>
                </a:lnTo>
                <a:cubicBezTo>
                  <a:pt x="4799" y="272"/>
                  <a:pt x="4805" y="206"/>
                  <a:pt x="4754" y="206"/>
                </a:cubicBezTo>
                <a:cubicBezTo>
                  <a:pt x="4692" y="206"/>
                  <a:pt x="4666" y="303"/>
                  <a:pt x="4666" y="351"/>
                </a:cubicBezTo>
                <a:lnTo>
                  <a:pt x="4666" y="479"/>
                </a:lnTo>
                <a:lnTo>
                  <a:pt x="4621" y="479"/>
                </a:lnTo>
                <a:lnTo>
                  <a:pt x="4621" y="169"/>
                </a:lnTo>
                <a:lnTo>
                  <a:pt x="4666" y="169"/>
                </a:lnTo>
                <a:lnTo>
                  <a:pt x="4666" y="240"/>
                </a:lnTo>
                <a:lnTo>
                  <a:pt x="4667" y="240"/>
                </a:lnTo>
                <a:cubicBezTo>
                  <a:pt x="4683" y="192"/>
                  <a:pt x="4710" y="161"/>
                  <a:pt x="4764" y="161"/>
                </a:cubicBezTo>
                <a:cubicBezTo>
                  <a:pt x="4818" y="161"/>
                  <a:pt x="4844" y="208"/>
                  <a:pt x="4844" y="257"/>
                </a:cubicBezTo>
                <a:lnTo>
                  <a:pt x="4844" y="479"/>
                </a:lnTo>
                <a:lnTo>
                  <a:pt x="4799" y="479"/>
                </a:lnTo>
                <a:close/>
                <a:moveTo>
                  <a:pt x="4474" y="479"/>
                </a:moveTo>
                <a:lnTo>
                  <a:pt x="4474" y="169"/>
                </a:lnTo>
                <a:lnTo>
                  <a:pt x="4519" y="169"/>
                </a:lnTo>
                <a:lnTo>
                  <a:pt x="4519" y="479"/>
                </a:lnTo>
                <a:lnTo>
                  <a:pt x="4474" y="479"/>
                </a:lnTo>
                <a:close/>
                <a:moveTo>
                  <a:pt x="4467" y="88"/>
                </a:moveTo>
                <a:lnTo>
                  <a:pt x="4467" y="29"/>
                </a:lnTo>
                <a:lnTo>
                  <a:pt x="4526" y="29"/>
                </a:lnTo>
                <a:lnTo>
                  <a:pt x="4526" y="88"/>
                </a:lnTo>
                <a:lnTo>
                  <a:pt x="4467" y="88"/>
                </a:lnTo>
                <a:close/>
                <a:moveTo>
                  <a:pt x="4406" y="483"/>
                </a:moveTo>
                <a:cubicBezTo>
                  <a:pt x="4393" y="485"/>
                  <a:pt x="4380" y="486"/>
                  <a:pt x="4367" y="486"/>
                </a:cubicBezTo>
                <a:cubicBezTo>
                  <a:pt x="4309" y="486"/>
                  <a:pt x="4281" y="467"/>
                  <a:pt x="4281" y="406"/>
                </a:cubicBezTo>
                <a:lnTo>
                  <a:pt x="4281" y="206"/>
                </a:lnTo>
                <a:lnTo>
                  <a:pt x="4230" y="206"/>
                </a:lnTo>
                <a:lnTo>
                  <a:pt x="4230" y="169"/>
                </a:lnTo>
                <a:lnTo>
                  <a:pt x="4281" y="169"/>
                </a:lnTo>
                <a:lnTo>
                  <a:pt x="4281" y="96"/>
                </a:lnTo>
                <a:lnTo>
                  <a:pt x="4326" y="68"/>
                </a:lnTo>
                <a:lnTo>
                  <a:pt x="4326" y="169"/>
                </a:lnTo>
                <a:lnTo>
                  <a:pt x="4409" y="169"/>
                </a:lnTo>
                <a:lnTo>
                  <a:pt x="4409" y="206"/>
                </a:lnTo>
                <a:lnTo>
                  <a:pt x="4326" y="206"/>
                </a:lnTo>
                <a:lnTo>
                  <a:pt x="4326" y="397"/>
                </a:lnTo>
                <a:cubicBezTo>
                  <a:pt x="4326" y="430"/>
                  <a:pt x="4341" y="449"/>
                  <a:pt x="4376" y="449"/>
                </a:cubicBezTo>
                <a:cubicBezTo>
                  <a:pt x="4389" y="449"/>
                  <a:pt x="4395" y="448"/>
                  <a:pt x="4406" y="443"/>
                </a:cubicBezTo>
                <a:lnTo>
                  <a:pt x="4406" y="483"/>
                </a:lnTo>
                <a:close/>
                <a:moveTo>
                  <a:pt x="4113" y="479"/>
                </a:moveTo>
                <a:lnTo>
                  <a:pt x="4113" y="29"/>
                </a:lnTo>
                <a:lnTo>
                  <a:pt x="4157" y="29"/>
                </a:lnTo>
                <a:lnTo>
                  <a:pt x="4157" y="479"/>
                </a:lnTo>
                <a:lnTo>
                  <a:pt x="4113" y="479"/>
                </a:lnTo>
                <a:close/>
                <a:moveTo>
                  <a:pt x="3964" y="479"/>
                </a:moveTo>
                <a:lnTo>
                  <a:pt x="3964" y="407"/>
                </a:lnTo>
                <a:lnTo>
                  <a:pt x="3963" y="407"/>
                </a:lnTo>
                <a:cubicBezTo>
                  <a:pt x="3948" y="455"/>
                  <a:pt x="3919" y="486"/>
                  <a:pt x="3866" y="486"/>
                </a:cubicBezTo>
                <a:cubicBezTo>
                  <a:pt x="3812" y="486"/>
                  <a:pt x="3787" y="441"/>
                  <a:pt x="3787" y="390"/>
                </a:cubicBezTo>
                <a:lnTo>
                  <a:pt x="3787" y="169"/>
                </a:lnTo>
                <a:lnTo>
                  <a:pt x="3831" y="169"/>
                </a:lnTo>
                <a:lnTo>
                  <a:pt x="3831" y="341"/>
                </a:lnTo>
                <a:cubicBezTo>
                  <a:pt x="3831" y="375"/>
                  <a:pt x="3826" y="442"/>
                  <a:pt x="3877" y="442"/>
                </a:cubicBezTo>
                <a:cubicBezTo>
                  <a:pt x="3939" y="442"/>
                  <a:pt x="3964" y="345"/>
                  <a:pt x="3964" y="296"/>
                </a:cubicBezTo>
                <a:lnTo>
                  <a:pt x="3964" y="169"/>
                </a:lnTo>
                <a:lnTo>
                  <a:pt x="4008" y="169"/>
                </a:lnTo>
                <a:lnTo>
                  <a:pt x="4008" y="479"/>
                </a:lnTo>
                <a:lnTo>
                  <a:pt x="3964" y="479"/>
                </a:lnTo>
                <a:close/>
                <a:moveTo>
                  <a:pt x="3526" y="433"/>
                </a:moveTo>
                <a:cubicBezTo>
                  <a:pt x="3552" y="441"/>
                  <a:pt x="3578" y="449"/>
                  <a:pt x="3606" y="449"/>
                </a:cubicBezTo>
                <a:cubicBezTo>
                  <a:pt x="3640" y="449"/>
                  <a:pt x="3682" y="440"/>
                  <a:pt x="3682" y="399"/>
                </a:cubicBezTo>
                <a:cubicBezTo>
                  <a:pt x="3682" y="368"/>
                  <a:pt x="3649" y="355"/>
                  <a:pt x="3626" y="343"/>
                </a:cubicBezTo>
                <a:lnTo>
                  <a:pt x="3598" y="328"/>
                </a:lnTo>
                <a:cubicBezTo>
                  <a:pt x="3561" y="309"/>
                  <a:pt x="3527" y="291"/>
                  <a:pt x="3527" y="244"/>
                </a:cubicBezTo>
                <a:cubicBezTo>
                  <a:pt x="3527" y="183"/>
                  <a:pt x="3580" y="161"/>
                  <a:pt x="3634" y="161"/>
                </a:cubicBezTo>
                <a:cubicBezTo>
                  <a:pt x="3659" y="161"/>
                  <a:pt x="3683" y="166"/>
                  <a:pt x="3707" y="172"/>
                </a:cubicBezTo>
                <a:lnTo>
                  <a:pt x="3707" y="213"/>
                </a:lnTo>
                <a:cubicBezTo>
                  <a:pt x="3684" y="205"/>
                  <a:pt x="3658" y="199"/>
                  <a:pt x="3634" y="199"/>
                </a:cubicBezTo>
                <a:cubicBezTo>
                  <a:pt x="3610" y="199"/>
                  <a:pt x="3572" y="209"/>
                  <a:pt x="3572" y="239"/>
                </a:cubicBezTo>
                <a:cubicBezTo>
                  <a:pt x="3572" y="265"/>
                  <a:pt x="3610" y="277"/>
                  <a:pt x="3628" y="288"/>
                </a:cubicBezTo>
                <a:lnTo>
                  <a:pt x="3654" y="304"/>
                </a:lnTo>
                <a:cubicBezTo>
                  <a:pt x="3692" y="326"/>
                  <a:pt x="3726" y="342"/>
                  <a:pt x="3726" y="392"/>
                </a:cubicBezTo>
                <a:cubicBezTo>
                  <a:pt x="3726" y="462"/>
                  <a:pt x="3673" y="486"/>
                  <a:pt x="3611" y="486"/>
                </a:cubicBezTo>
                <a:cubicBezTo>
                  <a:pt x="3582" y="486"/>
                  <a:pt x="3554" y="482"/>
                  <a:pt x="3526" y="473"/>
                </a:cubicBezTo>
                <a:lnTo>
                  <a:pt x="3526" y="433"/>
                </a:lnTo>
                <a:close/>
                <a:moveTo>
                  <a:pt x="3412" y="479"/>
                </a:moveTo>
                <a:lnTo>
                  <a:pt x="3412" y="307"/>
                </a:lnTo>
                <a:cubicBezTo>
                  <a:pt x="3412" y="272"/>
                  <a:pt x="3418" y="206"/>
                  <a:pt x="3367" y="206"/>
                </a:cubicBezTo>
                <a:cubicBezTo>
                  <a:pt x="3305" y="206"/>
                  <a:pt x="3279" y="303"/>
                  <a:pt x="3279" y="351"/>
                </a:cubicBezTo>
                <a:lnTo>
                  <a:pt x="3279" y="479"/>
                </a:lnTo>
                <a:lnTo>
                  <a:pt x="3234" y="479"/>
                </a:lnTo>
                <a:lnTo>
                  <a:pt x="3234" y="169"/>
                </a:lnTo>
                <a:lnTo>
                  <a:pt x="3279" y="169"/>
                </a:lnTo>
                <a:lnTo>
                  <a:pt x="3279" y="240"/>
                </a:lnTo>
                <a:lnTo>
                  <a:pt x="3280" y="240"/>
                </a:lnTo>
                <a:cubicBezTo>
                  <a:pt x="3296" y="192"/>
                  <a:pt x="3323" y="161"/>
                  <a:pt x="3377" y="161"/>
                </a:cubicBezTo>
                <a:cubicBezTo>
                  <a:pt x="3431" y="161"/>
                  <a:pt x="3457" y="208"/>
                  <a:pt x="3457" y="257"/>
                </a:cubicBezTo>
                <a:lnTo>
                  <a:pt x="3457" y="479"/>
                </a:lnTo>
                <a:lnTo>
                  <a:pt x="3412" y="479"/>
                </a:lnTo>
                <a:close/>
                <a:moveTo>
                  <a:pt x="3108" y="324"/>
                </a:moveTo>
                <a:cubicBezTo>
                  <a:pt x="3108" y="274"/>
                  <a:pt x="3096" y="199"/>
                  <a:pt x="3031" y="199"/>
                </a:cubicBezTo>
                <a:cubicBezTo>
                  <a:pt x="2967" y="199"/>
                  <a:pt x="2956" y="274"/>
                  <a:pt x="2956" y="324"/>
                </a:cubicBezTo>
                <a:cubicBezTo>
                  <a:pt x="2956" y="373"/>
                  <a:pt x="2967" y="449"/>
                  <a:pt x="3031" y="449"/>
                </a:cubicBezTo>
                <a:cubicBezTo>
                  <a:pt x="3097" y="449"/>
                  <a:pt x="3108" y="374"/>
                  <a:pt x="3108" y="324"/>
                </a:cubicBezTo>
                <a:close/>
                <a:moveTo>
                  <a:pt x="2905" y="325"/>
                </a:moveTo>
                <a:cubicBezTo>
                  <a:pt x="2905" y="241"/>
                  <a:pt x="2935" y="161"/>
                  <a:pt x="3031" y="161"/>
                </a:cubicBezTo>
                <a:cubicBezTo>
                  <a:pt x="3129" y="161"/>
                  <a:pt x="3159" y="241"/>
                  <a:pt x="3159" y="325"/>
                </a:cubicBezTo>
                <a:cubicBezTo>
                  <a:pt x="3159" y="409"/>
                  <a:pt x="3129" y="486"/>
                  <a:pt x="3031" y="486"/>
                </a:cubicBezTo>
                <a:cubicBezTo>
                  <a:pt x="2935" y="486"/>
                  <a:pt x="2905" y="409"/>
                  <a:pt x="2905" y="325"/>
                </a:cubicBezTo>
                <a:close/>
                <a:moveTo>
                  <a:pt x="2856" y="460"/>
                </a:moveTo>
                <a:cubicBezTo>
                  <a:pt x="2814" y="477"/>
                  <a:pt x="2785" y="486"/>
                  <a:pt x="2737" y="486"/>
                </a:cubicBezTo>
                <a:cubicBezTo>
                  <a:pt x="2602" y="486"/>
                  <a:pt x="2564" y="358"/>
                  <a:pt x="2564" y="246"/>
                </a:cubicBezTo>
                <a:cubicBezTo>
                  <a:pt x="2564" y="133"/>
                  <a:pt x="2603" y="22"/>
                  <a:pt x="2734" y="22"/>
                </a:cubicBezTo>
                <a:cubicBezTo>
                  <a:pt x="2813" y="22"/>
                  <a:pt x="2873" y="69"/>
                  <a:pt x="2873" y="152"/>
                </a:cubicBezTo>
                <a:lnTo>
                  <a:pt x="2816" y="152"/>
                </a:lnTo>
                <a:cubicBezTo>
                  <a:pt x="2816" y="101"/>
                  <a:pt x="2786" y="64"/>
                  <a:pt x="2734" y="64"/>
                </a:cubicBezTo>
                <a:cubicBezTo>
                  <a:pt x="2635" y="64"/>
                  <a:pt x="2620" y="171"/>
                  <a:pt x="2620" y="248"/>
                </a:cubicBezTo>
                <a:cubicBezTo>
                  <a:pt x="2620" y="333"/>
                  <a:pt x="2643" y="444"/>
                  <a:pt x="2749" y="444"/>
                </a:cubicBezTo>
                <a:cubicBezTo>
                  <a:pt x="2789" y="444"/>
                  <a:pt x="2826" y="431"/>
                  <a:pt x="2856" y="407"/>
                </a:cubicBezTo>
                <a:lnTo>
                  <a:pt x="2856" y="460"/>
                </a:lnTo>
                <a:close/>
                <a:moveTo>
                  <a:pt x="2283" y="628"/>
                </a:moveTo>
                <a:lnTo>
                  <a:pt x="2283" y="0"/>
                </a:lnTo>
                <a:lnTo>
                  <a:pt x="2317" y="0"/>
                </a:lnTo>
                <a:lnTo>
                  <a:pt x="2317" y="628"/>
                </a:lnTo>
                <a:lnTo>
                  <a:pt x="2283" y="628"/>
                </a:lnTo>
                <a:close/>
                <a:moveTo>
                  <a:pt x="1868" y="605"/>
                </a:moveTo>
                <a:lnTo>
                  <a:pt x="1912" y="479"/>
                </a:lnTo>
                <a:lnTo>
                  <a:pt x="1793" y="169"/>
                </a:lnTo>
                <a:lnTo>
                  <a:pt x="1840" y="169"/>
                </a:lnTo>
                <a:lnTo>
                  <a:pt x="1931" y="413"/>
                </a:lnTo>
                <a:lnTo>
                  <a:pt x="1932" y="413"/>
                </a:lnTo>
                <a:lnTo>
                  <a:pt x="2016" y="169"/>
                </a:lnTo>
                <a:lnTo>
                  <a:pt x="2064" y="169"/>
                </a:lnTo>
                <a:lnTo>
                  <a:pt x="1914" y="605"/>
                </a:lnTo>
                <a:lnTo>
                  <a:pt x="1868" y="605"/>
                </a:lnTo>
                <a:close/>
                <a:moveTo>
                  <a:pt x="1699" y="318"/>
                </a:moveTo>
                <a:cubicBezTo>
                  <a:pt x="1699" y="275"/>
                  <a:pt x="1682" y="199"/>
                  <a:pt x="1626" y="199"/>
                </a:cubicBezTo>
                <a:cubicBezTo>
                  <a:pt x="1569" y="199"/>
                  <a:pt x="1562" y="286"/>
                  <a:pt x="1562" y="326"/>
                </a:cubicBezTo>
                <a:cubicBezTo>
                  <a:pt x="1562" y="367"/>
                  <a:pt x="1570" y="442"/>
                  <a:pt x="1625" y="442"/>
                </a:cubicBezTo>
                <a:cubicBezTo>
                  <a:pt x="1682" y="442"/>
                  <a:pt x="1699" y="362"/>
                  <a:pt x="1699" y="318"/>
                </a:cubicBezTo>
                <a:close/>
                <a:moveTo>
                  <a:pt x="1699" y="420"/>
                </a:moveTo>
                <a:lnTo>
                  <a:pt x="1698" y="420"/>
                </a:lnTo>
                <a:cubicBezTo>
                  <a:pt x="1686" y="457"/>
                  <a:pt x="1654" y="479"/>
                  <a:pt x="1616" y="479"/>
                </a:cubicBezTo>
                <a:cubicBezTo>
                  <a:pt x="1531" y="479"/>
                  <a:pt x="1511" y="396"/>
                  <a:pt x="1511" y="326"/>
                </a:cubicBezTo>
                <a:cubicBezTo>
                  <a:pt x="1511" y="259"/>
                  <a:pt x="1532" y="161"/>
                  <a:pt x="1617" y="161"/>
                </a:cubicBezTo>
                <a:cubicBezTo>
                  <a:pt x="1654" y="161"/>
                  <a:pt x="1688" y="183"/>
                  <a:pt x="1698" y="219"/>
                </a:cubicBezTo>
                <a:lnTo>
                  <a:pt x="1699" y="219"/>
                </a:lnTo>
                <a:lnTo>
                  <a:pt x="1699" y="169"/>
                </a:lnTo>
                <a:lnTo>
                  <a:pt x="1744" y="169"/>
                </a:lnTo>
                <a:lnTo>
                  <a:pt x="1744" y="480"/>
                </a:lnTo>
                <a:cubicBezTo>
                  <a:pt x="1744" y="569"/>
                  <a:pt x="1701" y="615"/>
                  <a:pt x="1612" y="615"/>
                </a:cubicBezTo>
                <a:cubicBezTo>
                  <a:pt x="1581" y="615"/>
                  <a:pt x="1557" y="610"/>
                  <a:pt x="1528" y="604"/>
                </a:cubicBezTo>
                <a:lnTo>
                  <a:pt x="1528" y="559"/>
                </a:lnTo>
                <a:cubicBezTo>
                  <a:pt x="1553" y="572"/>
                  <a:pt x="1577" y="578"/>
                  <a:pt x="1606" y="578"/>
                </a:cubicBezTo>
                <a:cubicBezTo>
                  <a:pt x="1677" y="578"/>
                  <a:pt x="1699" y="541"/>
                  <a:pt x="1699" y="475"/>
                </a:cubicBezTo>
                <a:lnTo>
                  <a:pt x="1699" y="420"/>
                </a:lnTo>
                <a:close/>
                <a:moveTo>
                  <a:pt x="1408" y="257"/>
                </a:moveTo>
                <a:cubicBezTo>
                  <a:pt x="1408" y="223"/>
                  <a:pt x="1383" y="199"/>
                  <a:pt x="1349" y="199"/>
                </a:cubicBezTo>
                <a:cubicBezTo>
                  <a:pt x="1312" y="199"/>
                  <a:pt x="1291" y="223"/>
                  <a:pt x="1284" y="257"/>
                </a:cubicBezTo>
                <a:lnTo>
                  <a:pt x="1408" y="257"/>
                </a:lnTo>
                <a:close/>
                <a:moveTo>
                  <a:pt x="1452" y="477"/>
                </a:moveTo>
                <a:cubicBezTo>
                  <a:pt x="1429" y="484"/>
                  <a:pt x="1405" y="486"/>
                  <a:pt x="1381" y="486"/>
                </a:cubicBezTo>
                <a:cubicBezTo>
                  <a:pt x="1273" y="486"/>
                  <a:pt x="1230" y="415"/>
                  <a:pt x="1230" y="313"/>
                </a:cubicBezTo>
                <a:cubicBezTo>
                  <a:pt x="1230" y="233"/>
                  <a:pt x="1260" y="161"/>
                  <a:pt x="1351" y="161"/>
                </a:cubicBezTo>
                <a:cubicBezTo>
                  <a:pt x="1423" y="161"/>
                  <a:pt x="1459" y="210"/>
                  <a:pt x="1459" y="280"/>
                </a:cubicBezTo>
                <a:lnTo>
                  <a:pt x="1459" y="295"/>
                </a:lnTo>
                <a:lnTo>
                  <a:pt x="1281" y="295"/>
                </a:lnTo>
                <a:lnTo>
                  <a:pt x="1281" y="313"/>
                </a:lnTo>
                <a:cubicBezTo>
                  <a:pt x="1281" y="381"/>
                  <a:pt x="1314" y="449"/>
                  <a:pt x="1391" y="449"/>
                </a:cubicBezTo>
                <a:cubicBezTo>
                  <a:pt x="1412" y="449"/>
                  <a:pt x="1431" y="446"/>
                  <a:pt x="1452" y="441"/>
                </a:cubicBezTo>
                <a:lnTo>
                  <a:pt x="1452" y="477"/>
                </a:lnTo>
                <a:close/>
                <a:moveTo>
                  <a:pt x="1187" y="483"/>
                </a:moveTo>
                <a:cubicBezTo>
                  <a:pt x="1173" y="485"/>
                  <a:pt x="1160" y="486"/>
                  <a:pt x="1147" y="486"/>
                </a:cubicBezTo>
                <a:cubicBezTo>
                  <a:pt x="1089" y="486"/>
                  <a:pt x="1061" y="467"/>
                  <a:pt x="1061" y="406"/>
                </a:cubicBezTo>
                <a:lnTo>
                  <a:pt x="1061" y="206"/>
                </a:lnTo>
                <a:lnTo>
                  <a:pt x="1010" y="206"/>
                </a:lnTo>
                <a:lnTo>
                  <a:pt x="1010" y="169"/>
                </a:lnTo>
                <a:lnTo>
                  <a:pt x="1061" y="169"/>
                </a:lnTo>
                <a:lnTo>
                  <a:pt x="1061" y="96"/>
                </a:lnTo>
                <a:lnTo>
                  <a:pt x="1106" y="68"/>
                </a:lnTo>
                <a:lnTo>
                  <a:pt x="1106" y="169"/>
                </a:lnTo>
                <a:lnTo>
                  <a:pt x="1189" y="169"/>
                </a:lnTo>
                <a:lnTo>
                  <a:pt x="1189" y="206"/>
                </a:lnTo>
                <a:lnTo>
                  <a:pt x="1106" y="206"/>
                </a:lnTo>
                <a:lnTo>
                  <a:pt x="1106" y="397"/>
                </a:lnTo>
                <a:cubicBezTo>
                  <a:pt x="1106" y="430"/>
                  <a:pt x="1121" y="449"/>
                  <a:pt x="1157" y="449"/>
                </a:cubicBezTo>
                <a:cubicBezTo>
                  <a:pt x="1169" y="449"/>
                  <a:pt x="1175" y="448"/>
                  <a:pt x="1187" y="443"/>
                </a:cubicBezTo>
                <a:lnTo>
                  <a:pt x="1187" y="483"/>
                </a:lnTo>
                <a:close/>
                <a:moveTo>
                  <a:pt x="872" y="338"/>
                </a:moveTo>
                <a:cubicBezTo>
                  <a:pt x="833" y="338"/>
                  <a:pt x="770" y="355"/>
                  <a:pt x="770" y="404"/>
                </a:cubicBezTo>
                <a:cubicBezTo>
                  <a:pt x="770" y="430"/>
                  <a:pt x="788" y="449"/>
                  <a:pt x="814" y="449"/>
                </a:cubicBezTo>
                <a:cubicBezTo>
                  <a:pt x="844" y="449"/>
                  <a:pt x="874" y="429"/>
                  <a:pt x="886" y="401"/>
                </a:cubicBezTo>
                <a:cubicBezTo>
                  <a:pt x="897" y="378"/>
                  <a:pt x="898" y="364"/>
                  <a:pt x="898" y="338"/>
                </a:cubicBezTo>
                <a:lnTo>
                  <a:pt x="872" y="338"/>
                </a:lnTo>
                <a:close/>
                <a:moveTo>
                  <a:pt x="899" y="479"/>
                </a:moveTo>
                <a:lnTo>
                  <a:pt x="899" y="438"/>
                </a:lnTo>
                <a:lnTo>
                  <a:pt x="898" y="438"/>
                </a:lnTo>
                <a:cubicBezTo>
                  <a:pt x="881" y="471"/>
                  <a:pt x="837" y="486"/>
                  <a:pt x="803" y="486"/>
                </a:cubicBezTo>
                <a:cubicBezTo>
                  <a:pt x="749" y="486"/>
                  <a:pt x="719" y="452"/>
                  <a:pt x="719" y="400"/>
                </a:cubicBezTo>
                <a:cubicBezTo>
                  <a:pt x="719" y="330"/>
                  <a:pt x="800" y="301"/>
                  <a:pt x="898" y="301"/>
                </a:cubicBezTo>
                <a:lnTo>
                  <a:pt x="898" y="295"/>
                </a:lnTo>
                <a:cubicBezTo>
                  <a:pt x="898" y="248"/>
                  <a:pt x="901" y="199"/>
                  <a:pt x="839" y="199"/>
                </a:cubicBezTo>
                <a:cubicBezTo>
                  <a:pt x="802" y="199"/>
                  <a:pt x="781" y="211"/>
                  <a:pt x="776" y="248"/>
                </a:cubicBezTo>
                <a:lnTo>
                  <a:pt x="726" y="248"/>
                </a:lnTo>
                <a:cubicBezTo>
                  <a:pt x="728" y="186"/>
                  <a:pt x="782" y="161"/>
                  <a:pt x="838" y="161"/>
                </a:cubicBezTo>
                <a:cubicBezTo>
                  <a:pt x="908" y="161"/>
                  <a:pt x="942" y="191"/>
                  <a:pt x="942" y="261"/>
                </a:cubicBezTo>
                <a:lnTo>
                  <a:pt x="942" y="479"/>
                </a:lnTo>
                <a:lnTo>
                  <a:pt x="899" y="479"/>
                </a:lnTo>
                <a:close/>
                <a:moveTo>
                  <a:pt x="545" y="479"/>
                </a:moveTo>
                <a:lnTo>
                  <a:pt x="545" y="169"/>
                </a:lnTo>
                <a:lnTo>
                  <a:pt x="589" y="169"/>
                </a:lnTo>
                <a:lnTo>
                  <a:pt x="589" y="229"/>
                </a:lnTo>
                <a:lnTo>
                  <a:pt x="591" y="229"/>
                </a:lnTo>
                <a:cubicBezTo>
                  <a:pt x="610" y="184"/>
                  <a:pt x="645" y="161"/>
                  <a:pt x="694" y="161"/>
                </a:cubicBezTo>
                <a:lnTo>
                  <a:pt x="694" y="209"/>
                </a:lnTo>
                <a:cubicBezTo>
                  <a:pt x="614" y="209"/>
                  <a:pt x="589" y="283"/>
                  <a:pt x="589" y="351"/>
                </a:cubicBezTo>
                <a:lnTo>
                  <a:pt x="589" y="479"/>
                </a:lnTo>
                <a:lnTo>
                  <a:pt x="545" y="479"/>
                </a:lnTo>
                <a:close/>
                <a:moveTo>
                  <a:pt x="481" y="483"/>
                </a:moveTo>
                <a:cubicBezTo>
                  <a:pt x="468" y="485"/>
                  <a:pt x="455" y="486"/>
                  <a:pt x="442" y="486"/>
                </a:cubicBezTo>
                <a:cubicBezTo>
                  <a:pt x="383" y="486"/>
                  <a:pt x="356" y="467"/>
                  <a:pt x="356" y="406"/>
                </a:cubicBezTo>
                <a:lnTo>
                  <a:pt x="356" y="206"/>
                </a:lnTo>
                <a:lnTo>
                  <a:pt x="305" y="206"/>
                </a:lnTo>
                <a:lnTo>
                  <a:pt x="305" y="169"/>
                </a:lnTo>
                <a:lnTo>
                  <a:pt x="356" y="169"/>
                </a:lnTo>
                <a:lnTo>
                  <a:pt x="356" y="96"/>
                </a:lnTo>
                <a:lnTo>
                  <a:pt x="400" y="68"/>
                </a:lnTo>
                <a:lnTo>
                  <a:pt x="400" y="169"/>
                </a:lnTo>
                <a:lnTo>
                  <a:pt x="484" y="169"/>
                </a:lnTo>
                <a:lnTo>
                  <a:pt x="484" y="206"/>
                </a:lnTo>
                <a:lnTo>
                  <a:pt x="400" y="206"/>
                </a:lnTo>
                <a:lnTo>
                  <a:pt x="400" y="397"/>
                </a:lnTo>
                <a:cubicBezTo>
                  <a:pt x="400" y="430"/>
                  <a:pt x="415" y="449"/>
                  <a:pt x="451" y="449"/>
                </a:cubicBezTo>
                <a:cubicBezTo>
                  <a:pt x="463" y="449"/>
                  <a:pt x="470" y="448"/>
                  <a:pt x="481" y="443"/>
                </a:cubicBezTo>
                <a:lnTo>
                  <a:pt x="481" y="483"/>
                </a:lnTo>
                <a:close/>
              </a:path>
            </a:pathLst>
          </a:custGeom>
          <a:solidFill>
            <a:srgbClr val="0304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11345" y="1240610"/>
            <a:ext cx="1652822" cy="636380"/>
          </a:xfrm>
          <a:prstGeom prst="rect">
            <a:avLst/>
          </a:prstGeom>
        </p:spPr>
      </p:pic>
    </p:spTree>
    <p:extLst>
      <p:ext uri="{BB962C8B-B14F-4D97-AF65-F5344CB8AC3E}">
        <p14:creationId xmlns:p14="http://schemas.microsoft.com/office/powerpoint/2010/main" val="50254339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09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14329643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20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45818321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2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a:off x="2" y="0"/>
            <a:ext cx="9143999" cy="6858000"/>
          </a:xfrm>
          <a:prstGeom prst="rect">
            <a:avLst/>
          </a:prstGeom>
          <a:solidFill>
            <a:srgbClr val="1F497D">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spTree>
    <p:extLst>
      <p:ext uri="{BB962C8B-B14F-4D97-AF65-F5344CB8AC3E}">
        <p14:creationId xmlns:p14="http://schemas.microsoft.com/office/powerpoint/2010/main" val="22336383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30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361600109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40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32796086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5813" y="4509889"/>
            <a:ext cx="3163634" cy="646331"/>
          </a:xfrm>
          <a:noFill/>
        </p:spPr>
        <p:txBody>
          <a:bodyPr wrap="square" anchor="t" anchorCtr="0">
            <a:spAutoFit/>
          </a:bodyPr>
          <a:lstStyle>
            <a:lvl1pPr>
              <a:defRPr sz="2100">
                <a:solidFill>
                  <a:srgbClr val="002266"/>
                </a:solidFill>
              </a:defRPr>
            </a:lvl1pPr>
          </a:lstStyle>
          <a:p>
            <a:r>
              <a:rPr lang="pt-BR" dirty="0"/>
              <a:t>Click to edit Master title style</a:t>
            </a:r>
          </a:p>
        </p:txBody>
      </p:sp>
      <p:sp>
        <p:nvSpPr>
          <p:cNvPr id="3" name="Subtitle 2"/>
          <p:cNvSpPr>
            <a:spLocks noGrp="1"/>
          </p:cNvSpPr>
          <p:nvPr>
            <p:ph type="subTitle" idx="1"/>
          </p:nvPr>
        </p:nvSpPr>
        <p:spPr>
          <a:xfrm>
            <a:off x="435219" y="5547385"/>
            <a:ext cx="3026996" cy="207749"/>
          </a:xfrm>
        </p:spPr>
        <p:txBody>
          <a:bodyPr/>
          <a:lstStyle>
            <a:lvl1pPr marL="0" indent="0" algn="l">
              <a:buNone/>
              <a:defRPr sz="1350">
                <a:solidFill>
                  <a:srgbClr val="2F539C"/>
                </a:solidFill>
              </a:defRPr>
            </a:lvl1pPr>
            <a:lvl2pPr marL="342883" indent="0" algn="ctr">
              <a:buNone/>
              <a:defRPr>
                <a:solidFill>
                  <a:schemeClr val="tx1">
                    <a:tint val="75000"/>
                  </a:schemeClr>
                </a:solidFill>
              </a:defRPr>
            </a:lvl2pPr>
            <a:lvl3pPr marL="685767" indent="0" algn="ctr">
              <a:buNone/>
              <a:defRPr>
                <a:solidFill>
                  <a:schemeClr val="tx1">
                    <a:tint val="75000"/>
                  </a:schemeClr>
                </a:solidFill>
              </a:defRPr>
            </a:lvl3pPr>
            <a:lvl4pPr marL="1028648"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2" indent="0" algn="ctr">
              <a:buNone/>
              <a:defRPr>
                <a:solidFill>
                  <a:schemeClr val="tx1">
                    <a:tint val="75000"/>
                  </a:schemeClr>
                </a:solidFill>
              </a:defRPr>
            </a:lvl9pPr>
          </a:lstStyle>
          <a:p>
            <a:r>
              <a:rPr lang="pt-BR" dirty="0"/>
              <a:t>Click to edit Master subtitle style</a:t>
            </a:r>
          </a:p>
        </p:txBody>
      </p:sp>
      <p:cxnSp>
        <p:nvCxnSpPr>
          <p:cNvPr id="54" name="Straight Connector 9"/>
          <p:cNvCxnSpPr>
            <a:cxnSpLocks noChangeShapeType="1"/>
          </p:cNvCxnSpPr>
          <p:nvPr userDrawn="1"/>
        </p:nvCxnSpPr>
        <p:spPr bwMode="auto">
          <a:xfrm>
            <a:off x="435221" y="1112935"/>
            <a:ext cx="8708783" cy="0"/>
          </a:xfrm>
          <a:prstGeom prst="line">
            <a:avLst/>
          </a:prstGeom>
          <a:noFill/>
          <a:ln w="12700">
            <a:solidFill>
              <a:schemeClr val="tx1"/>
            </a:solidFill>
            <a:round/>
            <a:headEnd/>
            <a:tailEnd/>
          </a:ln>
        </p:spPr>
      </p:cxnSp>
      <p:grpSp>
        <p:nvGrpSpPr>
          <p:cNvPr id="55" name="Group 54"/>
          <p:cNvGrpSpPr/>
          <p:nvPr userDrawn="1"/>
        </p:nvGrpSpPr>
        <p:grpSpPr>
          <a:xfrm>
            <a:off x="435222" y="366058"/>
            <a:ext cx="2061150" cy="1062376"/>
            <a:chOff x="471488" y="366051"/>
            <a:chExt cx="2232912" cy="1062375"/>
          </a:xfrm>
        </p:grpSpPr>
        <p:sp>
          <p:nvSpPr>
            <p:cNvPr id="56" name="Freeform 14"/>
            <p:cNvSpPr>
              <a:spLocks/>
            </p:cNvSpPr>
            <p:nvPr userDrawn="1"/>
          </p:nvSpPr>
          <p:spPr bwMode="auto">
            <a:xfrm>
              <a:off x="1754457" y="366051"/>
              <a:ext cx="206884" cy="211195"/>
            </a:xfrm>
            <a:custGeom>
              <a:avLst/>
              <a:gdLst/>
              <a:ahLst/>
              <a:cxnLst>
                <a:cxn ang="0">
                  <a:pos x="0" y="0"/>
                </a:cxn>
                <a:cxn ang="0">
                  <a:pos x="0" y="52"/>
                </a:cxn>
                <a:cxn ang="0">
                  <a:pos x="0" y="359"/>
                </a:cxn>
                <a:cxn ang="0">
                  <a:pos x="12" y="364"/>
                </a:cxn>
                <a:cxn ang="0">
                  <a:pos x="44" y="376"/>
                </a:cxn>
                <a:cxn ang="0">
                  <a:pos x="95" y="396"/>
                </a:cxn>
                <a:cxn ang="0">
                  <a:pos x="162" y="421"/>
                </a:cxn>
                <a:cxn ang="0">
                  <a:pos x="241" y="452"/>
                </a:cxn>
                <a:cxn ang="0">
                  <a:pos x="330" y="486"/>
                </a:cxn>
                <a:cxn ang="0">
                  <a:pos x="427" y="524"/>
                </a:cxn>
                <a:cxn ang="0">
                  <a:pos x="529" y="563"/>
                </a:cxn>
                <a:cxn ang="0">
                  <a:pos x="631" y="603"/>
                </a:cxn>
                <a:cxn ang="0">
                  <a:pos x="733" y="642"/>
                </a:cxn>
                <a:cxn ang="0">
                  <a:pos x="832" y="680"/>
                </a:cxn>
                <a:cxn ang="0">
                  <a:pos x="923" y="715"/>
                </a:cxn>
                <a:cxn ang="0">
                  <a:pos x="1005" y="747"/>
                </a:cxn>
                <a:cxn ang="0">
                  <a:pos x="1074" y="773"/>
                </a:cxn>
                <a:cxn ang="0">
                  <a:pos x="1130" y="795"/>
                </a:cxn>
                <a:cxn ang="0">
                  <a:pos x="1167" y="809"/>
                </a:cxn>
                <a:cxn ang="0">
                  <a:pos x="1130" y="824"/>
                </a:cxn>
                <a:cxn ang="0">
                  <a:pos x="1074" y="845"/>
                </a:cxn>
                <a:cxn ang="0">
                  <a:pos x="1005" y="872"/>
                </a:cxn>
                <a:cxn ang="0">
                  <a:pos x="923" y="903"/>
                </a:cxn>
                <a:cxn ang="0">
                  <a:pos x="832" y="939"/>
                </a:cxn>
                <a:cxn ang="0">
                  <a:pos x="733" y="976"/>
                </a:cxn>
                <a:cxn ang="0">
                  <a:pos x="631" y="1016"/>
                </a:cxn>
                <a:cxn ang="0">
                  <a:pos x="529" y="1054"/>
                </a:cxn>
                <a:cxn ang="0">
                  <a:pos x="427" y="1093"/>
                </a:cxn>
                <a:cxn ang="0">
                  <a:pos x="330" y="1131"/>
                </a:cxn>
                <a:cxn ang="0">
                  <a:pos x="241" y="1165"/>
                </a:cxn>
                <a:cxn ang="0">
                  <a:pos x="162" y="1196"/>
                </a:cxn>
                <a:cxn ang="0">
                  <a:pos x="95" y="1221"/>
                </a:cxn>
                <a:cxn ang="0">
                  <a:pos x="44" y="1241"/>
                </a:cxn>
                <a:cxn ang="0">
                  <a:pos x="12" y="1254"/>
                </a:cxn>
                <a:cxn ang="0">
                  <a:pos x="0" y="1258"/>
                </a:cxn>
                <a:cxn ang="0">
                  <a:pos x="0" y="1616"/>
                </a:cxn>
                <a:cxn ang="0">
                  <a:pos x="1587" y="973"/>
                </a:cxn>
                <a:cxn ang="0">
                  <a:pos x="1587" y="644"/>
                </a:cxn>
                <a:cxn ang="0">
                  <a:pos x="0" y="0"/>
                </a:cxn>
              </a:cxnLst>
              <a:rect l="0" t="0" r="r" b="b"/>
              <a:pathLst>
                <a:path w="1587" h="1616">
                  <a:moveTo>
                    <a:pt x="0" y="0"/>
                  </a:moveTo>
                  <a:lnTo>
                    <a:pt x="0" y="52"/>
                  </a:lnTo>
                  <a:lnTo>
                    <a:pt x="0" y="359"/>
                  </a:lnTo>
                  <a:lnTo>
                    <a:pt x="12" y="364"/>
                  </a:lnTo>
                  <a:lnTo>
                    <a:pt x="44" y="376"/>
                  </a:lnTo>
                  <a:lnTo>
                    <a:pt x="95" y="396"/>
                  </a:lnTo>
                  <a:lnTo>
                    <a:pt x="162" y="421"/>
                  </a:lnTo>
                  <a:lnTo>
                    <a:pt x="241" y="452"/>
                  </a:lnTo>
                  <a:lnTo>
                    <a:pt x="330" y="486"/>
                  </a:lnTo>
                  <a:lnTo>
                    <a:pt x="427" y="524"/>
                  </a:lnTo>
                  <a:lnTo>
                    <a:pt x="529" y="563"/>
                  </a:lnTo>
                  <a:lnTo>
                    <a:pt x="631" y="603"/>
                  </a:lnTo>
                  <a:lnTo>
                    <a:pt x="733" y="642"/>
                  </a:lnTo>
                  <a:lnTo>
                    <a:pt x="832" y="680"/>
                  </a:lnTo>
                  <a:lnTo>
                    <a:pt x="923" y="715"/>
                  </a:lnTo>
                  <a:lnTo>
                    <a:pt x="1005" y="747"/>
                  </a:lnTo>
                  <a:lnTo>
                    <a:pt x="1074" y="773"/>
                  </a:lnTo>
                  <a:lnTo>
                    <a:pt x="1130" y="795"/>
                  </a:lnTo>
                  <a:lnTo>
                    <a:pt x="1167" y="809"/>
                  </a:lnTo>
                  <a:lnTo>
                    <a:pt x="1130" y="824"/>
                  </a:lnTo>
                  <a:lnTo>
                    <a:pt x="1074" y="845"/>
                  </a:lnTo>
                  <a:lnTo>
                    <a:pt x="1005" y="872"/>
                  </a:lnTo>
                  <a:lnTo>
                    <a:pt x="923" y="903"/>
                  </a:lnTo>
                  <a:lnTo>
                    <a:pt x="832" y="939"/>
                  </a:lnTo>
                  <a:lnTo>
                    <a:pt x="733" y="976"/>
                  </a:lnTo>
                  <a:lnTo>
                    <a:pt x="631" y="1016"/>
                  </a:lnTo>
                  <a:lnTo>
                    <a:pt x="529" y="1054"/>
                  </a:lnTo>
                  <a:lnTo>
                    <a:pt x="427" y="1093"/>
                  </a:lnTo>
                  <a:lnTo>
                    <a:pt x="330" y="1131"/>
                  </a:lnTo>
                  <a:lnTo>
                    <a:pt x="241" y="1165"/>
                  </a:lnTo>
                  <a:lnTo>
                    <a:pt x="162" y="1196"/>
                  </a:lnTo>
                  <a:lnTo>
                    <a:pt x="95" y="1221"/>
                  </a:lnTo>
                  <a:lnTo>
                    <a:pt x="44" y="1241"/>
                  </a:lnTo>
                  <a:lnTo>
                    <a:pt x="12" y="1254"/>
                  </a:lnTo>
                  <a:lnTo>
                    <a:pt x="0" y="1258"/>
                  </a:lnTo>
                  <a:lnTo>
                    <a:pt x="0" y="1616"/>
                  </a:lnTo>
                  <a:lnTo>
                    <a:pt x="1587" y="973"/>
                  </a:lnTo>
                  <a:lnTo>
                    <a:pt x="1587" y="644"/>
                  </a:lnTo>
                  <a:lnTo>
                    <a:pt x="0" y="0"/>
                  </a:lnTo>
                  <a:close/>
                </a:path>
              </a:pathLst>
            </a:custGeom>
            <a:solidFill>
              <a:srgbClr val="00BBEE"/>
            </a:solid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nvGrpSpPr>
            <p:cNvPr id="57" name="Group 56"/>
            <p:cNvGrpSpPr/>
            <p:nvPr userDrawn="1"/>
          </p:nvGrpSpPr>
          <p:grpSpPr>
            <a:xfrm>
              <a:off x="471488" y="605980"/>
              <a:ext cx="2232912" cy="822446"/>
              <a:chOff x="471488" y="605980"/>
              <a:chExt cx="2232912" cy="822446"/>
            </a:xfrm>
          </p:grpSpPr>
          <p:sp>
            <p:nvSpPr>
              <p:cNvPr id="58" name="Freeform 8"/>
              <p:cNvSpPr>
                <a:spLocks noEditPoints="1"/>
              </p:cNvSpPr>
              <p:nvPr userDrawn="1"/>
            </p:nvSpPr>
            <p:spPr bwMode="auto">
              <a:xfrm>
                <a:off x="483200" y="1226389"/>
                <a:ext cx="2221200" cy="202037"/>
              </a:xfrm>
              <a:custGeom>
                <a:avLst/>
                <a:gdLst/>
                <a:ahLst/>
                <a:cxnLst>
                  <a:cxn ang="0">
                    <a:pos x="13149" y="878"/>
                  </a:cxn>
                  <a:cxn ang="0">
                    <a:pos x="13235" y="367"/>
                  </a:cxn>
                  <a:cxn ang="0">
                    <a:pos x="12964" y="772"/>
                  </a:cxn>
                  <a:cxn ang="0">
                    <a:pos x="13323" y="363"/>
                  </a:cxn>
                  <a:cxn ang="0">
                    <a:pos x="12496" y="598"/>
                  </a:cxn>
                  <a:cxn ang="0">
                    <a:pos x="12646" y="959"/>
                  </a:cxn>
                  <a:cxn ang="0">
                    <a:pos x="12469" y="346"/>
                  </a:cxn>
                  <a:cxn ang="0">
                    <a:pos x="12040" y="947"/>
                  </a:cxn>
                  <a:cxn ang="0">
                    <a:pos x="12139" y="598"/>
                  </a:cxn>
                  <a:cxn ang="0">
                    <a:pos x="11567" y="727"/>
                  </a:cxn>
                  <a:cxn ang="0">
                    <a:pos x="11612" y="935"/>
                  </a:cxn>
                  <a:cxn ang="0">
                    <a:pos x="11573" y="307"/>
                  </a:cxn>
                  <a:cxn ang="0">
                    <a:pos x="11420" y="296"/>
                  </a:cxn>
                  <a:cxn ang="0">
                    <a:pos x="10152" y="380"/>
                  </a:cxn>
                  <a:cxn ang="0">
                    <a:pos x="10243" y="955"/>
                  </a:cxn>
                  <a:cxn ang="0">
                    <a:pos x="9857" y="437"/>
                  </a:cxn>
                  <a:cxn ang="0">
                    <a:pos x="10305" y="453"/>
                  </a:cxn>
                  <a:cxn ang="0">
                    <a:pos x="9631" y="498"/>
                  </a:cxn>
                  <a:cxn ang="0">
                    <a:pos x="9529" y="30"/>
                  </a:cxn>
                  <a:cxn ang="0">
                    <a:pos x="9627" y="860"/>
                  </a:cxn>
                  <a:cxn ang="0">
                    <a:pos x="8359" y="361"/>
                  </a:cxn>
                  <a:cxn ang="0">
                    <a:pos x="8418" y="962"/>
                  </a:cxn>
                  <a:cxn ang="0">
                    <a:pos x="8131" y="389"/>
                  </a:cxn>
                  <a:cxn ang="0">
                    <a:pos x="8564" y="560"/>
                  </a:cxn>
                  <a:cxn ang="0">
                    <a:pos x="7676" y="703"/>
                  </a:cxn>
                  <a:cxn ang="0">
                    <a:pos x="7759" y="943"/>
                  </a:cxn>
                  <a:cxn ang="0">
                    <a:pos x="7683" y="314"/>
                  </a:cxn>
                  <a:cxn ang="0">
                    <a:pos x="7330" y="422"/>
                  </a:cxn>
                  <a:cxn ang="0">
                    <a:pos x="7101" y="379"/>
                  </a:cxn>
                  <a:cxn ang="0">
                    <a:pos x="6529" y="690"/>
                  </a:cxn>
                  <a:cxn ang="0">
                    <a:pos x="6707" y="794"/>
                  </a:cxn>
                  <a:cxn ang="0">
                    <a:pos x="6363" y="801"/>
                  </a:cxn>
                  <a:cxn ang="0">
                    <a:pos x="6673" y="369"/>
                  </a:cxn>
                  <a:cxn ang="0">
                    <a:pos x="6590" y="282"/>
                  </a:cxn>
                  <a:cxn ang="0">
                    <a:pos x="6091" y="378"/>
                  </a:cxn>
                  <a:cxn ang="0">
                    <a:pos x="5748" y="380"/>
                  </a:cxn>
                  <a:cxn ang="0">
                    <a:pos x="5665" y="294"/>
                  </a:cxn>
                  <a:cxn ang="0">
                    <a:pos x="6153" y="294"/>
                  </a:cxn>
                  <a:cxn ang="0">
                    <a:pos x="5307" y="392"/>
                  </a:cxn>
                  <a:cxn ang="0">
                    <a:pos x="4526" y="581"/>
                  </a:cxn>
                  <a:cxn ang="0">
                    <a:pos x="4830" y="751"/>
                  </a:cxn>
                  <a:cxn ang="0">
                    <a:pos x="4502" y="891"/>
                  </a:cxn>
                  <a:cxn ang="0">
                    <a:pos x="4702" y="282"/>
                  </a:cxn>
                  <a:cxn ang="0">
                    <a:pos x="4846" y="911"/>
                  </a:cxn>
                  <a:cxn ang="0">
                    <a:pos x="4109" y="206"/>
                  </a:cxn>
                  <a:cxn ang="0">
                    <a:pos x="3748" y="360"/>
                  </a:cxn>
                  <a:cxn ang="0">
                    <a:pos x="3222" y="369"/>
                  </a:cxn>
                  <a:cxn ang="0">
                    <a:pos x="3209" y="823"/>
                  </a:cxn>
                  <a:cxn ang="0">
                    <a:pos x="3097" y="860"/>
                  </a:cxn>
                  <a:cxn ang="0">
                    <a:pos x="3277" y="281"/>
                  </a:cxn>
                  <a:cxn ang="0">
                    <a:pos x="2577" y="475"/>
                  </a:cxn>
                  <a:cxn ang="0">
                    <a:pos x="2827" y="752"/>
                  </a:cxn>
                  <a:cxn ang="0">
                    <a:pos x="2556" y="840"/>
                  </a:cxn>
                  <a:cxn ang="0">
                    <a:pos x="2934" y="471"/>
                  </a:cxn>
                  <a:cxn ang="0">
                    <a:pos x="1927" y="403"/>
                  </a:cxn>
                  <a:cxn ang="0">
                    <a:pos x="1720" y="364"/>
                  </a:cxn>
                  <a:cxn ang="0">
                    <a:pos x="1117" y="405"/>
                  </a:cxn>
                  <a:cxn ang="0">
                    <a:pos x="1286" y="827"/>
                  </a:cxn>
                  <a:cxn ang="0">
                    <a:pos x="994" y="1115"/>
                  </a:cxn>
                  <a:cxn ang="0">
                    <a:pos x="1262" y="928"/>
                  </a:cxn>
                  <a:cxn ang="0">
                    <a:pos x="1017" y="376"/>
                  </a:cxn>
                  <a:cxn ang="0">
                    <a:pos x="1421" y="1097"/>
                  </a:cxn>
                  <a:cxn ang="0">
                    <a:pos x="604" y="947"/>
                  </a:cxn>
                </a:cxnLst>
                <a:rect l="0" t="0" r="r" b="b"/>
                <a:pathLst>
                  <a:path w="13694" h="1240">
                    <a:moveTo>
                      <a:pt x="13557" y="947"/>
                    </a:moveTo>
                    <a:lnTo>
                      <a:pt x="13557" y="811"/>
                    </a:lnTo>
                    <a:lnTo>
                      <a:pt x="13694" y="811"/>
                    </a:lnTo>
                    <a:lnTo>
                      <a:pt x="13694" y="947"/>
                    </a:lnTo>
                    <a:lnTo>
                      <a:pt x="13557" y="947"/>
                    </a:lnTo>
                    <a:close/>
                    <a:moveTo>
                      <a:pt x="13193" y="359"/>
                    </a:moveTo>
                    <a:lnTo>
                      <a:pt x="13181" y="360"/>
                    </a:lnTo>
                    <a:lnTo>
                      <a:pt x="13170" y="361"/>
                    </a:lnTo>
                    <a:lnTo>
                      <a:pt x="13160" y="365"/>
                    </a:lnTo>
                    <a:lnTo>
                      <a:pt x="13150" y="368"/>
                    </a:lnTo>
                    <a:lnTo>
                      <a:pt x="13142" y="372"/>
                    </a:lnTo>
                    <a:lnTo>
                      <a:pt x="13133" y="378"/>
                    </a:lnTo>
                    <a:lnTo>
                      <a:pt x="13125" y="384"/>
                    </a:lnTo>
                    <a:lnTo>
                      <a:pt x="13118" y="391"/>
                    </a:lnTo>
                    <a:lnTo>
                      <a:pt x="13111" y="399"/>
                    </a:lnTo>
                    <a:lnTo>
                      <a:pt x="13105" y="407"/>
                    </a:lnTo>
                    <a:lnTo>
                      <a:pt x="13098" y="417"/>
                    </a:lnTo>
                    <a:lnTo>
                      <a:pt x="13093" y="426"/>
                    </a:lnTo>
                    <a:lnTo>
                      <a:pt x="13084" y="446"/>
                    </a:lnTo>
                    <a:lnTo>
                      <a:pt x="13076" y="468"/>
                    </a:lnTo>
                    <a:lnTo>
                      <a:pt x="13070" y="492"/>
                    </a:lnTo>
                    <a:lnTo>
                      <a:pt x="13064" y="515"/>
                    </a:lnTo>
                    <a:lnTo>
                      <a:pt x="13061" y="538"/>
                    </a:lnTo>
                    <a:lnTo>
                      <a:pt x="13058" y="562"/>
                    </a:lnTo>
                    <a:lnTo>
                      <a:pt x="13056" y="607"/>
                    </a:lnTo>
                    <a:lnTo>
                      <a:pt x="13055" y="645"/>
                    </a:lnTo>
                    <a:lnTo>
                      <a:pt x="13055" y="662"/>
                    </a:lnTo>
                    <a:lnTo>
                      <a:pt x="13056" y="681"/>
                    </a:lnTo>
                    <a:lnTo>
                      <a:pt x="13057" y="700"/>
                    </a:lnTo>
                    <a:lnTo>
                      <a:pt x="13059" y="721"/>
                    </a:lnTo>
                    <a:lnTo>
                      <a:pt x="13062" y="740"/>
                    </a:lnTo>
                    <a:lnTo>
                      <a:pt x="13066" y="760"/>
                    </a:lnTo>
                    <a:lnTo>
                      <a:pt x="13071" y="779"/>
                    </a:lnTo>
                    <a:lnTo>
                      <a:pt x="13078" y="799"/>
                    </a:lnTo>
                    <a:lnTo>
                      <a:pt x="13085" y="816"/>
                    </a:lnTo>
                    <a:lnTo>
                      <a:pt x="13094" y="833"/>
                    </a:lnTo>
                    <a:lnTo>
                      <a:pt x="13099" y="840"/>
                    </a:lnTo>
                    <a:lnTo>
                      <a:pt x="13106" y="847"/>
                    </a:lnTo>
                    <a:lnTo>
                      <a:pt x="13111" y="853"/>
                    </a:lnTo>
                    <a:lnTo>
                      <a:pt x="13118" y="860"/>
                    </a:lnTo>
                    <a:lnTo>
                      <a:pt x="13125" y="865"/>
                    </a:lnTo>
                    <a:lnTo>
                      <a:pt x="13133" y="870"/>
                    </a:lnTo>
                    <a:lnTo>
                      <a:pt x="13140" y="874"/>
                    </a:lnTo>
                    <a:lnTo>
                      <a:pt x="13149" y="878"/>
                    </a:lnTo>
                    <a:lnTo>
                      <a:pt x="13159" y="880"/>
                    </a:lnTo>
                    <a:lnTo>
                      <a:pt x="13169" y="883"/>
                    </a:lnTo>
                    <a:lnTo>
                      <a:pt x="13178" y="884"/>
                    </a:lnTo>
                    <a:lnTo>
                      <a:pt x="13190" y="885"/>
                    </a:lnTo>
                    <a:lnTo>
                      <a:pt x="13200" y="884"/>
                    </a:lnTo>
                    <a:lnTo>
                      <a:pt x="13211" y="883"/>
                    </a:lnTo>
                    <a:lnTo>
                      <a:pt x="13221" y="880"/>
                    </a:lnTo>
                    <a:lnTo>
                      <a:pt x="13229" y="877"/>
                    </a:lnTo>
                    <a:lnTo>
                      <a:pt x="13239" y="873"/>
                    </a:lnTo>
                    <a:lnTo>
                      <a:pt x="13247" y="869"/>
                    </a:lnTo>
                    <a:lnTo>
                      <a:pt x="13255" y="863"/>
                    </a:lnTo>
                    <a:lnTo>
                      <a:pt x="13263" y="857"/>
                    </a:lnTo>
                    <a:lnTo>
                      <a:pt x="13270" y="850"/>
                    </a:lnTo>
                    <a:lnTo>
                      <a:pt x="13277" y="842"/>
                    </a:lnTo>
                    <a:lnTo>
                      <a:pt x="13284" y="835"/>
                    </a:lnTo>
                    <a:lnTo>
                      <a:pt x="13289" y="826"/>
                    </a:lnTo>
                    <a:lnTo>
                      <a:pt x="13300" y="808"/>
                    </a:lnTo>
                    <a:lnTo>
                      <a:pt x="13310" y="788"/>
                    </a:lnTo>
                    <a:lnTo>
                      <a:pt x="13318" y="768"/>
                    </a:lnTo>
                    <a:lnTo>
                      <a:pt x="13325" y="747"/>
                    </a:lnTo>
                    <a:lnTo>
                      <a:pt x="13331" y="725"/>
                    </a:lnTo>
                    <a:lnTo>
                      <a:pt x="13336" y="703"/>
                    </a:lnTo>
                    <a:lnTo>
                      <a:pt x="13339" y="682"/>
                    </a:lnTo>
                    <a:lnTo>
                      <a:pt x="13341" y="661"/>
                    </a:lnTo>
                    <a:lnTo>
                      <a:pt x="13342" y="643"/>
                    </a:lnTo>
                    <a:lnTo>
                      <a:pt x="13343" y="624"/>
                    </a:lnTo>
                    <a:lnTo>
                      <a:pt x="13342" y="607"/>
                    </a:lnTo>
                    <a:lnTo>
                      <a:pt x="13341" y="587"/>
                    </a:lnTo>
                    <a:lnTo>
                      <a:pt x="13340" y="566"/>
                    </a:lnTo>
                    <a:lnTo>
                      <a:pt x="13337" y="545"/>
                    </a:lnTo>
                    <a:lnTo>
                      <a:pt x="13333" y="522"/>
                    </a:lnTo>
                    <a:lnTo>
                      <a:pt x="13328" y="500"/>
                    </a:lnTo>
                    <a:lnTo>
                      <a:pt x="13322" y="479"/>
                    </a:lnTo>
                    <a:lnTo>
                      <a:pt x="13314" y="458"/>
                    </a:lnTo>
                    <a:lnTo>
                      <a:pt x="13305" y="437"/>
                    </a:lnTo>
                    <a:lnTo>
                      <a:pt x="13295" y="419"/>
                    </a:lnTo>
                    <a:lnTo>
                      <a:pt x="13288" y="410"/>
                    </a:lnTo>
                    <a:lnTo>
                      <a:pt x="13283" y="403"/>
                    </a:lnTo>
                    <a:lnTo>
                      <a:pt x="13275" y="395"/>
                    </a:lnTo>
                    <a:lnTo>
                      <a:pt x="13268" y="388"/>
                    </a:lnTo>
                    <a:lnTo>
                      <a:pt x="13261" y="382"/>
                    </a:lnTo>
                    <a:lnTo>
                      <a:pt x="13252" y="376"/>
                    </a:lnTo>
                    <a:lnTo>
                      <a:pt x="13244" y="371"/>
                    </a:lnTo>
                    <a:lnTo>
                      <a:pt x="13235" y="367"/>
                    </a:lnTo>
                    <a:lnTo>
                      <a:pt x="13225" y="364"/>
                    </a:lnTo>
                    <a:lnTo>
                      <a:pt x="13214" y="361"/>
                    </a:lnTo>
                    <a:lnTo>
                      <a:pt x="13203" y="360"/>
                    </a:lnTo>
                    <a:lnTo>
                      <a:pt x="13193" y="359"/>
                    </a:lnTo>
                    <a:close/>
                    <a:moveTo>
                      <a:pt x="13344" y="947"/>
                    </a:moveTo>
                    <a:lnTo>
                      <a:pt x="13344" y="836"/>
                    </a:lnTo>
                    <a:lnTo>
                      <a:pt x="13341" y="836"/>
                    </a:lnTo>
                    <a:lnTo>
                      <a:pt x="13337" y="850"/>
                    </a:lnTo>
                    <a:lnTo>
                      <a:pt x="13331" y="863"/>
                    </a:lnTo>
                    <a:lnTo>
                      <a:pt x="13324" y="876"/>
                    </a:lnTo>
                    <a:lnTo>
                      <a:pt x="13316" y="888"/>
                    </a:lnTo>
                    <a:lnTo>
                      <a:pt x="13308" y="899"/>
                    </a:lnTo>
                    <a:lnTo>
                      <a:pt x="13299" y="910"/>
                    </a:lnTo>
                    <a:lnTo>
                      <a:pt x="13288" y="918"/>
                    </a:lnTo>
                    <a:lnTo>
                      <a:pt x="13277" y="927"/>
                    </a:lnTo>
                    <a:lnTo>
                      <a:pt x="13266" y="936"/>
                    </a:lnTo>
                    <a:lnTo>
                      <a:pt x="13254" y="942"/>
                    </a:lnTo>
                    <a:lnTo>
                      <a:pt x="13241" y="948"/>
                    </a:lnTo>
                    <a:lnTo>
                      <a:pt x="13228" y="953"/>
                    </a:lnTo>
                    <a:lnTo>
                      <a:pt x="13214" y="958"/>
                    </a:lnTo>
                    <a:lnTo>
                      <a:pt x="13200" y="960"/>
                    </a:lnTo>
                    <a:lnTo>
                      <a:pt x="13186" y="962"/>
                    </a:lnTo>
                    <a:lnTo>
                      <a:pt x="13172" y="962"/>
                    </a:lnTo>
                    <a:lnTo>
                      <a:pt x="13155" y="962"/>
                    </a:lnTo>
                    <a:lnTo>
                      <a:pt x="13138" y="960"/>
                    </a:lnTo>
                    <a:lnTo>
                      <a:pt x="13123" y="958"/>
                    </a:lnTo>
                    <a:lnTo>
                      <a:pt x="13109" y="954"/>
                    </a:lnTo>
                    <a:lnTo>
                      <a:pt x="13095" y="950"/>
                    </a:lnTo>
                    <a:lnTo>
                      <a:pt x="13082" y="945"/>
                    </a:lnTo>
                    <a:lnTo>
                      <a:pt x="13070" y="938"/>
                    </a:lnTo>
                    <a:lnTo>
                      <a:pt x="13058" y="931"/>
                    </a:lnTo>
                    <a:lnTo>
                      <a:pt x="13047" y="924"/>
                    </a:lnTo>
                    <a:lnTo>
                      <a:pt x="13037" y="915"/>
                    </a:lnTo>
                    <a:lnTo>
                      <a:pt x="13028" y="907"/>
                    </a:lnTo>
                    <a:lnTo>
                      <a:pt x="13019" y="897"/>
                    </a:lnTo>
                    <a:lnTo>
                      <a:pt x="13011" y="886"/>
                    </a:lnTo>
                    <a:lnTo>
                      <a:pt x="13004" y="875"/>
                    </a:lnTo>
                    <a:lnTo>
                      <a:pt x="12996" y="863"/>
                    </a:lnTo>
                    <a:lnTo>
                      <a:pt x="12991" y="851"/>
                    </a:lnTo>
                    <a:lnTo>
                      <a:pt x="12984" y="839"/>
                    </a:lnTo>
                    <a:lnTo>
                      <a:pt x="12979" y="826"/>
                    </a:lnTo>
                    <a:lnTo>
                      <a:pt x="12974" y="813"/>
                    </a:lnTo>
                    <a:lnTo>
                      <a:pt x="12970" y="800"/>
                    </a:lnTo>
                    <a:lnTo>
                      <a:pt x="12964" y="772"/>
                    </a:lnTo>
                    <a:lnTo>
                      <a:pt x="12958" y="744"/>
                    </a:lnTo>
                    <a:lnTo>
                      <a:pt x="12954" y="714"/>
                    </a:lnTo>
                    <a:lnTo>
                      <a:pt x="12951" y="685"/>
                    </a:lnTo>
                    <a:lnTo>
                      <a:pt x="12949" y="656"/>
                    </a:lnTo>
                    <a:lnTo>
                      <a:pt x="12949" y="627"/>
                    </a:lnTo>
                    <a:lnTo>
                      <a:pt x="12949" y="600"/>
                    </a:lnTo>
                    <a:lnTo>
                      <a:pt x="12952" y="572"/>
                    </a:lnTo>
                    <a:lnTo>
                      <a:pt x="12954" y="543"/>
                    </a:lnTo>
                    <a:lnTo>
                      <a:pt x="12959" y="513"/>
                    </a:lnTo>
                    <a:lnTo>
                      <a:pt x="12965" y="484"/>
                    </a:lnTo>
                    <a:lnTo>
                      <a:pt x="12972" y="456"/>
                    </a:lnTo>
                    <a:lnTo>
                      <a:pt x="12977" y="442"/>
                    </a:lnTo>
                    <a:lnTo>
                      <a:pt x="12982" y="428"/>
                    </a:lnTo>
                    <a:lnTo>
                      <a:pt x="12987" y="415"/>
                    </a:lnTo>
                    <a:lnTo>
                      <a:pt x="12993" y="402"/>
                    </a:lnTo>
                    <a:lnTo>
                      <a:pt x="12999" y="389"/>
                    </a:lnTo>
                    <a:lnTo>
                      <a:pt x="13007" y="377"/>
                    </a:lnTo>
                    <a:lnTo>
                      <a:pt x="13015" y="365"/>
                    </a:lnTo>
                    <a:lnTo>
                      <a:pt x="13022" y="354"/>
                    </a:lnTo>
                    <a:lnTo>
                      <a:pt x="13031" y="343"/>
                    </a:lnTo>
                    <a:lnTo>
                      <a:pt x="13041" y="333"/>
                    </a:lnTo>
                    <a:lnTo>
                      <a:pt x="13050" y="323"/>
                    </a:lnTo>
                    <a:lnTo>
                      <a:pt x="13061" y="316"/>
                    </a:lnTo>
                    <a:lnTo>
                      <a:pt x="13072" y="308"/>
                    </a:lnTo>
                    <a:lnTo>
                      <a:pt x="13084" y="301"/>
                    </a:lnTo>
                    <a:lnTo>
                      <a:pt x="13097" y="295"/>
                    </a:lnTo>
                    <a:lnTo>
                      <a:pt x="13110" y="290"/>
                    </a:lnTo>
                    <a:lnTo>
                      <a:pt x="13124" y="287"/>
                    </a:lnTo>
                    <a:lnTo>
                      <a:pt x="13138" y="283"/>
                    </a:lnTo>
                    <a:lnTo>
                      <a:pt x="13155" y="282"/>
                    </a:lnTo>
                    <a:lnTo>
                      <a:pt x="13171" y="281"/>
                    </a:lnTo>
                    <a:lnTo>
                      <a:pt x="13186" y="282"/>
                    </a:lnTo>
                    <a:lnTo>
                      <a:pt x="13201" y="283"/>
                    </a:lnTo>
                    <a:lnTo>
                      <a:pt x="13215" y="285"/>
                    </a:lnTo>
                    <a:lnTo>
                      <a:pt x="13229" y="289"/>
                    </a:lnTo>
                    <a:lnTo>
                      <a:pt x="13242" y="293"/>
                    </a:lnTo>
                    <a:lnTo>
                      <a:pt x="13254" y="298"/>
                    </a:lnTo>
                    <a:lnTo>
                      <a:pt x="13266" y="305"/>
                    </a:lnTo>
                    <a:lnTo>
                      <a:pt x="13277" y="313"/>
                    </a:lnTo>
                    <a:lnTo>
                      <a:pt x="13288" y="320"/>
                    </a:lnTo>
                    <a:lnTo>
                      <a:pt x="13298" y="330"/>
                    </a:lnTo>
                    <a:lnTo>
                      <a:pt x="13306" y="340"/>
                    </a:lnTo>
                    <a:lnTo>
                      <a:pt x="13315" y="351"/>
                    </a:lnTo>
                    <a:lnTo>
                      <a:pt x="13323" y="363"/>
                    </a:lnTo>
                    <a:lnTo>
                      <a:pt x="13329" y="376"/>
                    </a:lnTo>
                    <a:lnTo>
                      <a:pt x="13336" y="389"/>
                    </a:lnTo>
                    <a:lnTo>
                      <a:pt x="13341" y="403"/>
                    </a:lnTo>
                    <a:lnTo>
                      <a:pt x="13344" y="403"/>
                    </a:lnTo>
                    <a:lnTo>
                      <a:pt x="13344" y="4"/>
                    </a:lnTo>
                    <a:lnTo>
                      <a:pt x="13437" y="4"/>
                    </a:lnTo>
                    <a:lnTo>
                      <a:pt x="13437" y="947"/>
                    </a:lnTo>
                    <a:lnTo>
                      <a:pt x="13344" y="947"/>
                    </a:lnTo>
                    <a:close/>
                    <a:moveTo>
                      <a:pt x="12639" y="359"/>
                    </a:moveTo>
                    <a:lnTo>
                      <a:pt x="12625" y="360"/>
                    </a:lnTo>
                    <a:lnTo>
                      <a:pt x="12612" y="361"/>
                    </a:lnTo>
                    <a:lnTo>
                      <a:pt x="12599" y="365"/>
                    </a:lnTo>
                    <a:lnTo>
                      <a:pt x="12587" y="369"/>
                    </a:lnTo>
                    <a:lnTo>
                      <a:pt x="12576" y="373"/>
                    </a:lnTo>
                    <a:lnTo>
                      <a:pt x="12565" y="380"/>
                    </a:lnTo>
                    <a:lnTo>
                      <a:pt x="12557" y="386"/>
                    </a:lnTo>
                    <a:lnTo>
                      <a:pt x="12547" y="394"/>
                    </a:lnTo>
                    <a:lnTo>
                      <a:pt x="12539" y="403"/>
                    </a:lnTo>
                    <a:lnTo>
                      <a:pt x="12532" y="412"/>
                    </a:lnTo>
                    <a:lnTo>
                      <a:pt x="12525" y="422"/>
                    </a:lnTo>
                    <a:lnTo>
                      <a:pt x="12519" y="433"/>
                    </a:lnTo>
                    <a:lnTo>
                      <a:pt x="12513" y="445"/>
                    </a:lnTo>
                    <a:lnTo>
                      <a:pt x="12509" y="457"/>
                    </a:lnTo>
                    <a:lnTo>
                      <a:pt x="12506" y="469"/>
                    </a:lnTo>
                    <a:lnTo>
                      <a:pt x="12502" y="482"/>
                    </a:lnTo>
                    <a:lnTo>
                      <a:pt x="12764" y="482"/>
                    </a:lnTo>
                    <a:lnTo>
                      <a:pt x="12763" y="469"/>
                    </a:lnTo>
                    <a:lnTo>
                      <a:pt x="12761" y="457"/>
                    </a:lnTo>
                    <a:lnTo>
                      <a:pt x="12759" y="445"/>
                    </a:lnTo>
                    <a:lnTo>
                      <a:pt x="12754" y="433"/>
                    </a:lnTo>
                    <a:lnTo>
                      <a:pt x="12749" y="422"/>
                    </a:lnTo>
                    <a:lnTo>
                      <a:pt x="12743" y="412"/>
                    </a:lnTo>
                    <a:lnTo>
                      <a:pt x="12736" y="403"/>
                    </a:lnTo>
                    <a:lnTo>
                      <a:pt x="12728" y="394"/>
                    </a:lnTo>
                    <a:lnTo>
                      <a:pt x="12719" y="386"/>
                    </a:lnTo>
                    <a:lnTo>
                      <a:pt x="12710" y="380"/>
                    </a:lnTo>
                    <a:lnTo>
                      <a:pt x="12700" y="373"/>
                    </a:lnTo>
                    <a:lnTo>
                      <a:pt x="12688" y="369"/>
                    </a:lnTo>
                    <a:lnTo>
                      <a:pt x="12677" y="365"/>
                    </a:lnTo>
                    <a:lnTo>
                      <a:pt x="12665" y="361"/>
                    </a:lnTo>
                    <a:lnTo>
                      <a:pt x="12652" y="360"/>
                    </a:lnTo>
                    <a:lnTo>
                      <a:pt x="12639" y="359"/>
                    </a:lnTo>
                    <a:close/>
                    <a:moveTo>
                      <a:pt x="12496" y="560"/>
                    </a:moveTo>
                    <a:lnTo>
                      <a:pt x="12496" y="598"/>
                    </a:lnTo>
                    <a:lnTo>
                      <a:pt x="12496" y="625"/>
                    </a:lnTo>
                    <a:lnTo>
                      <a:pt x="12499" y="651"/>
                    </a:lnTo>
                    <a:lnTo>
                      <a:pt x="12504" y="677"/>
                    </a:lnTo>
                    <a:lnTo>
                      <a:pt x="12509" y="703"/>
                    </a:lnTo>
                    <a:lnTo>
                      <a:pt x="12517" y="727"/>
                    </a:lnTo>
                    <a:lnTo>
                      <a:pt x="12526" y="751"/>
                    </a:lnTo>
                    <a:lnTo>
                      <a:pt x="12532" y="763"/>
                    </a:lnTo>
                    <a:lnTo>
                      <a:pt x="12538" y="774"/>
                    </a:lnTo>
                    <a:lnTo>
                      <a:pt x="12545" y="785"/>
                    </a:lnTo>
                    <a:lnTo>
                      <a:pt x="12551" y="795"/>
                    </a:lnTo>
                    <a:lnTo>
                      <a:pt x="12559" y="804"/>
                    </a:lnTo>
                    <a:lnTo>
                      <a:pt x="12566" y="814"/>
                    </a:lnTo>
                    <a:lnTo>
                      <a:pt x="12574" y="823"/>
                    </a:lnTo>
                    <a:lnTo>
                      <a:pt x="12583" y="832"/>
                    </a:lnTo>
                    <a:lnTo>
                      <a:pt x="12592" y="839"/>
                    </a:lnTo>
                    <a:lnTo>
                      <a:pt x="12602" y="847"/>
                    </a:lnTo>
                    <a:lnTo>
                      <a:pt x="12612" y="853"/>
                    </a:lnTo>
                    <a:lnTo>
                      <a:pt x="12623" y="860"/>
                    </a:lnTo>
                    <a:lnTo>
                      <a:pt x="12634" y="865"/>
                    </a:lnTo>
                    <a:lnTo>
                      <a:pt x="12646" y="871"/>
                    </a:lnTo>
                    <a:lnTo>
                      <a:pt x="12658" y="874"/>
                    </a:lnTo>
                    <a:lnTo>
                      <a:pt x="12671" y="878"/>
                    </a:lnTo>
                    <a:lnTo>
                      <a:pt x="12684" y="880"/>
                    </a:lnTo>
                    <a:lnTo>
                      <a:pt x="12698" y="883"/>
                    </a:lnTo>
                    <a:lnTo>
                      <a:pt x="12712" y="884"/>
                    </a:lnTo>
                    <a:lnTo>
                      <a:pt x="12727" y="885"/>
                    </a:lnTo>
                    <a:lnTo>
                      <a:pt x="12743" y="884"/>
                    </a:lnTo>
                    <a:lnTo>
                      <a:pt x="12760" y="883"/>
                    </a:lnTo>
                    <a:lnTo>
                      <a:pt x="12776" y="882"/>
                    </a:lnTo>
                    <a:lnTo>
                      <a:pt x="12791" y="879"/>
                    </a:lnTo>
                    <a:lnTo>
                      <a:pt x="12823" y="874"/>
                    </a:lnTo>
                    <a:lnTo>
                      <a:pt x="12855" y="866"/>
                    </a:lnTo>
                    <a:lnTo>
                      <a:pt x="12855" y="943"/>
                    </a:lnTo>
                    <a:lnTo>
                      <a:pt x="12837" y="948"/>
                    </a:lnTo>
                    <a:lnTo>
                      <a:pt x="12818" y="952"/>
                    </a:lnTo>
                    <a:lnTo>
                      <a:pt x="12800" y="955"/>
                    </a:lnTo>
                    <a:lnTo>
                      <a:pt x="12781" y="959"/>
                    </a:lnTo>
                    <a:lnTo>
                      <a:pt x="12763" y="960"/>
                    </a:lnTo>
                    <a:lnTo>
                      <a:pt x="12744" y="962"/>
                    </a:lnTo>
                    <a:lnTo>
                      <a:pt x="12725" y="962"/>
                    </a:lnTo>
                    <a:lnTo>
                      <a:pt x="12706" y="962"/>
                    </a:lnTo>
                    <a:lnTo>
                      <a:pt x="12686" y="962"/>
                    </a:lnTo>
                    <a:lnTo>
                      <a:pt x="12665" y="961"/>
                    </a:lnTo>
                    <a:lnTo>
                      <a:pt x="12646" y="959"/>
                    </a:lnTo>
                    <a:lnTo>
                      <a:pt x="12627" y="955"/>
                    </a:lnTo>
                    <a:lnTo>
                      <a:pt x="12610" y="951"/>
                    </a:lnTo>
                    <a:lnTo>
                      <a:pt x="12592" y="947"/>
                    </a:lnTo>
                    <a:lnTo>
                      <a:pt x="12577" y="941"/>
                    </a:lnTo>
                    <a:lnTo>
                      <a:pt x="12561" y="935"/>
                    </a:lnTo>
                    <a:lnTo>
                      <a:pt x="12547" y="928"/>
                    </a:lnTo>
                    <a:lnTo>
                      <a:pt x="12533" y="921"/>
                    </a:lnTo>
                    <a:lnTo>
                      <a:pt x="12519" y="912"/>
                    </a:lnTo>
                    <a:lnTo>
                      <a:pt x="12507" y="903"/>
                    </a:lnTo>
                    <a:lnTo>
                      <a:pt x="12495" y="893"/>
                    </a:lnTo>
                    <a:lnTo>
                      <a:pt x="12483" y="883"/>
                    </a:lnTo>
                    <a:lnTo>
                      <a:pt x="12473" y="872"/>
                    </a:lnTo>
                    <a:lnTo>
                      <a:pt x="12463" y="860"/>
                    </a:lnTo>
                    <a:lnTo>
                      <a:pt x="12454" y="848"/>
                    </a:lnTo>
                    <a:lnTo>
                      <a:pt x="12445" y="835"/>
                    </a:lnTo>
                    <a:lnTo>
                      <a:pt x="12437" y="821"/>
                    </a:lnTo>
                    <a:lnTo>
                      <a:pt x="12430" y="807"/>
                    </a:lnTo>
                    <a:lnTo>
                      <a:pt x="12423" y="793"/>
                    </a:lnTo>
                    <a:lnTo>
                      <a:pt x="12417" y="777"/>
                    </a:lnTo>
                    <a:lnTo>
                      <a:pt x="12411" y="762"/>
                    </a:lnTo>
                    <a:lnTo>
                      <a:pt x="12407" y="746"/>
                    </a:lnTo>
                    <a:lnTo>
                      <a:pt x="12403" y="728"/>
                    </a:lnTo>
                    <a:lnTo>
                      <a:pt x="12399" y="711"/>
                    </a:lnTo>
                    <a:lnTo>
                      <a:pt x="12396" y="694"/>
                    </a:lnTo>
                    <a:lnTo>
                      <a:pt x="12393" y="676"/>
                    </a:lnTo>
                    <a:lnTo>
                      <a:pt x="12392" y="658"/>
                    </a:lnTo>
                    <a:lnTo>
                      <a:pt x="12390" y="638"/>
                    </a:lnTo>
                    <a:lnTo>
                      <a:pt x="12390" y="620"/>
                    </a:lnTo>
                    <a:lnTo>
                      <a:pt x="12389" y="600"/>
                    </a:lnTo>
                    <a:lnTo>
                      <a:pt x="12390" y="569"/>
                    </a:lnTo>
                    <a:lnTo>
                      <a:pt x="12392" y="537"/>
                    </a:lnTo>
                    <a:lnTo>
                      <a:pt x="12396" y="508"/>
                    </a:lnTo>
                    <a:lnTo>
                      <a:pt x="12402" y="479"/>
                    </a:lnTo>
                    <a:lnTo>
                      <a:pt x="12405" y="465"/>
                    </a:lnTo>
                    <a:lnTo>
                      <a:pt x="12409" y="450"/>
                    </a:lnTo>
                    <a:lnTo>
                      <a:pt x="12413" y="437"/>
                    </a:lnTo>
                    <a:lnTo>
                      <a:pt x="12419" y="424"/>
                    </a:lnTo>
                    <a:lnTo>
                      <a:pt x="12424" y="412"/>
                    </a:lnTo>
                    <a:lnTo>
                      <a:pt x="12431" y="399"/>
                    </a:lnTo>
                    <a:lnTo>
                      <a:pt x="12437" y="389"/>
                    </a:lnTo>
                    <a:lnTo>
                      <a:pt x="12444" y="377"/>
                    </a:lnTo>
                    <a:lnTo>
                      <a:pt x="12453" y="366"/>
                    </a:lnTo>
                    <a:lnTo>
                      <a:pt x="12460" y="356"/>
                    </a:lnTo>
                    <a:lnTo>
                      <a:pt x="12469" y="346"/>
                    </a:lnTo>
                    <a:lnTo>
                      <a:pt x="12479" y="338"/>
                    </a:lnTo>
                    <a:lnTo>
                      <a:pt x="12488" y="329"/>
                    </a:lnTo>
                    <a:lnTo>
                      <a:pt x="12499" y="321"/>
                    </a:lnTo>
                    <a:lnTo>
                      <a:pt x="12511" y="314"/>
                    </a:lnTo>
                    <a:lnTo>
                      <a:pt x="12523" y="307"/>
                    </a:lnTo>
                    <a:lnTo>
                      <a:pt x="12535" y="302"/>
                    </a:lnTo>
                    <a:lnTo>
                      <a:pt x="12549" y="296"/>
                    </a:lnTo>
                    <a:lnTo>
                      <a:pt x="12562" y="292"/>
                    </a:lnTo>
                    <a:lnTo>
                      <a:pt x="12577" y="288"/>
                    </a:lnTo>
                    <a:lnTo>
                      <a:pt x="12592" y="285"/>
                    </a:lnTo>
                    <a:lnTo>
                      <a:pt x="12609" y="283"/>
                    </a:lnTo>
                    <a:lnTo>
                      <a:pt x="12626" y="282"/>
                    </a:lnTo>
                    <a:lnTo>
                      <a:pt x="12643" y="281"/>
                    </a:lnTo>
                    <a:lnTo>
                      <a:pt x="12658" y="281"/>
                    </a:lnTo>
                    <a:lnTo>
                      <a:pt x="12671" y="282"/>
                    </a:lnTo>
                    <a:lnTo>
                      <a:pt x="12684" y="284"/>
                    </a:lnTo>
                    <a:lnTo>
                      <a:pt x="12697" y="285"/>
                    </a:lnTo>
                    <a:lnTo>
                      <a:pt x="12709" y="289"/>
                    </a:lnTo>
                    <a:lnTo>
                      <a:pt x="12721" y="292"/>
                    </a:lnTo>
                    <a:lnTo>
                      <a:pt x="12731" y="295"/>
                    </a:lnTo>
                    <a:lnTo>
                      <a:pt x="12742" y="300"/>
                    </a:lnTo>
                    <a:lnTo>
                      <a:pt x="12753" y="305"/>
                    </a:lnTo>
                    <a:lnTo>
                      <a:pt x="12763" y="309"/>
                    </a:lnTo>
                    <a:lnTo>
                      <a:pt x="12773" y="316"/>
                    </a:lnTo>
                    <a:lnTo>
                      <a:pt x="12781" y="321"/>
                    </a:lnTo>
                    <a:lnTo>
                      <a:pt x="12790" y="329"/>
                    </a:lnTo>
                    <a:lnTo>
                      <a:pt x="12799" y="335"/>
                    </a:lnTo>
                    <a:lnTo>
                      <a:pt x="12806" y="343"/>
                    </a:lnTo>
                    <a:lnTo>
                      <a:pt x="12814" y="352"/>
                    </a:lnTo>
                    <a:lnTo>
                      <a:pt x="12820" y="359"/>
                    </a:lnTo>
                    <a:lnTo>
                      <a:pt x="12827" y="368"/>
                    </a:lnTo>
                    <a:lnTo>
                      <a:pt x="12832" y="378"/>
                    </a:lnTo>
                    <a:lnTo>
                      <a:pt x="12838" y="388"/>
                    </a:lnTo>
                    <a:lnTo>
                      <a:pt x="12847" y="408"/>
                    </a:lnTo>
                    <a:lnTo>
                      <a:pt x="12856" y="430"/>
                    </a:lnTo>
                    <a:lnTo>
                      <a:pt x="12862" y="453"/>
                    </a:lnTo>
                    <a:lnTo>
                      <a:pt x="12866" y="477"/>
                    </a:lnTo>
                    <a:lnTo>
                      <a:pt x="12869" y="503"/>
                    </a:lnTo>
                    <a:lnTo>
                      <a:pt x="12870" y="529"/>
                    </a:lnTo>
                    <a:lnTo>
                      <a:pt x="12870" y="560"/>
                    </a:lnTo>
                    <a:lnTo>
                      <a:pt x="12496" y="560"/>
                    </a:lnTo>
                    <a:close/>
                    <a:moveTo>
                      <a:pt x="12132" y="677"/>
                    </a:moveTo>
                    <a:lnTo>
                      <a:pt x="12132" y="947"/>
                    </a:lnTo>
                    <a:lnTo>
                      <a:pt x="12040" y="947"/>
                    </a:lnTo>
                    <a:lnTo>
                      <a:pt x="12040" y="296"/>
                    </a:lnTo>
                    <a:lnTo>
                      <a:pt x="12132" y="296"/>
                    </a:lnTo>
                    <a:lnTo>
                      <a:pt x="12132" y="422"/>
                    </a:lnTo>
                    <a:lnTo>
                      <a:pt x="12136" y="422"/>
                    </a:lnTo>
                    <a:lnTo>
                      <a:pt x="12143" y="405"/>
                    </a:lnTo>
                    <a:lnTo>
                      <a:pt x="12152" y="389"/>
                    </a:lnTo>
                    <a:lnTo>
                      <a:pt x="12162" y="374"/>
                    </a:lnTo>
                    <a:lnTo>
                      <a:pt x="12171" y="360"/>
                    </a:lnTo>
                    <a:lnTo>
                      <a:pt x="12183" y="347"/>
                    </a:lnTo>
                    <a:lnTo>
                      <a:pt x="12194" y="336"/>
                    </a:lnTo>
                    <a:lnTo>
                      <a:pt x="12207" y="326"/>
                    </a:lnTo>
                    <a:lnTo>
                      <a:pt x="12220" y="316"/>
                    </a:lnTo>
                    <a:lnTo>
                      <a:pt x="12234" y="308"/>
                    </a:lnTo>
                    <a:lnTo>
                      <a:pt x="12249" y="301"/>
                    </a:lnTo>
                    <a:lnTo>
                      <a:pt x="12265" y="295"/>
                    </a:lnTo>
                    <a:lnTo>
                      <a:pt x="12281" y="290"/>
                    </a:lnTo>
                    <a:lnTo>
                      <a:pt x="12297" y="287"/>
                    </a:lnTo>
                    <a:lnTo>
                      <a:pt x="12315" y="283"/>
                    </a:lnTo>
                    <a:lnTo>
                      <a:pt x="12333" y="282"/>
                    </a:lnTo>
                    <a:lnTo>
                      <a:pt x="12353" y="281"/>
                    </a:lnTo>
                    <a:lnTo>
                      <a:pt x="12353" y="381"/>
                    </a:lnTo>
                    <a:lnTo>
                      <a:pt x="12338" y="382"/>
                    </a:lnTo>
                    <a:lnTo>
                      <a:pt x="12322" y="383"/>
                    </a:lnTo>
                    <a:lnTo>
                      <a:pt x="12308" y="385"/>
                    </a:lnTo>
                    <a:lnTo>
                      <a:pt x="12295" y="389"/>
                    </a:lnTo>
                    <a:lnTo>
                      <a:pt x="12282" y="392"/>
                    </a:lnTo>
                    <a:lnTo>
                      <a:pt x="12270" y="396"/>
                    </a:lnTo>
                    <a:lnTo>
                      <a:pt x="12258" y="402"/>
                    </a:lnTo>
                    <a:lnTo>
                      <a:pt x="12247" y="407"/>
                    </a:lnTo>
                    <a:lnTo>
                      <a:pt x="12237" y="415"/>
                    </a:lnTo>
                    <a:lnTo>
                      <a:pt x="12227" y="421"/>
                    </a:lnTo>
                    <a:lnTo>
                      <a:pt x="12218" y="429"/>
                    </a:lnTo>
                    <a:lnTo>
                      <a:pt x="12209" y="437"/>
                    </a:lnTo>
                    <a:lnTo>
                      <a:pt x="12201" y="446"/>
                    </a:lnTo>
                    <a:lnTo>
                      <a:pt x="12193" y="456"/>
                    </a:lnTo>
                    <a:lnTo>
                      <a:pt x="12187" y="466"/>
                    </a:lnTo>
                    <a:lnTo>
                      <a:pt x="12179" y="477"/>
                    </a:lnTo>
                    <a:lnTo>
                      <a:pt x="12174" y="487"/>
                    </a:lnTo>
                    <a:lnTo>
                      <a:pt x="12168" y="498"/>
                    </a:lnTo>
                    <a:lnTo>
                      <a:pt x="12163" y="510"/>
                    </a:lnTo>
                    <a:lnTo>
                      <a:pt x="12157" y="521"/>
                    </a:lnTo>
                    <a:lnTo>
                      <a:pt x="12150" y="546"/>
                    </a:lnTo>
                    <a:lnTo>
                      <a:pt x="12143" y="571"/>
                    </a:lnTo>
                    <a:lnTo>
                      <a:pt x="12139" y="598"/>
                    </a:lnTo>
                    <a:lnTo>
                      <a:pt x="12136" y="624"/>
                    </a:lnTo>
                    <a:lnTo>
                      <a:pt x="12134" y="651"/>
                    </a:lnTo>
                    <a:lnTo>
                      <a:pt x="12132" y="677"/>
                    </a:lnTo>
                    <a:close/>
                    <a:moveTo>
                      <a:pt x="11690" y="359"/>
                    </a:moveTo>
                    <a:lnTo>
                      <a:pt x="11676" y="360"/>
                    </a:lnTo>
                    <a:lnTo>
                      <a:pt x="11663" y="361"/>
                    </a:lnTo>
                    <a:lnTo>
                      <a:pt x="11650" y="365"/>
                    </a:lnTo>
                    <a:lnTo>
                      <a:pt x="11638" y="369"/>
                    </a:lnTo>
                    <a:lnTo>
                      <a:pt x="11627" y="373"/>
                    </a:lnTo>
                    <a:lnTo>
                      <a:pt x="11616" y="380"/>
                    </a:lnTo>
                    <a:lnTo>
                      <a:pt x="11606" y="386"/>
                    </a:lnTo>
                    <a:lnTo>
                      <a:pt x="11597" y="394"/>
                    </a:lnTo>
                    <a:lnTo>
                      <a:pt x="11589" y="403"/>
                    </a:lnTo>
                    <a:lnTo>
                      <a:pt x="11582" y="412"/>
                    </a:lnTo>
                    <a:lnTo>
                      <a:pt x="11575" y="422"/>
                    </a:lnTo>
                    <a:lnTo>
                      <a:pt x="11569" y="433"/>
                    </a:lnTo>
                    <a:lnTo>
                      <a:pt x="11564" y="445"/>
                    </a:lnTo>
                    <a:lnTo>
                      <a:pt x="11560" y="457"/>
                    </a:lnTo>
                    <a:lnTo>
                      <a:pt x="11555" y="469"/>
                    </a:lnTo>
                    <a:lnTo>
                      <a:pt x="11553" y="482"/>
                    </a:lnTo>
                    <a:lnTo>
                      <a:pt x="11813" y="482"/>
                    </a:lnTo>
                    <a:lnTo>
                      <a:pt x="11813" y="469"/>
                    </a:lnTo>
                    <a:lnTo>
                      <a:pt x="11811" y="457"/>
                    </a:lnTo>
                    <a:lnTo>
                      <a:pt x="11808" y="445"/>
                    </a:lnTo>
                    <a:lnTo>
                      <a:pt x="11805" y="433"/>
                    </a:lnTo>
                    <a:lnTo>
                      <a:pt x="11799" y="422"/>
                    </a:lnTo>
                    <a:lnTo>
                      <a:pt x="11793" y="412"/>
                    </a:lnTo>
                    <a:lnTo>
                      <a:pt x="11786" y="403"/>
                    </a:lnTo>
                    <a:lnTo>
                      <a:pt x="11779" y="394"/>
                    </a:lnTo>
                    <a:lnTo>
                      <a:pt x="11770" y="386"/>
                    </a:lnTo>
                    <a:lnTo>
                      <a:pt x="11760" y="380"/>
                    </a:lnTo>
                    <a:lnTo>
                      <a:pt x="11749" y="373"/>
                    </a:lnTo>
                    <a:lnTo>
                      <a:pt x="11739" y="369"/>
                    </a:lnTo>
                    <a:lnTo>
                      <a:pt x="11728" y="365"/>
                    </a:lnTo>
                    <a:lnTo>
                      <a:pt x="11715" y="361"/>
                    </a:lnTo>
                    <a:lnTo>
                      <a:pt x="11703" y="360"/>
                    </a:lnTo>
                    <a:lnTo>
                      <a:pt x="11690" y="359"/>
                    </a:lnTo>
                    <a:close/>
                    <a:moveTo>
                      <a:pt x="11545" y="560"/>
                    </a:moveTo>
                    <a:lnTo>
                      <a:pt x="11545" y="598"/>
                    </a:lnTo>
                    <a:lnTo>
                      <a:pt x="11546" y="625"/>
                    </a:lnTo>
                    <a:lnTo>
                      <a:pt x="11550" y="651"/>
                    </a:lnTo>
                    <a:lnTo>
                      <a:pt x="11553" y="677"/>
                    </a:lnTo>
                    <a:lnTo>
                      <a:pt x="11560" y="703"/>
                    </a:lnTo>
                    <a:lnTo>
                      <a:pt x="11567" y="727"/>
                    </a:lnTo>
                    <a:lnTo>
                      <a:pt x="11577" y="751"/>
                    </a:lnTo>
                    <a:lnTo>
                      <a:pt x="11582" y="763"/>
                    </a:lnTo>
                    <a:lnTo>
                      <a:pt x="11588" y="774"/>
                    </a:lnTo>
                    <a:lnTo>
                      <a:pt x="11594" y="785"/>
                    </a:lnTo>
                    <a:lnTo>
                      <a:pt x="11602" y="795"/>
                    </a:lnTo>
                    <a:lnTo>
                      <a:pt x="11608" y="804"/>
                    </a:lnTo>
                    <a:lnTo>
                      <a:pt x="11617" y="814"/>
                    </a:lnTo>
                    <a:lnTo>
                      <a:pt x="11625" y="823"/>
                    </a:lnTo>
                    <a:lnTo>
                      <a:pt x="11633" y="832"/>
                    </a:lnTo>
                    <a:lnTo>
                      <a:pt x="11643" y="839"/>
                    </a:lnTo>
                    <a:lnTo>
                      <a:pt x="11653" y="847"/>
                    </a:lnTo>
                    <a:lnTo>
                      <a:pt x="11663" y="853"/>
                    </a:lnTo>
                    <a:lnTo>
                      <a:pt x="11673" y="860"/>
                    </a:lnTo>
                    <a:lnTo>
                      <a:pt x="11684" y="865"/>
                    </a:lnTo>
                    <a:lnTo>
                      <a:pt x="11696" y="871"/>
                    </a:lnTo>
                    <a:lnTo>
                      <a:pt x="11708" y="874"/>
                    </a:lnTo>
                    <a:lnTo>
                      <a:pt x="11721" y="878"/>
                    </a:lnTo>
                    <a:lnTo>
                      <a:pt x="11734" y="880"/>
                    </a:lnTo>
                    <a:lnTo>
                      <a:pt x="11748" y="883"/>
                    </a:lnTo>
                    <a:lnTo>
                      <a:pt x="11762" y="884"/>
                    </a:lnTo>
                    <a:lnTo>
                      <a:pt x="11777" y="885"/>
                    </a:lnTo>
                    <a:lnTo>
                      <a:pt x="11794" y="884"/>
                    </a:lnTo>
                    <a:lnTo>
                      <a:pt x="11810" y="883"/>
                    </a:lnTo>
                    <a:lnTo>
                      <a:pt x="11825" y="882"/>
                    </a:lnTo>
                    <a:lnTo>
                      <a:pt x="11842" y="879"/>
                    </a:lnTo>
                    <a:lnTo>
                      <a:pt x="11873" y="874"/>
                    </a:lnTo>
                    <a:lnTo>
                      <a:pt x="11906" y="866"/>
                    </a:lnTo>
                    <a:lnTo>
                      <a:pt x="11906" y="943"/>
                    </a:lnTo>
                    <a:lnTo>
                      <a:pt x="11887" y="948"/>
                    </a:lnTo>
                    <a:lnTo>
                      <a:pt x="11869" y="952"/>
                    </a:lnTo>
                    <a:lnTo>
                      <a:pt x="11850" y="955"/>
                    </a:lnTo>
                    <a:lnTo>
                      <a:pt x="11832" y="959"/>
                    </a:lnTo>
                    <a:lnTo>
                      <a:pt x="11813" y="960"/>
                    </a:lnTo>
                    <a:lnTo>
                      <a:pt x="11794" y="962"/>
                    </a:lnTo>
                    <a:lnTo>
                      <a:pt x="11775" y="962"/>
                    </a:lnTo>
                    <a:lnTo>
                      <a:pt x="11756" y="962"/>
                    </a:lnTo>
                    <a:lnTo>
                      <a:pt x="11735" y="962"/>
                    </a:lnTo>
                    <a:lnTo>
                      <a:pt x="11716" y="961"/>
                    </a:lnTo>
                    <a:lnTo>
                      <a:pt x="11696" y="959"/>
                    </a:lnTo>
                    <a:lnTo>
                      <a:pt x="11678" y="955"/>
                    </a:lnTo>
                    <a:lnTo>
                      <a:pt x="11660" y="951"/>
                    </a:lnTo>
                    <a:lnTo>
                      <a:pt x="11643" y="947"/>
                    </a:lnTo>
                    <a:lnTo>
                      <a:pt x="11627" y="941"/>
                    </a:lnTo>
                    <a:lnTo>
                      <a:pt x="11612" y="935"/>
                    </a:lnTo>
                    <a:lnTo>
                      <a:pt x="11597" y="928"/>
                    </a:lnTo>
                    <a:lnTo>
                      <a:pt x="11583" y="921"/>
                    </a:lnTo>
                    <a:lnTo>
                      <a:pt x="11569" y="912"/>
                    </a:lnTo>
                    <a:lnTo>
                      <a:pt x="11557" y="903"/>
                    </a:lnTo>
                    <a:lnTo>
                      <a:pt x="11545" y="893"/>
                    </a:lnTo>
                    <a:lnTo>
                      <a:pt x="11533" y="883"/>
                    </a:lnTo>
                    <a:lnTo>
                      <a:pt x="11524" y="872"/>
                    </a:lnTo>
                    <a:lnTo>
                      <a:pt x="11513" y="860"/>
                    </a:lnTo>
                    <a:lnTo>
                      <a:pt x="11504" y="848"/>
                    </a:lnTo>
                    <a:lnTo>
                      <a:pt x="11495" y="835"/>
                    </a:lnTo>
                    <a:lnTo>
                      <a:pt x="11488" y="821"/>
                    </a:lnTo>
                    <a:lnTo>
                      <a:pt x="11480" y="807"/>
                    </a:lnTo>
                    <a:lnTo>
                      <a:pt x="11474" y="793"/>
                    </a:lnTo>
                    <a:lnTo>
                      <a:pt x="11467" y="777"/>
                    </a:lnTo>
                    <a:lnTo>
                      <a:pt x="11462" y="762"/>
                    </a:lnTo>
                    <a:lnTo>
                      <a:pt x="11458" y="746"/>
                    </a:lnTo>
                    <a:lnTo>
                      <a:pt x="11453" y="728"/>
                    </a:lnTo>
                    <a:lnTo>
                      <a:pt x="11449" y="711"/>
                    </a:lnTo>
                    <a:lnTo>
                      <a:pt x="11447" y="694"/>
                    </a:lnTo>
                    <a:lnTo>
                      <a:pt x="11443" y="676"/>
                    </a:lnTo>
                    <a:lnTo>
                      <a:pt x="11442" y="658"/>
                    </a:lnTo>
                    <a:lnTo>
                      <a:pt x="11440" y="638"/>
                    </a:lnTo>
                    <a:lnTo>
                      <a:pt x="11440" y="620"/>
                    </a:lnTo>
                    <a:lnTo>
                      <a:pt x="11439" y="600"/>
                    </a:lnTo>
                    <a:lnTo>
                      <a:pt x="11440" y="569"/>
                    </a:lnTo>
                    <a:lnTo>
                      <a:pt x="11442" y="537"/>
                    </a:lnTo>
                    <a:lnTo>
                      <a:pt x="11447" y="508"/>
                    </a:lnTo>
                    <a:lnTo>
                      <a:pt x="11452" y="479"/>
                    </a:lnTo>
                    <a:lnTo>
                      <a:pt x="11455" y="465"/>
                    </a:lnTo>
                    <a:lnTo>
                      <a:pt x="11460" y="450"/>
                    </a:lnTo>
                    <a:lnTo>
                      <a:pt x="11464" y="437"/>
                    </a:lnTo>
                    <a:lnTo>
                      <a:pt x="11469" y="424"/>
                    </a:lnTo>
                    <a:lnTo>
                      <a:pt x="11475" y="412"/>
                    </a:lnTo>
                    <a:lnTo>
                      <a:pt x="11481" y="399"/>
                    </a:lnTo>
                    <a:lnTo>
                      <a:pt x="11488" y="389"/>
                    </a:lnTo>
                    <a:lnTo>
                      <a:pt x="11494" y="377"/>
                    </a:lnTo>
                    <a:lnTo>
                      <a:pt x="11502" y="366"/>
                    </a:lnTo>
                    <a:lnTo>
                      <a:pt x="11511" y="356"/>
                    </a:lnTo>
                    <a:lnTo>
                      <a:pt x="11519" y="346"/>
                    </a:lnTo>
                    <a:lnTo>
                      <a:pt x="11529" y="338"/>
                    </a:lnTo>
                    <a:lnTo>
                      <a:pt x="11539" y="329"/>
                    </a:lnTo>
                    <a:lnTo>
                      <a:pt x="11550" y="321"/>
                    </a:lnTo>
                    <a:lnTo>
                      <a:pt x="11561" y="314"/>
                    </a:lnTo>
                    <a:lnTo>
                      <a:pt x="11573" y="307"/>
                    </a:lnTo>
                    <a:lnTo>
                      <a:pt x="11586" y="302"/>
                    </a:lnTo>
                    <a:lnTo>
                      <a:pt x="11599" y="296"/>
                    </a:lnTo>
                    <a:lnTo>
                      <a:pt x="11613" y="292"/>
                    </a:lnTo>
                    <a:lnTo>
                      <a:pt x="11628" y="288"/>
                    </a:lnTo>
                    <a:lnTo>
                      <a:pt x="11643" y="285"/>
                    </a:lnTo>
                    <a:lnTo>
                      <a:pt x="11659" y="283"/>
                    </a:lnTo>
                    <a:lnTo>
                      <a:pt x="11676" y="282"/>
                    </a:lnTo>
                    <a:lnTo>
                      <a:pt x="11693" y="281"/>
                    </a:lnTo>
                    <a:lnTo>
                      <a:pt x="11707" y="281"/>
                    </a:lnTo>
                    <a:lnTo>
                      <a:pt x="11721" y="282"/>
                    </a:lnTo>
                    <a:lnTo>
                      <a:pt x="11734" y="284"/>
                    </a:lnTo>
                    <a:lnTo>
                      <a:pt x="11747" y="285"/>
                    </a:lnTo>
                    <a:lnTo>
                      <a:pt x="11759" y="289"/>
                    </a:lnTo>
                    <a:lnTo>
                      <a:pt x="11771" y="292"/>
                    </a:lnTo>
                    <a:lnTo>
                      <a:pt x="11782" y="295"/>
                    </a:lnTo>
                    <a:lnTo>
                      <a:pt x="11793" y="300"/>
                    </a:lnTo>
                    <a:lnTo>
                      <a:pt x="11804" y="305"/>
                    </a:lnTo>
                    <a:lnTo>
                      <a:pt x="11813" y="309"/>
                    </a:lnTo>
                    <a:lnTo>
                      <a:pt x="11823" y="316"/>
                    </a:lnTo>
                    <a:lnTo>
                      <a:pt x="11832" y="321"/>
                    </a:lnTo>
                    <a:lnTo>
                      <a:pt x="11841" y="329"/>
                    </a:lnTo>
                    <a:lnTo>
                      <a:pt x="11849" y="335"/>
                    </a:lnTo>
                    <a:lnTo>
                      <a:pt x="11857" y="343"/>
                    </a:lnTo>
                    <a:lnTo>
                      <a:pt x="11863" y="352"/>
                    </a:lnTo>
                    <a:lnTo>
                      <a:pt x="11871" y="359"/>
                    </a:lnTo>
                    <a:lnTo>
                      <a:pt x="11877" y="368"/>
                    </a:lnTo>
                    <a:lnTo>
                      <a:pt x="11883" y="378"/>
                    </a:lnTo>
                    <a:lnTo>
                      <a:pt x="11888" y="388"/>
                    </a:lnTo>
                    <a:lnTo>
                      <a:pt x="11898" y="408"/>
                    </a:lnTo>
                    <a:lnTo>
                      <a:pt x="11907" y="430"/>
                    </a:lnTo>
                    <a:lnTo>
                      <a:pt x="11912" y="453"/>
                    </a:lnTo>
                    <a:lnTo>
                      <a:pt x="11917" y="477"/>
                    </a:lnTo>
                    <a:lnTo>
                      <a:pt x="11920" y="503"/>
                    </a:lnTo>
                    <a:lnTo>
                      <a:pt x="11921" y="529"/>
                    </a:lnTo>
                    <a:lnTo>
                      <a:pt x="11921" y="560"/>
                    </a:lnTo>
                    <a:lnTo>
                      <a:pt x="11545" y="560"/>
                    </a:lnTo>
                    <a:close/>
                    <a:moveTo>
                      <a:pt x="11199" y="947"/>
                    </a:moveTo>
                    <a:lnTo>
                      <a:pt x="11105" y="947"/>
                    </a:lnTo>
                    <a:lnTo>
                      <a:pt x="10859" y="296"/>
                    </a:lnTo>
                    <a:lnTo>
                      <a:pt x="10958" y="296"/>
                    </a:lnTo>
                    <a:lnTo>
                      <a:pt x="11150" y="811"/>
                    </a:lnTo>
                    <a:lnTo>
                      <a:pt x="11153" y="811"/>
                    </a:lnTo>
                    <a:lnTo>
                      <a:pt x="11320" y="296"/>
                    </a:lnTo>
                    <a:lnTo>
                      <a:pt x="11420" y="296"/>
                    </a:lnTo>
                    <a:lnTo>
                      <a:pt x="11199" y="947"/>
                    </a:lnTo>
                    <a:close/>
                    <a:moveTo>
                      <a:pt x="10693" y="947"/>
                    </a:moveTo>
                    <a:lnTo>
                      <a:pt x="10693" y="296"/>
                    </a:lnTo>
                    <a:lnTo>
                      <a:pt x="10785" y="296"/>
                    </a:lnTo>
                    <a:lnTo>
                      <a:pt x="10785" y="947"/>
                    </a:lnTo>
                    <a:lnTo>
                      <a:pt x="10693" y="947"/>
                    </a:lnTo>
                    <a:close/>
                    <a:moveTo>
                      <a:pt x="10677" y="127"/>
                    </a:moveTo>
                    <a:lnTo>
                      <a:pt x="10677" y="4"/>
                    </a:lnTo>
                    <a:lnTo>
                      <a:pt x="10800" y="4"/>
                    </a:lnTo>
                    <a:lnTo>
                      <a:pt x="10800" y="127"/>
                    </a:lnTo>
                    <a:lnTo>
                      <a:pt x="10677" y="127"/>
                    </a:lnTo>
                    <a:close/>
                    <a:moveTo>
                      <a:pt x="10434" y="947"/>
                    </a:moveTo>
                    <a:lnTo>
                      <a:pt x="10434" y="4"/>
                    </a:lnTo>
                    <a:lnTo>
                      <a:pt x="10527" y="4"/>
                    </a:lnTo>
                    <a:lnTo>
                      <a:pt x="10527" y="947"/>
                    </a:lnTo>
                    <a:lnTo>
                      <a:pt x="10434" y="947"/>
                    </a:lnTo>
                    <a:close/>
                    <a:moveTo>
                      <a:pt x="10082" y="359"/>
                    </a:moveTo>
                    <a:lnTo>
                      <a:pt x="10068" y="360"/>
                    </a:lnTo>
                    <a:lnTo>
                      <a:pt x="10055" y="361"/>
                    </a:lnTo>
                    <a:lnTo>
                      <a:pt x="10043" y="365"/>
                    </a:lnTo>
                    <a:lnTo>
                      <a:pt x="10031" y="369"/>
                    </a:lnTo>
                    <a:lnTo>
                      <a:pt x="10019" y="373"/>
                    </a:lnTo>
                    <a:lnTo>
                      <a:pt x="10009" y="380"/>
                    </a:lnTo>
                    <a:lnTo>
                      <a:pt x="9999" y="386"/>
                    </a:lnTo>
                    <a:lnTo>
                      <a:pt x="9991" y="394"/>
                    </a:lnTo>
                    <a:lnTo>
                      <a:pt x="9982" y="403"/>
                    </a:lnTo>
                    <a:lnTo>
                      <a:pt x="9974" y="412"/>
                    </a:lnTo>
                    <a:lnTo>
                      <a:pt x="9968" y="422"/>
                    </a:lnTo>
                    <a:lnTo>
                      <a:pt x="9961" y="433"/>
                    </a:lnTo>
                    <a:lnTo>
                      <a:pt x="9957" y="445"/>
                    </a:lnTo>
                    <a:lnTo>
                      <a:pt x="9951" y="457"/>
                    </a:lnTo>
                    <a:lnTo>
                      <a:pt x="9948" y="469"/>
                    </a:lnTo>
                    <a:lnTo>
                      <a:pt x="9945" y="482"/>
                    </a:lnTo>
                    <a:lnTo>
                      <a:pt x="10206" y="482"/>
                    </a:lnTo>
                    <a:lnTo>
                      <a:pt x="10205" y="469"/>
                    </a:lnTo>
                    <a:lnTo>
                      <a:pt x="10204" y="457"/>
                    </a:lnTo>
                    <a:lnTo>
                      <a:pt x="10201" y="445"/>
                    </a:lnTo>
                    <a:lnTo>
                      <a:pt x="10197" y="433"/>
                    </a:lnTo>
                    <a:lnTo>
                      <a:pt x="10192" y="422"/>
                    </a:lnTo>
                    <a:lnTo>
                      <a:pt x="10186" y="412"/>
                    </a:lnTo>
                    <a:lnTo>
                      <a:pt x="10178" y="403"/>
                    </a:lnTo>
                    <a:lnTo>
                      <a:pt x="10171" y="394"/>
                    </a:lnTo>
                    <a:lnTo>
                      <a:pt x="10162" y="386"/>
                    </a:lnTo>
                    <a:lnTo>
                      <a:pt x="10152" y="380"/>
                    </a:lnTo>
                    <a:lnTo>
                      <a:pt x="10142" y="373"/>
                    </a:lnTo>
                    <a:lnTo>
                      <a:pt x="10132" y="369"/>
                    </a:lnTo>
                    <a:lnTo>
                      <a:pt x="10120" y="365"/>
                    </a:lnTo>
                    <a:lnTo>
                      <a:pt x="10108" y="361"/>
                    </a:lnTo>
                    <a:lnTo>
                      <a:pt x="10095" y="360"/>
                    </a:lnTo>
                    <a:lnTo>
                      <a:pt x="10082" y="359"/>
                    </a:lnTo>
                    <a:close/>
                    <a:moveTo>
                      <a:pt x="9938" y="560"/>
                    </a:moveTo>
                    <a:lnTo>
                      <a:pt x="9938" y="598"/>
                    </a:lnTo>
                    <a:lnTo>
                      <a:pt x="9940" y="625"/>
                    </a:lnTo>
                    <a:lnTo>
                      <a:pt x="9942" y="651"/>
                    </a:lnTo>
                    <a:lnTo>
                      <a:pt x="9946" y="677"/>
                    </a:lnTo>
                    <a:lnTo>
                      <a:pt x="9953" y="703"/>
                    </a:lnTo>
                    <a:lnTo>
                      <a:pt x="9960" y="727"/>
                    </a:lnTo>
                    <a:lnTo>
                      <a:pt x="9970" y="751"/>
                    </a:lnTo>
                    <a:lnTo>
                      <a:pt x="9975" y="763"/>
                    </a:lnTo>
                    <a:lnTo>
                      <a:pt x="9981" y="774"/>
                    </a:lnTo>
                    <a:lnTo>
                      <a:pt x="9987" y="785"/>
                    </a:lnTo>
                    <a:lnTo>
                      <a:pt x="9994" y="795"/>
                    </a:lnTo>
                    <a:lnTo>
                      <a:pt x="10001" y="804"/>
                    </a:lnTo>
                    <a:lnTo>
                      <a:pt x="10009" y="814"/>
                    </a:lnTo>
                    <a:lnTo>
                      <a:pt x="10018" y="823"/>
                    </a:lnTo>
                    <a:lnTo>
                      <a:pt x="10026" y="832"/>
                    </a:lnTo>
                    <a:lnTo>
                      <a:pt x="10035" y="839"/>
                    </a:lnTo>
                    <a:lnTo>
                      <a:pt x="10045" y="847"/>
                    </a:lnTo>
                    <a:lnTo>
                      <a:pt x="10056" y="853"/>
                    </a:lnTo>
                    <a:lnTo>
                      <a:pt x="10066" y="860"/>
                    </a:lnTo>
                    <a:lnTo>
                      <a:pt x="10077" y="865"/>
                    </a:lnTo>
                    <a:lnTo>
                      <a:pt x="10089" y="871"/>
                    </a:lnTo>
                    <a:lnTo>
                      <a:pt x="10101" y="874"/>
                    </a:lnTo>
                    <a:lnTo>
                      <a:pt x="10114" y="878"/>
                    </a:lnTo>
                    <a:lnTo>
                      <a:pt x="10127" y="880"/>
                    </a:lnTo>
                    <a:lnTo>
                      <a:pt x="10140" y="883"/>
                    </a:lnTo>
                    <a:lnTo>
                      <a:pt x="10154" y="884"/>
                    </a:lnTo>
                    <a:lnTo>
                      <a:pt x="10170" y="885"/>
                    </a:lnTo>
                    <a:lnTo>
                      <a:pt x="10186" y="884"/>
                    </a:lnTo>
                    <a:lnTo>
                      <a:pt x="10202" y="883"/>
                    </a:lnTo>
                    <a:lnTo>
                      <a:pt x="10218" y="882"/>
                    </a:lnTo>
                    <a:lnTo>
                      <a:pt x="10235" y="879"/>
                    </a:lnTo>
                    <a:lnTo>
                      <a:pt x="10266" y="874"/>
                    </a:lnTo>
                    <a:lnTo>
                      <a:pt x="10298" y="866"/>
                    </a:lnTo>
                    <a:lnTo>
                      <a:pt x="10298" y="943"/>
                    </a:lnTo>
                    <a:lnTo>
                      <a:pt x="10280" y="948"/>
                    </a:lnTo>
                    <a:lnTo>
                      <a:pt x="10262" y="952"/>
                    </a:lnTo>
                    <a:lnTo>
                      <a:pt x="10243" y="955"/>
                    </a:lnTo>
                    <a:lnTo>
                      <a:pt x="10225" y="959"/>
                    </a:lnTo>
                    <a:lnTo>
                      <a:pt x="10205" y="960"/>
                    </a:lnTo>
                    <a:lnTo>
                      <a:pt x="10187" y="962"/>
                    </a:lnTo>
                    <a:lnTo>
                      <a:pt x="10167" y="962"/>
                    </a:lnTo>
                    <a:lnTo>
                      <a:pt x="10149" y="962"/>
                    </a:lnTo>
                    <a:lnTo>
                      <a:pt x="10128" y="962"/>
                    </a:lnTo>
                    <a:lnTo>
                      <a:pt x="10108" y="961"/>
                    </a:lnTo>
                    <a:lnTo>
                      <a:pt x="10089" y="959"/>
                    </a:lnTo>
                    <a:lnTo>
                      <a:pt x="10071" y="955"/>
                    </a:lnTo>
                    <a:lnTo>
                      <a:pt x="10052" y="951"/>
                    </a:lnTo>
                    <a:lnTo>
                      <a:pt x="10036" y="947"/>
                    </a:lnTo>
                    <a:lnTo>
                      <a:pt x="10020" y="941"/>
                    </a:lnTo>
                    <a:lnTo>
                      <a:pt x="10005" y="935"/>
                    </a:lnTo>
                    <a:lnTo>
                      <a:pt x="9989" y="928"/>
                    </a:lnTo>
                    <a:lnTo>
                      <a:pt x="9975" y="921"/>
                    </a:lnTo>
                    <a:lnTo>
                      <a:pt x="9962" y="912"/>
                    </a:lnTo>
                    <a:lnTo>
                      <a:pt x="9949" y="903"/>
                    </a:lnTo>
                    <a:lnTo>
                      <a:pt x="9937" y="893"/>
                    </a:lnTo>
                    <a:lnTo>
                      <a:pt x="9926" y="883"/>
                    </a:lnTo>
                    <a:lnTo>
                      <a:pt x="9916" y="872"/>
                    </a:lnTo>
                    <a:lnTo>
                      <a:pt x="9906" y="860"/>
                    </a:lnTo>
                    <a:lnTo>
                      <a:pt x="9896" y="848"/>
                    </a:lnTo>
                    <a:lnTo>
                      <a:pt x="9889" y="835"/>
                    </a:lnTo>
                    <a:lnTo>
                      <a:pt x="9880" y="821"/>
                    </a:lnTo>
                    <a:lnTo>
                      <a:pt x="9872" y="807"/>
                    </a:lnTo>
                    <a:lnTo>
                      <a:pt x="9866" y="793"/>
                    </a:lnTo>
                    <a:lnTo>
                      <a:pt x="9860" y="777"/>
                    </a:lnTo>
                    <a:lnTo>
                      <a:pt x="9855" y="762"/>
                    </a:lnTo>
                    <a:lnTo>
                      <a:pt x="9849" y="746"/>
                    </a:lnTo>
                    <a:lnTo>
                      <a:pt x="9845" y="728"/>
                    </a:lnTo>
                    <a:lnTo>
                      <a:pt x="9842" y="711"/>
                    </a:lnTo>
                    <a:lnTo>
                      <a:pt x="9839" y="694"/>
                    </a:lnTo>
                    <a:lnTo>
                      <a:pt x="9836" y="676"/>
                    </a:lnTo>
                    <a:lnTo>
                      <a:pt x="9834" y="658"/>
                    </a:lnTo>
                    <a:lnTo>
                      <a:pt x="9833" y="638"/>
                    </a:lnTo>
                    <a:lnTo>
                      <a:pt x="9832" y="620"/>
                    </a:lnTo>
                    <a:lnTo>
                      <a:pt x="9832" y="600"/>
                    </a:lnTo>
                    <a:lnTo>
                      <a:pt x="9832" y="569"/>
                    </a:lnTo>
                    <a:lnTo>
                      <a:pt x="9835" y="537"/>
                    </a:lnTo>
                    <a:lnTo>
                      <a:pt x="9839" y="508"/>
                    </a:lnTo>
                    <a:lnTo>
                      <a:pt x="9845" y="479"/>
                    </a:lnTo>
                    <a:lnTo>
                      <a:pt x="9848" y="465"/>
                    </a:lnTo>
                    <a:lnTo>
                      <a:pt x="9853" y="450"/>
                    </a:lnTo>
                    <a:lnTo>
                      <a:pt x="9857" y="437"/>
                    </a:lnTo>
                    <a:lnTo>
                      <a:pt x="9861" y="424"/>
                    </a:lnTo>
                    <a:lnTo>
                      <a:pt x="9868" y="412"/>
                    </a:lnTo>
                    <a:lnTo>
                      <a:pt x="9873" y="399"/>
                    </a:lnTo>
                    <a:lnTo>
                      <a:pt x="9880" y="389"/>
                    </a:lnTo>
                    <a:lnTo>
                      <a:pt x="9887" y="377"/>
                    </a:lnTo>
                    <a:lnTo>
                      <a:pt x="9895" y="366"/>
                    </a:lnTo>
                    <a:lnTo>
                      <a:pt x="9904" y="356"/>
                    </a:lnTo>
                    <a:lnTo>
                      <a:pt x="9912" y="346"/>
                    </a:lnTo>
                    <a:lnTo>
                      <a:pt x="9921" y="338"/>
                    </a:lnTo>
                    <a:lnTo>
                      <a:pt x="9932" y="329"/>
                    </a:lnTo>
                    <a:lnTo>
                      <a:pt x="9943" y="321"/>
                    </a:lnTo>
                    <a:lnTo>
                      <a:pt x="9954" y="314"/>
                    </a:lnTo>
                    <a:lnTo>
                      <a:pt x="9966" y="307"/>
                    </a:lnTo>
                    <a:lnTo>
                      <a:pt x="9979" y="302"/>
                    </a:lnTo>
                    <a:lnTo>
                      <a:pt x="9992" y="296"/>
                    </a:lnTo>
                    <a:lnTo>
                      <a:pt x="10006" y="292"/>
                    </a:lnTo>
                    <a:lnTo>
                      <a:pt x="10020" y="288"/>
                    </a:lnTo>
                    <a:lnTo>
                      <a:pt x="10036" y="285"/>
                    </a:lnTo>
                    <a:lnTo>
                      <a:pt x="10051" y="283"/>
                    </a:lnTo>
                    <a:lnTo>
                      <a:pt x="10069" y="282"/>
                    </a:lnTo>
                    <a:lnTo>
                      <a:pt x="10086" y="281"/>
                    </a:lnTo>
                    <a:lnTo>
                      <a:pt x="10100" y="281"/>
                    </a:lnTo>
                    <a:lnTo>
                      <a:pt x="10113" y="282"/>
                    </a:lnTo>
                    <a:lnTo>
                      <a:pt x="10127" y="284"/>
                    </a:lnTo>
                    <a:lnTo>
                      <a:pt x="10139" y="285"/>
                    </a:lnTo>
                    <a:lnTo>
                      <a:pt x="10151" y="289"/>
                    </a:lnTo>
                    <a:lnTo>
                      <a:pt x="10163" y="292"/>
                    </a:lnTo>
                    <a:lnTo>
                      <a:pt x="10175" y="295"/>
                    </a:lnTo>
                    <a:lnTo>
                      <a:pt x="10186" y="300"/>
                    </a:lnTo>
                    <a:lnTo>
                      <a:pt x="10196" y="305"/>
                    </a:lnTo>
                    <a:lnTo>
                      <a:pt x="10205" y="309"/>
                    </a:lnTo>
                    <a:lnTo>
                      <a:pt x="10215" y="316"/>
                    </a:lnTo>
                    <a:lnTo>
                      <a:pt x="10225" y="321"/>
                    </a:lnTo>
                    <a:lnTo>
                      <a:pt x="10234" y="329"/>
                    </a:lnTo>
                    <a:lnTo>
                      <a:pt x="10241" y="335"/>
                    </a:lnTo>
                    <a:lnTo>
                      <a:pt x="10249" y="343"/>
                    </a:lnTo>
                    <a:lnTo>
                      <a:pt x="10256" y="352"/>
                    </a:lnTo>
                    <a:lnTo>
                      <a:pt x="10263" y="359"/>
                    </a:lnTo>
                    <a:lnTo>
                      <a:pt x="10269" y="368"/>
                    </a:lnTo>
                    <a:lnTo>
                      <a:pt x="10276" y="378"/>
                    </a:lnTo>
                    <a:lnTo>
                      <a:pt x="10281" y="388"/>
                    </a:lnTo>
                    <a:lnTo>
                      <a:pt x="10291" y="408"/>
                    </a:lnTo>
                    <a:lnTo>
                      <a:pt x="10299" y="430"/>
                    </a:lnTo>
                    <a:lnTo>
                      <a:pt x="10305" y="453"/>
                    </a:lnTo>
                    <a:lnTo>
                      <a:pt x="10310" y="477"/>
                    </a:lnTo>
                    <a:lnTo>
                      <a:pt x="10312" y="503"/>
                    </a:lnTo>
                    <a:lnTo>
                      <a:pt x="10313" y="529"/>
                    </a:lnTo>
                    <a:lnTo>
                      <a:pt x="10313" y="560"/>
                    </a:lnTo>
                    <a:lnTo>
                      <a:pt x="9938" y="560"/>
                    </a:lnTo>
                    <a:close/>
                    <a:moveTo>
                      <a:pt x="9470" y="113"/>
                    </a:moveTo>
                    <a:lnTo>
                      <a:pt x="9451" y="107"/>
                    </a:lnTo>
                    <a:lnTo>
                      <a:pt x="9433" y="102"/>
                    </a:lnTo>
                    <a:lnTo>
                      <a:pt x="9413" y="99"/>
                    </a:lnTo>
                    <a:lnTo>
                      <a:pt x="9394" y="97"/>
                    </a:lnTo>
                    <a:lnTo>
                      <a:pt x="9355" y="93"/>
                    </a:lnTo>
                    <a:lnTo>
                      <a:pt x="9316" y="92"/>
                    </a:lnTo>
                    <a:lnTo>
                      <a:pt x="9255" y="92"/>
                    </a:lnTo>
                    <a:lnTo>
                      <a:pt x="9255" y="859"/>
                    </a:lnTo>
                    <a:lnTo>
                      <a:pt x="9328" y="859"/>
                    </a:lnTo>
                    <a:lnTo>
                      <a:pt x="9348" y="858"/>
                    </a:lnTo>
                    <a:lnTo>
                      <a:pt x="9369" y="858"/>
                    </a:lnTo>
                    <a:lnTo>
                      <a:pt x="9388" y="855"/>
                    </a:lnTo>
                    <a:lnTo>
                      <a:pt x="9409" y="853"/>
                    </a:lnTo>
                    <a:lnTo>
                      <a:pt x="9430" y="850"/>
                    </a:lnTo>
                    <a:lnTo>
                      <a:pt x="9449" y="846"/>
                    </a:lnTo>
                    <a:lnTo>
                      <a:pt x="9469" y="840"/>
                    </a:lnTo>
                    <a:lnTo>
                      <a:pt x="9488" y="833"/>
                    </a:lnTo>
                    <a:lnTo>
                      <a:pt x="9500" y="826"/>
                    </a:lnTo>
                    <a:lnTo>
                      <a:pt x="9511" y="820"/>
                    </a:lnTo>
                    <a:lnTo>
                      <a:pt x="9522" y="813"/>
                    </a:lnTo>
                    <a:lnTo>
                      <a:pt x="9532" y="804"/>
                    </a:lnTo>
                    <a:lnTo>
                      <a:pt x="9541" y="797"/>
                    </a:lnTo>
                    <a:lnTo>
                      <a:pt x="9550" y="788"/>
                    </a:lnTo>
                    <a:lnTo>
                      <a:pt x="9558" y="778"/>
                    </a:lnTo>
                    <a:lnTo>
                      <a:pt x="9565" y="769"/>
                    </a:lnTo>
                    <a:lnTo>
                      <a:pt x="9573" y="759"/>
                    </a:lnTo>
                    <a:lnTo>
                      <a:pt x="9579" y="748"/>
                    </a:lnTo>
                    <a:lnTo>
                      <a:pt x="9585" y="737"/>
                    </a:lnTo>
                    <a:lnTo>
                      <a:pt x="9591" y="725"/>
                    </a:lnTo>
                    <a:lnTo>
                      <a:pt x="9601" y="702"/>
                    </a:lnTo>
                    <a:lnTo>
                      <a:pt x="9609" y="677"/>
                    </a:lnTo>
                    <a:lnTo>
                      <a:pt x="9615" y="652"/>
                    </a:lnTo>
                    <a:lnTo>
                      <a:pt x="9621" y="626"/>
                    </a:lnTo>
                    <a:lnTo>
                      <a:pt x="9624" y="600"/>
                    </a:lnTo>
                    <a:lnTo>
                      <a:pt x="9627" y="574"/>
                    </a:lnTo>
                    <a:lnTo>
                      <a:pt x="9629" y="548"/>
                    </a:lnTo>
                    <a:lnTo>
                      <a:pt x="9630" y="523"/>
                    </a:lnTo>
                    <a:lnTo>
                      <a:pt x="9631" y="498"/>
                    </a:lnTo>
                    <a:lnTo>
                      <a:pt x="9631" y="474"/>
                    </a:lnTo>
                    <a:lnTo>
                      <a:pt x="9631" y="448"/>
                    </a:lnTo>
                    <a:lnTo>
                      <a:pt x="9630" y="422"/>
                    </a:lnTo>
                    <a:lnTo>
                      <a:pt x="9629" y="396"/>
                    </a:lnTo>
                    <a:lnTo>
                      <a:pt x="9627" y="369"/>
                    </a:lnTo>
                    <a:lnTo>
                      <a:pt x="9624" y="342"/>
                    </a:lnTo>
                    <a:lnTo>
                      <a:pt x="9619" y="315"/>
                    </a:lnTo>
                    <a:lnTo>
                      <a:pt x="9613" y="289"/>
                    </a:lnTo>
                    <a:lnTo>
                      <a:pt x="9605" y="264"/>
                    </a:lnTo>
                    <a:lnTo>
                      <a:pt x="9601" y="251"/>
                    </a:lnTo>
                    <a:lnTo>
                      <a:pt x="9597" y="239"/>
                    </a:lnTo>
                    <a:lnTo>
                      <a:pt x="9591" y="227"/>
                    </a:lnTo>
                    <a:lnTo>
                      <a:pt x="9586" y="215"/>
                    </a:lnTo>
                    <a:lnTo>
                      <a:pt x="9579" y="204"/>
                    </a:lnTo>
                    <a:lnTo>
                      <a:pt x="9573" y="193"/>
                    </a:lnTo>
                    <a:lnTo>
                      <a:pt x="9565" y="182"/>
                    </a:lnTo>
                    <a:lnTo>
                      <a:pt x="9558" y="173"/>
                    </a:lnTo>
                    <a:lnTo>
                      <a:pt x="9549" y="163"/>
                    </a:lnTo>
                    <a:lnTo>
                      <a:pt x="9539" y="154"/>
                    </a:lnTo>
                    <a:lnTo>
                      <a:pt x="9529" y="145"/>
                    </a:lnTo>
                    <a:lnTo>
                      <a:pt x="9520" y="138"/>
                    </a:lnTo>
                    <a:lnTo>
                      <a:pt x="9508" y="131"/>
                    </a:lnTo>
                    <a:lnTo>
                      <a:pt x="9496" y="125"/>
                    </a:lnTo>
                    <a:lnTo>
                      <a:pt x="9484" y="118"/>
                    </a:lnTo>
                    <a:lnTo>
                      <a:pt x="9470" y="113"/>
                    </a:lnTo>
                    <a:close/>
                    <a:moveTo>
                      <a:pt x="9523" y="922"/>
                    </a:moveTo>
                    <a:lnTo>
                      <a:pt x="9499" y="928"/>
                    </a:lnTo>
                    <a:lnTo>
                      <a:pt x="9475" y="935"/>
                    </a:lnTo>
                    <a:lnTo>
                      <a:pt x="9450" y="939"/>
                    </a:lnTo>
                    <a:lnTo>
                      <a:pt x="9426" y="942"/>
                    </a:lnTo>
                    <a:lnTo>
                      <a:pt x="9401" y="945"/>
                    </a:lnTo>
                    <a:lnTo>
                      <a:pt x="9376" y="947"/>
                    </a:lnTo>
                    <a:lnTo>
                      <a:pt x="9351" y="947"/>
                    </a:lnTo>
                    <a:lnTo>
                      <a:pt x="9326" y="947"/>
                    </a:lnTo>
                    <a:lnTo>
                      <a:pt x="9149" y="947"/>
                    </a:lnTo>
                    <a:lnTo>
                      <a:pt x="9149" y="4"/>
                    </a:lnTo>
                    <a:lnTo>
                      <a:pt x="9360" y="4"/>
                    </a:lnTo>
                    <a:lnTo>
                      <a:pt x="9388" y="4"/>
                    </a:lnTo>
                    <a:lnTo>
                      <a:pt x="9414" y="6"/>
                    </a:lnTo>
                    <a:lnTo>
                      <a:pt x="9440" y="9"/>
                    </a:lnTo>
                    <a:lnTo>
                      <a:pt x="9464" y="13"/>
                    </a:lnTo>
                    <a:lnTo>
                      <a:pt x="9487" y="17"/>
                    </a:lnTo>
                    <a:lnTo>
                      <a:pt x="9509" y="24"/>
                    </a:lnTo>
                    <a:lnTo>
                      <a:pt x="9529" y="30"/>
                    </a:lnTo>
                    <a:lnTo>
                      <a:pt x="9549" y="39"/>
                    </a:lnTo>
                    <a:lnTo>
                      <a:pt x="9567" y="48"/>
                    </a:lnTo>
                    <a:lnTo>
                      <a:pt x="9585" y="57"/>
                    </a:lnTo>
                    <a:lnTo>
                      <a:pt x="9601" y="68"/>
                    </a:lnTo>
                    <a:lnTo>
                      <a:pt x="9616" y="80"/>
                    </a:lnTo>
                    <a:lnTo>
                      <a:pt x="9630" y="93"/>
                    </a:lnTo>
                    <a:lnTo>
                      <a:pt x="9643" y="106"/>
                    </a:lnTo>
                    <a:lnTo>
                      <a:pt x="9656" y="121"/>
                    </a:lnTo>
                    <a:lnTo>
                      <a:pt x="9667" y="136"/>
                    </a:lnTo>
                    <a:lnTo>
                      <a:pt x="9678" y="152"/>
                    </a:lnTo>
                    <a:lnTo>
                      <a:pt x="9688" y="169"/>
                    </a:lnTo>
                    <a:lnTo>
                      <a:pt x="9696" y="187"/>
                    </a:lnTo>
                    <a:lnTo>
                      <a:pt x="9705" y="205"/>
                    </a:lnTo>
                    <a:lnTo>
                      <a:pt x="9712" y="224"/>
                    </a:lnTo>
                    <a:lnTo>
                      <a:pt x="9718" y="243"/>
                    </a:lnTo>
                    <a:lnTo>
                      <a:pt x="9725" y="264"/>
                    </a:lnTo>
                    <a:lnTo>
                      <a:pt x="9729" y="284"/>
                    </a:lnTo>
                    <a:lnTo>
                      <a:pt x="9733" y="306"/>
                    </a:lnTo>
                    <a:lnTo>
                      <a:pt x="9738" y="329"/>
                    </a:lnTo>
                    <a:lnTo>
                      <a:pt x="9741" y="351"/>
                    </a:lnTo>
                    <a:lnTo>
                      <a:pt x="9743" y="374"/>
                    </a:lnTo>
                    <a:lnTo>
                      <a:pt x="9745" y="398"/>
                    </a:lnTo>
                    <a:lnTo>
                      <a:pt x="9746" y="422"/>
                    </a:lnTo>
                    <a:lnTo>
                      <a:pt x="9747" y="447"/>
                    </a:lnTo>
                    <a:lnTo>
                      <a:pt x="9747" y="472"/>
                    </a:lnTo>
                    <a:lnTo>
                      <a:pt x="9746" y="507"/>
                    </a:lnTo>
                    <a:lnTo>
                      <a:pt x="9745" y="541"/>
                    </a:lnTo>
                    <a:lnTo>
                      <a:pt x="9743" y="575"/>
                    </a:lnTo>
                    <a:lnTo>
                      <a:pt x="9739" y="609"/>
                    </a:lnTo>
                    <a:lnTo>
                      <a:pt x="9733" y="643"/>
                    </a:lnTo>
                    <a:lnTo>
                      <a:pt x="9727" y="676"/>
                    </a:lnTo>
                    <a:lnTo>
                      <a:pt x="9723" y="693"/>
                    </a:lnTo>
                    <a:lnTo>
                      <a:pt x="9718" y="709"/>
                    </a:lnTo>
                    <a:lnTo>
                      <a:pt x="9713" y="724"/>
                    </a:lnTo>
                    <a:lnTo>
                      <a:pt x="9707" y="739"/>
                    </a:lnTo>
                    <a:lnTo>
                      <a:pt x="9701" y="755"/>
                    </a:lnTo>
                    <a:lnTo>
                      <a:pt x="9693" y="770"/>
                    </a:lnTo>
                    <a:lnTo>
                      <a:pt x="9687" y="784"/>
                    </a:lnTo>
                    <a:lnTo>
                      <a:pt x="9678" y="798"/>
                    </a:lnTo>
                    <a:lnTo>
                      <a:pt x="9669" y="811"/>
                    </a:lnTo>
                    <a:lnTo>
                      <a:pt x="9660" y="824"/>
                    </a:lnTo>
                    <a:lnTo>
                      <a:pt x="9650" y="837"/>
                    </a:lnTo>
                    <a:lnTo>
                      <a:pt x="9639" y="849"/>
                    </a:lnTo>
                    <a:lnTo>
                      <a:pt x="9627" y="860"/>
                    </a:lnTo>
                    <a:lnTo>
                      <a:pt x="9615" y="871"/>
                    </a:lnTo>
                    <a:lnTo>
                      <a:pt x="9602" y="882"/>
                    </a:lnTo>
                    <a:lnTo>
                      <a:pt x="9588" y="890"/>
                    </a:lnTo>
                    <a:lnTo>
                      <a:pt x="9573" y="899"/>
                    </a:lnTo>
                    <a:lnTo>
                      <a:pt x="9558" y="908"/>
                    </a:lnTo>
                    <a:lnTo>
                      <a:pt x="9540" y="915"/>
                    </a:lnTo>
                    <a:lnTo>
                      <a:pt x="9523" y="922"/>
                    </a:lnTo>
                    <a:close/>
                    <a:moveTo>
                      <a:pt x="8639" y="947"/>
                    </a:moveTo>
                    <a:lnTo>
                      <a:pt x="8639" y="811"/>
                    </a:lnTo>
                    <a:lnTo>
                      <a:pt x="8775" y="811"/>
                    </a:lnTo>
                    <a:lnTo>
                      <a:pt x="8775" y="947"/>
                    </a:lnTo>
                    <a:lnTo>
                      <a:pt x="8639" y="947"/>
                    </a:lnTo>
                    <a:close/>
                    <a:moveTo>
                      <a:pt x="8333" y="359"/>
                    </a:moveTo>
                    <a:lnTo>
                      <a:pt x="8318" y="360"/>
                    </a:lnTo>
                    <a:lnTo>
                      <a:pt x="8305" y="361"/>
                    </a:lnTo>
                    <a:lnTo>
                      <a:pt x="8292" y="365"/>
                    </a:lnTo>
                    <a:lnTo>
                      <a:pt x="8282" y="369"/>
                    </a:lnTo>
                    <a:lnTo>
                      <a:pt x="8270" y="373"/>
                    </a:lnTo>
                    <a:lnTo>
                      <a:pt x="8260" y="380"/>
                    </a:lnTo>
                    <a:lnTo>
                      <a:pt x="8250" y="386"/>
                    </a:lnTo>
                    <a:lnTo>
                      <a:pt x="8241" y="394"/>
                    </a:lnTo>
                    <a:lnTo>
                      <a:pt x="8233" y="403"/>
                    </a:lnTo>
                    <a:lnTo>
                      <a:pt x="8225" y="412"/>
                    </a:lnTo>
                    <a:lnTo>
                      <a:pt x="8219" y="422"/>
                    </a:lnTo>
                    <a:lnTo>
                      <a:pt x="8212" y="433"/>
                    </a:lnTo>
                    <a:lnTo>
                      <a:pt x="8207" y="445"/>
                    </a:lnTo>
                    <a:lnTo>
                      <a:pt x="8202" y="457"/>
                    </a:lnTo>
                    <a:lnTo>
                      <a:pt x="8199" y="469"/>
                    </a:lnTo>
                    <a:lnTo>
                      <a:pt x="8196" y="482"/>
                    </a:lnTo>
                    <a:lnTo>
                      <a:pt x="8457" y="482"/>
                    </a:lnTo>
                    <a:lnTo>
                      <a:pt x="8456" y="469"/>
                    </a:lnTo>
                    <a:lnTo>
                      <a:pt x="8455" y="457"/>
                    </a:lnTo>
                    <a:lnTo>
                      <a:pt x="8452" y="445"/>
                    </a:lnTo>
                    <a:lnTo>
                      <a:pt x="8448" y="433"/>
                    </a:lnTo>
                    <a:lnTo>
                      <a:pt x="8442" y="422"/>
                    </a:lnTo>
                    <a:lnTo>
                      <a:pt x="8437" y="412"/>
                    </a:lnTo>
                    <a:lnTo>
                      <a:pt x="8429" y="403"/>
                    </a:lnTo>
                    <a:lnTo>
                      <a:pt x="8422" y="394"/>
                    </a:lnTo>
                    <a:lnTo>
                      <a:pt x="8413" y="386"/>
                    </a:lnTo>
                    <a:lnTo>
                      <a:pt x="8403" y="380"/>
                    </a:lnTo>
                    <a:lnTo>
                      <a:pt x="8393" y="373"/>
                    </a:lnTo>
                    <a:lnTo>
                      <a:pt x="8382" y="369"/>
                    </a:lnTo>
                    <a:lnTo>
                      <a:pt x="8371" y="365"/>
                    </a:lnTo>
                    <a:lnTo>
                      <a:pt x="8359" y="361"/>
                    </a:lnTo>
                    <a:lnTo>
                      <a:pt x="8346" y="360"/>
                    </a:lnTo>
                    <a:lnTo>
                      <a:pt x="8333" y="359"/>
                    </a:lnTo>
                    <a:close/>
                    <a:moveTo>
                      <a:pt x="8189" y="560"/>
                    </a:moveTo>
                    <a:lnTo>
                      <a:pt x="8189" y="598"/>
                    </a:lnTo>
                    <a:lnTo>
                      <a:pt x="8190" y="625"/>
                    </a:lnTo>
                    <a:lnTo>
                      <a:pt x="8193" y="651"/>
                    </a:lnTo>
                    <a:lnTo>
                      <a:pt x="8197" y="677"/>
                    </a:lnTo>
                    <a:lnTo>
                      <a:pt x="8202" y="703"/>
                    </a:lnTo>
                    <a:lnTo>
                      <a:pt x="8211" y="727"/>
                    </a:lnTo>
                    <a:lnTo>
                      <a:pt x="8220" y="751"/>
                    </a:lnTo>
                    <a:lnTo>
                      <a:pt x="8225" y="763"/>
                    </a:lnTo>
                    <a:lnTo>
                      <a:pt x="8232" y="774"/>
                    </a:lnTo>
                    <a:lnTo>
                      <a:pt x="8238" y="785"/>
                    </a:lnTo>
                    <a:lnTo>
                      <a:pt x="8245" y="795"/>
                    </a:lnTo>
                    <a:lnTo>
                      <a:pt x="8252" y="804"/>
                    </a:lnTo>
                    <a:lnTo>
                      <a:pt x="8260" y="814"/>
                    </a:lnTo>
                    <a:lnTo>
                      <a:pt x="8269" y="823"/>
                    </a:lnTo>
                    <a:lnTo>
                      <a:pt x="8277" y="832"/>
                    </a:lnTo>
                    <a:lnTo>
                      <a:pt x="8286" y="839"/>
                    </a:lnTo>
                    <a:lnTo>
                      <a:pt x="8296" y="847"/>
                    </a:lnTo>
                    <a:lnTo>
                      <a:pt x="8306" y="853"/>
                    </a:lnTo>
                    <a:lnTo>
                      <a:pt x="8316" y="860"/>
                    </a:lnTo>
                    <a:lnTo>
                      <a:pt x="8328" y="865"/>
                    </a:lnTo>
                    <a:lnTo>
                      <a:pt x="8339" y="871"/>
                    </a:lnTo>
                    <a:lnTo>
                      <a:pt x="8352" y="874"/>
                    </a:lnTo>
                    <a:lnTo>
                      <a:pt x="8364" y="878"/>
                    </a:lnTo>
                    <a:lnTo>
                      <a:pt x="8378" y="880"/>
                    </a:lnTo>
                    <a:lnTo>
                      <a:pt x="8391" y="883"/>
                    </a:lnTo>
                    <a:lnTo>
                      <a:pt x="8405" y="884"/>
                    </a:lnTo>
                    <a:lnTo>
                      <a:pt x="8420" y="885"/>
                    </a:lnTo>
                    <a:lnTo>
                      <a:pt x="8437" y="884"/>
                    </a:lnTo>
                    <a:lnTo>
                      <a:pt x="8453" y="883"/>
                    </a:lnTo>
                    <a:lnTo>
                      <a:pt x="8469" y="882"/>
                    </a:lnTo>
                    <a:lnTo>
                      <a:pt x="8486" y="879"/>
                    </a:lnTo>
                    <a:lnTo>
                      <a:pt x="8517" y="874"/>
                    </a:lnTo>
                    <a:lnTo>
                      <a:pt x="8548" y="866"/>
                    </a:lnTo>
                    <a:lnTo>
                      <a:pt x="8548" y="943"/>
                    </a:lnTo>
                    <a:lnTo>
                      <a:pt x="8531" y="948"/>
                    </a:lnTo>
                    <a:lnTo>
                      <a:pt x="8513" y="952"/>
                    </a:lnTo>
                    <a:lnTo>
                      <a:pt x="8494" y="955"/>
                    </a:lnTo>
                    <a:lnTo>
                      <a:pt x="8475" y="959"/>
                    </a:lnTo>
                    <a:lnTo>
                      <a:pt x="8456" y="960"/>
                    </a:lnTo>
                    <a:lnTo>
                      <a:pt x="8438" y="962"/>
                    </a:lnTo>
                    <a:lnTo>
                      <a:pt x="8418" y="962"/>
                    </a:lnTo>
                    <a:lnTo>
                      <a:pt x="8400" y="962"/>
                    </a:lnTo>
                    <a:lnTo>
                      <a:pt x="8379" y="962"/>
                    </a:lnTo>
                    <a:lnTo>
                      <a:pt x="8359" y="961"/>
                    </a:lnTo>
                    <a:lnTo>
                      <a:pt x="8340" y="959"/>
                    </a:lnTo>
                    <a:lnTo>
                      <a:pt x="8322" y="955"/>
                    </a:lnTo>
                    <a:lnTo>
                      <a:pt x="8303" y="951"/>
                    </a:lnTo>
                    <a:lnTo>
                      <a:pt x="8287" y="947"/>
                    </a:lnTo>
                    <a:lnTo>
                      <a:pt x="8271" y="941"/>
                    </a:lnTo>
                    <a:lnTo>
                      <a:pt x="8256" y="935"/>
                    </a:lnTo>
                    <a:lnTo>
                      <a:pt x="8240" y="928"/>
                    </a:lnTo>
                    <a:lnTo>
                      <a:pt x="8226" y="921"/>
                    </a:lnTo>
                    <a:lnTo>
                      <a:pt x="8213" y="912"/>
                    </a:lnTo>
                    <a:lnTo>
                      <a:pt x="8200" y="903"/>
                    </a:lnTo>
                    <a:lnTo>
                      <a:pt x="8188" y="893"/>
                    </a:lnTo>
                    <a:lnTo>
                      <a:pt x="8177" y="883"/>
                    </a:lnTo>
                    <a:lnTo>
                      <a:pt x="8167" y="872"/>
                    </a:lnTo>
                    <a:lnTo>
                      <a:pt x="8157" y="860"/>
                    </a:lnTo>
                    <a:lnTo>
                      <a:pt x="8147" y="848"/>
                    </a:lnTo>
                    <a:lnTo>
                      <a:pt x="8138" y="835"/>
                    </a:lnTo>
                    <a:lnTo>
                      <a:pt x="8131" y="821"/>
                    </a:lnTo>
                    <a:lnTo>
                      <a:pt x="8123" y="807"/>
                    </a:lnTo>
                    <a:lnTo>
                      <a:pt x="8117" y="793"/>
                    </a:lnTo>
                    <a:lnTo>
                      <a:pt x="8111" y="777"/>
                    </a:lnTo>
                    <a:lnTo>
                      <a:pt x="8106" y="762"/>
                    </a:lnTo>
                    <a:lnTo>
                      <a:pt x="8100" y="746"/>
                    </a:lnTo>
                    <a:lnTo>
                      <a:pt x="8096" y="728"/>
                    </a:lnTo>
                    <a:lnTo>
                      <a:pt x="8093" y="711"/>
                    </a:lnTo>
                    <a:lnTo>
                      <a:pt x="8089" y="694"/>
                    </a:lnTo>
                    <a:lnTo>
                      <a:pt x="8087" y="676"/>
                    </a:lnTo>
                    <a:lnTo>
                      <a:pt x="8085" y="658"/>
                    </a:lnTo>
                    <a:lnTo>
                      <a:pt x="8084" y="638"/>
                    </a:lnTo>
                    <a:lnTo>
                      <a:pt x="8083" y="620"/>
                    </a:lnTo>
                    <a:lnTo>
                      <a:pt x="8083" y="600"/>
                    </a:lnTo>
                    <a:lnTo>
                      <a:pt x="8083" y="569"/>
                    </a:lnTo>
                    <a:lnTo>
                      <a:pt x="8086" y="537"/>
                    </a:lnTo>
                    <a:lnTo>
                      <a:pt x="8089" y="508"/>
                    </a:lnTo>
                    <a:lnTo>
                      <a:pt x="8096" y="479"/>
                    </a:lnTo>
                    <a:lnTo>
                      <a:pt x="8099" y="465"/>
                    </a:lnTo>
                    <a:lnTo>
                      <a:pt x="8104" y="450"/>
                    </a:lnTo>
                    <a:lnTo>
                      <a:pt x="8108" y="437"/>
                    </a:lnTo>
                    <a:lnTo>
                      <a:pt x="8112" y="424"/>
                    </a:lnTo>
                    <a:lnTo>
                      <a:pt x="8118" y="412"/>
                    </a:lnTo>
                    <a:lnTo>
                      <a:pt x="8124" y="399"/>
                    </a:lnTo>
                    <a:lnTo>
                      <a:pt x="8131" y="389"/>
                    </a:lnTo>
                    <a:lnTo>
                      <a:pt x="8138" y="377"/>
                    </a:lnTo>
                    <a:lnTo>
                      <a:pt x="8146" y="366"/>
                    </a:lnTo>
                    <a:lnTo>
                      <a:pt x="8154" y="356"/>
                    </a:lnTo>
                    <a:lnTo>
                      <a:pt x="8163" y="346"/>
                    </a:lnTo>
                    <a:lnTo>
                      <a:pt x="8172" y="338"/>
                    </a:lnTo>
                    <a:lnTo>
                      <a:pt x="8183" y="329"/>
                    </a:lnTo>
                    <a:lnTo>
                      <a:pt x="8193" y="321"/>
                    </a:lnTo>
                    <a:lnTo>
                      <a:pt x="8205" y="314"/>
                    </a:lnTo>
                    <a:lnTo>
                      <a:pt x="8216" y="307"/>
                    </a:lnTo>
                    <a:lnTo>
                      <a:pt x="8229" y="302"/>
                    </a:lnTo>
                    <a:lnTo>
                      <a:pt x="8242" y="296"/>
                    </a:lnTo>
                    <a:lnTo>
                      <a:pt x="8257" y="292"/>
                    </a:lnTo>
                    <a:lnTo>
                      <a:pt x="8271" y="288"/>
                    </a:lnTo>
                    <a:lnTo>
                      <a:pt x="8286" y="285"/>
                    </a:lnTo>
                    <a:lnTo>
                      <a:pt x="8302" y="283"/>
                    </a:lnTo>
                    <a:lnTo>
                      <a:pt x="8320" y="282"/>
                    </a:lnTo>
                    <a:lnTo>
                      <a:pt x="8337" y="281"/>
                    </a:lnTo>
                    <a:lnTo>
                      <a:pt x="8351" y="281"/>
                    </a:lnTo>
                    <a:lnTo>
                      <a:pt x="8364" y="282"/>
                    </a:lnTo>
                    <a:lnTo>
                      <a:pt x="8377" y="284"/>
                    </a:lnTo>
                    <a:lnTo>
                      <a:pt x="8390" y="285"/>
                    </a:lnTo>
                    <a:lnTo>
                      <a:pt x="8402" y="289"/>
                    </a:lnTo>
                    <a:lnTo>
                      <a:pt x="8414" y="292"/>
                    </a:lnTo>
                    <a:lnTo>
                      <a:pt x="8426" y="295"/>
                    </a:lnTo>
                    <a:lnTo>
                      <a:pt x="8437" y="300"/>
                    </a:lnTo>
                    <a:lnTo>
                      <a:pt x="8446" y="305"/>
                    </a:lnTo>
                    <a:lnTo>
                      <a:pt x="8456" y="309"/>
                    </a:lnTo>
                    <a:lnTo>
                      <a:pt x="8466" y="316"/>
                    </a:lnTo>
                    <a:lnTo>
                      <a:pt x="8476" y="321"/>
                    </a:lnTo>
                    <a:lnTo>
                      <a:pt x="8484" y="329"/>
                    </a:lnTo>
                    <a:lnTo>
                      <a:pt x="8492" y="335"/>
                    </a:lnTo>
                    <a:lnTo>
                      <a:pt x="8500" y="343"/>
                    </a:lnTo>
                    <a:lnTo>
                      <a:pt x="8507" y="352"/>
                    </a:lnTo>
                    <a:lnTo>
                      <a:pt x="8514" y="359"/>
                    </a:lnTo>
                    <a:lnTo>
                      <a:pt x="8520" y="368"/>
                    </a:lnTo>
                    <a:lnTo>
                      <a:pt x="8527" y="378"/>
                    </a:lnTo>
                    <a:lnTo>
                      <a:pt x="8532" y="388"/>
                    </a:lnTo>
                    <a:lnTo>
                      <a:pt x="8542" y="408"/>
                    </a:lnTo>
                    <a:lnTo>
                      <a:pt x="8550" y="430"/>
                    </a:lnTo>
                    <a:lnTo>
                      <a:pt x="8556" y="453"/>
                    </a:lnTo>
                    <a:lnTo>
                      <a:pt x="8560" y="477"/>
                    </a:lnTo>
                    <a:lnTo>
                      <a:pt x="8563" y="503"/>
                    </a:lnTo>
                    <a:lnTo>
                      <a:pt x="8564" y="529"/>
                    </a:lnTo>
                    <a:lnTo>
                      <a:pt x="8564" y="560"/>
                    </a:lnTo>
                    <a:lnTo>
                      <a:pt x="8189" y="560"/>
                    </a:lnTo>
                    <a:close/>
                    <a:moveTo>
                      <a:pt x="7932" y="495"/>
                    </a:moveTo>
                    <a:lnTo>
                      <a:pt x="7932" y="481"/>
                    </a:lnTo>
                    <a:lnTo>
                      <a:pt x="7931" y="467"/>
                    </a:lnTo>
                    <a:lnTo>
                      <a:pt x="7929" y="454"/>
                    </a:lnTo>
                    <a:lnTo>
                      <a:pt x="7926" y="442"/>
                    </a:lnTo>
                    <a:lnTo>
                      <a:pt x="7922" y="430"/>
                    </a:lnTo>
                    <a:lnTo>
                      <a:pt x="7917" y="419"/>
                    </a:lnTo>
                    <a:lnTo>
                      <a:pt x="7912" y="408"/>
                    </a:lnTo>
                    <a:lnTo>
                      <a:pt x="7905" y="398"/>
                    </a:lnTo>
                    <a:lnTo>
                      <a:pt x="7897" y="390"/>
                    </a:lnTo>
                    <a:lnTo>
                      <a:pt x="7890" y="382"/>
                    </a:lnTo>
                    <a:lnTo>
                      <a:pt x="7880" y="376"/>
                    </a:lnTo>
                    <a:lnTo>
                      <a:pt x="7869" y="370"/>
                    </a:lnTo>
                    <a:lnTo>
                      <a:pt x="7857" y="366"/>
                    </a:lnTo>
                    <a:lnTo>
                      <a:pt x="7845" y="363"/>
                    </a:lnTo>
                    <a:lnTo>
                      <a:pt x="7831" y="360"/>
                    </a:lnTo>
                    <a:lnTo>
                      <a:pt x="7816" y="359"/>
                    </a:lnTo>
                    <a:lnTo>
                      <a:pt x="7805" y="359"/>
                    </a:lnTo>
                    <a:lnTo>
                      <a:pt x="7794" y="360"/>
                    </a:lnTo>
                    <a:lnTo>
                      <a:pt x="7785" y="363"/>
                    </a:lnTo>
                    <a:lnTo>
                      <a:pt x="7775" y="365"/>
                    </a:lnTo>
                    <a:lnTo>
                      <a:pt x="7766" y="368"/>
                    </a:lnTo>
                    <a:lnTo>
                      <a:pt x="7757" y="372"/>
                    </a:lnTo>
                    <a:lnTo>
                      <a:pt x="7750" y="377"/>
                    </a:lnTo>
                    <a:lnTo>
                      <a:pt x="7742" y="381"/>
                    </a:lnTo>
                    <a:lnTo>
                      <a:pt x="7735" y="386"/>
                    </a:lnTo>
                    <a:lnTo>
                      <a:pt x="7727" y="393"/>
                    </a:lnTo>
                    <a:lnTo>
                      <a:pt x="7721" y="398"/>
                    </a:lnTo>
                    <a:lnTo>
                      <a:pt x="7715" y="406"/>
                    </a:lnTo>
                    <a:lnTo>
                      <a:pt x="7704" y="420"/>
                    </a:lnTo>
                    <a:lnTo>
                      <a:pt x="7695" y="436"/>
                    </a:lnTo>
                    <a:lnTo>
                      <a:pt x="7686" y="454"/>
                    </a:lnTo>
                    <a:lnTo>
                      <a:pt x="7679" y="472"/>
                    </a:lnTo>
                    <a:lnTo>
                      <a:pt x="7674" y="491"/>
                    </a:lnTo>
                    <a:lnTo>
                      <a:pt x="7670" y="510"/>
                    </a:lnTo>
                    <a:lnTo>
                      <a:pt x="7666" y="530"/>
                    </a:lnTo>
                    <a:lnTo>
                      <a:pt x="7663" y="548"/>
                    </a:lnTo>
                    <a:lnTo>
                      <a:pt x="7662" y="568"/>
                    </a:lnTo>
                    <a:lnTo>
                      <a:pt x="7662" y="586"/>
                    </a:lnTo>
                    <a:lnTo>
                      <a:pt x="7663" y="618"/>
                    </a:lnTo>
                    <a:lnTo>
                      <a:pt x="7665" y="647"/>
                    </a:lnTo>
                    <a:lnTo>
                      <a:pt x="7670" y="676"/>
                    </a:lnTo>
                    <a:lnTo>
                      <a:pt x="7676" y="703"/>
                    </a:lnTo>
                    <a:lnTo>
                      <a:pt x="7680" y="718"/>
                    </a:lnTo>
                    <a:lnTo>
                      <a:pt x="7685" y="730"/>
                    </a:lnTo>
                    <a:lnTo>
                      <a:pt x="7689" y="743"/>
                    </a:lnTo>
                    <a:lnTo>
                      <a:pt x="7695" y="755"/>
                    </a:lnTo>
                    <a:lnTo>
                      <a:pt x="7701" y="766"/>
                    </a:lnTo>
                    <a:lnTo>
                      <a:pt x="7708" y="777"/>
                    </a:lnTo>
                    <a:lnTo>
                      <a:pt x="7714" y="788"/>
                    </a:lnTo>
                    <a:lnTo>
                      <a:pt x="7722" y="798"/>
                    </a:lnTo>
                    <a:lnTo>
                      <a:pt x="7729" y="808"/>
                    </a:lnTo>
                    <a:lnTo>
                      <a:pt x="7738" y="817"/>
                    </a:lnTo>
                    <a:lnTo>
                      <a:pt x="7748" y="826"/>
                    </a:lnTo>
                    <a:lnTo>
                      <a:pt x="7757" y="835"/>
                    </a:lnTo>
                    <a:lnTo>
                      <a:pt x="7767" y="842"/>
                    </a:lnTo>
                    <a:lnTo>
                      <a:pt x="7778" y="849"/>
                    </a:lnTo>
                    <a:lnTo>
                      <a:pt x="7790" y="855"/>
                    </a:lnTo>
                    <a:lnTo>
                      <a:pt x="7802" y="861"/>
                    </a:lnTo>
                    <a:lnTo>
                      <a:pt x="7814" y="866"/>
                    </a:lnTo>
                    <a:lnTo>
                      <a:pt x="7828" y="872"/>
                    </a:lnTo>
                    <a:lnTo>
                      <a:pt x="7841" y="875"/>
                    </a:lnTo>
                    <a:lnTo>
                      <a:pt x="7856" y="878"/>
                    </a:lnTo>
                    <a:lnTo>
                      <a:pt x="7871" y="882"/>
                    </a:lnTo>
                    <a:lnTo>
                      <a:pt x="7887" y="883"/>
                    </a:lnTo>
                    <a:lnTo>
                      <a:pt x="7903" y="884"/>
                    </a:lnTo>
                    <a:lnTo>
                      <a:pt x="7920" y="885"/>
                    </a:lnTo>
                    <a:lnTo>
                      <a:pt x="7946" y="884"/>
                    </a:lnTo>
                    <a:lnTo>
                      <a:pt x="7973" y="882"/>
                    </a:lnTo>
                    <a:lnTo>
                      <a:pt x="7986" y="879"/>
                    </a:lnTo>
                    <a:lnTo>
                      <a:pt x="7999" y="877"/>
                    </a:lnTo>
                    <a:lnTo>
                      <a:pt x="8012" y="874"/>
                    </a:lnTo>
                    <a:lnTo>
                      <a:pt x="8025" y="871"/>
                    </a:lnTo>
                    <a:lnTo>
                      <a:pt x="8025" y="945"/>
                    </a:lnTo>
                    <a:lnTo>
                      <a:pt x="8008" y="949"/>
                    </a:lnTo>
                    <a:lnTo>
                      <a:pt x="7992" y="953"/>
                    </a:lnTo>
                    <a:lnTo>
                      <a:pt x="7976" y="956"/>
                    </a:lnTo>
                    <a:lnTo>
                      <a:pt x="7958" y="959"/>
                    </a:lnTo>
                    <a:lnTo>
                      <a:pt x="7925" y="962"/>
                    </a:lnTo>
                    <a:lnTo>
                      <a:pt x="7890" y="962"/>
                    </a:lnTo>
                    <a:lnTo>
                      <a:pt x="7869" y="962"/>
                    </a:lnTo>
                    <a:lnTo>
                      <a:pt x="7849" y="961"/>
                    </a:lnTo>
                    <a:lnTo>
                      <a:pt x="7830" y="959"/>
                    </a:lnTo>
                    <a:lnTo>
                      <a:pt x="7811" y="955"/>
                    </a:lnTo>
                    <a:lnTo>
                      <a:pt x="7793" y="952"/>
                    </a:lnTo>
                    <a:lnTo>
                      <a:pt x="7776" y="948"/>
                    </a:lnTo>
                    <a:lnTo>
                      <a:pt x="7759" y="943"/>
                    </a:lnTo>
                    <a:lnTo>
                      <a:pt x="7743" y="937"/>
                    </a:lnTo>
                    <a:lnTo>
                      <a:pt x="7727" y="930"/>
                    </a:lnTo>
                    <a:lnTo>
                      <a:pt x="7713" y="924"/>
                    </a:lnTo>
                    <a:lnTo>
                      <a:pt x="7699" y="915"/>
                    </a:lnTo>
                    <a:lnTo>
                      <a:pt x="7686" y="908"/>
                    </a:lnTo>
                    <a:lnTo>
                      <a:pt x="7673" y="898"/>
                    </a:lnTo>
                    <a:lnTo>
                      <a:pt x="7661" y="888"/>
                    </a:lnTo>
                    <a:lnTo>
                      <a:pt x="7649" y="877"/>
                    </a:lnTo>
                    <a:lnTo>
                      <a:pt x="7638" y="866"/>
                    </a:lnTo>
                    <a:lnTo>
                      <a:pt x="7628" y="854"/>
                    </a:lnTo>
                    <a:lnTo>
                      <a:pt x="7619" y="841"/>
                    </a:lnTo>
                    <a:lnTo>
                      <a:pt x="7610" y="828"/>
                    </a:lnTo>
                    <a:lnTo>
                      <a:pt x="7602" y="815"/>
                    </a:lnTo>
                    <a:lnTo>
                      <a:pt x="7595" y="800"/>
                    </a:lnTo>
                    <a:lnTo>
                      <a:pt x="7587" y="786"/>
                    </a:lnTo>
                    <a:lnTo>
                      <a:pt x="7582" y="770"/>
                    </a:lnTo>
                    <a:lnTo>
                      <a:pt x="7576" y="755"/>
                    </a:lnTo>
                    <a:lnTo>
                      <a:pt x="7571" y="737"/>
                    </a:lnTo>
                    <a:lnTo>
                      <a:pt x="7566" y="721"/>
                    </a:lnTo>
                    <a:lnTo>
                      <a:pt x="7563" y="702"/>
                    </a:lnTo>
                    <a:lnTo>
                      <a:pt x="7560" y="685"/>
                    </a:lnTo>
                    <a:lnTo>
                      <a:pt x="7558" y="665"/>
                    </a:lnTo>
                    <a:lnTo>
                      <a:pt x="7557" y="647"/>
                    </a:lnTo>
                    <a:lnTo>
                      <a:pt x="7556" y="627"/>
                    </a:lnTo>
                    <a:lnTo>
                      <a:pt x="7555" y="607"/>
                    </a:lnTo>
                    <a:lnTo>
                      <a:pt x="7556" y="574"/>
                    </a:lnTo>
                    <a:lnTo>
                      <a:pt x="7558" y="542"/>
                    </a:lnTo>
                    <a:lnTo>
                      <a:pt x="7562" y="510"/>
                    </a:lnTo>
                    <a:lnTo>
                      <a:pt x="7569" y="481"/>
                    </a:lnTo>
                    <a:lnTo>
                      <a:pt x="7572" y="467"/>
                    </a:lnTo>
                    <a:lnTo>
                      <a:pt x="7576" y="453"/>
                    </a:lnTo>
                    <a:lnTo>
                      <a:pt x="7581" y="439"/>
                    </a:lnTo>
                    <a:lnTo>
                      <a:pt x="7586" y="426"/>
                    </a:lnTo>
                    <a:lnTo>
                      <a:pt x="7593" y="412"/>
                    </a:lnTo>
                    <a:lnTo>
                      <a:pt x="7598" y="401"/>
                    </a:lnTo>
                    <a:lnTo>
                      <a:pt x="7606" y="389"/>
                    </a:lnTo>
                    <a:lnTo>
                      <a:pt x="7613" y="378"/>
                    </a:lnTo>
                    <a:lnTo>
                      <a:pt x="7621" y="367"/>
                    </a:lnTo>
                    <a:lnTo>
                      <a:pt x="7629" y="356"/>
                    </a:lnTo>
                    <a:lnTo>
                      <a:pt x="7639" y="346"/>
                    </a:lnTo>
                    <a:lnTo>
                      <a:pt x="7649" y="338"/>
                    </a:lnTo>
                    <a:lnTo>
                      <a:pt x="7659" y="329"/>
                    </a:lnTo>
                    <a:lnTo>
                      <a:pt x="7671" y="321"/>
                    </a:lnTo>
                    <a:lnTo>
                      <a:pt x="7683" y="314"/>
                    </a:lnTo>
                    <a:lnTo>
                      <a:pt x="7695" y="307"/>
                    </a:lnTo>
                    <a:lnTo>
                      <a:pt x="7708" y="302"/>
                    </a:lnTo>
                    <a:lnTo>
                      <a:pt x="7722" y="296"/>
                    </a:lnTo>
                    <a:lnTo>
                      <a:pt x="7736" y="292"/>
                    </a:lnTo>
                    <a:lnTo>
                      <a:pt x="7752" y="288"/>
                    </a:lnTo>
                    <a:lnTo>
                      <a:pt x="7767" y="285"/>
                    </a:lnTo>
                    <a:lnTo>
                      <a:pt x="7785" y="283"/>
                    </a:lnTo>
                    <a:lnTo>
                      <a:pt x="7802" y="282"/>
                    </a:lnTo>
                    <a:lnTo>
                      <a:pt x="7820" y="281"/>
                    </a:lnTo>
                    <a:lnTo>
                      <a:pt x="7845" y="282"/>
                    </a:lnTo>
                    <a:lnTo>
                      <a:pt x="7869" y="284"/>
                    </a:lnTo>
                    <a:lnTo>
                      <a:pt x="7892" y="289"/>
                    </a:lnTo>
                    <a:lnTo>
                      <a:pt x="7914" y="295"/>
                    </a:lnTo>
                    <a:lnTo>
                      <a:pt x="7933" y="303"/>
                    </a:lnTo>
                    <a:lnTo>
                      <a:pt x="7952" y="312"/>
                    </a:lnTo>
                    <a:lnTo>
                      <a:pt x="7960" y="317"/>
                    </a:lnTo>
                    <a:lnTo>
                      <a:pt x="7968" y="322"/>
                    </a:lnTo>
                    <a:lnTo>
                      <a:pt x="7976" y="329"/>
                    </a:lnTo>
                    <a:lnTo>
                      <a:pt x="7983" y="335"/>
                    </a:lnTo>
                    <a:lnTo>
                      <a:pt x="7991" y="342"/>
                    </a:lnTo>
                    <a:lnTo>
                      <a:pt x="7997" y="350"/>
                    </a:lnTo>
                    <a:lnTo>
                      <a:pt x="8003" y="357"/>
                    </a:lnTo>
                    <a:lnTo>
                      <a:pt x="8009" y="365"/>
                    </a:lnTo>
                    <a:lnTo>
                      <a:pt x="8015" y="373"/>
                    </a:lnTo>
                    <a:lnTo>
                      <a:pt x="8019" y="383"/>
                    </a:lnTo>
                    <a:lnTo>
                      <a:pt x="8023" y="392"/>
                    </a:lnTo>
                    <a:lnTo>
                      <a:pt x="8028" y="402"/>
                    </a:lnTo>
                    <a:lnTo>
                      <a:pt x="8031" y="412"/>
                    </a:lnTo>
                    <a:lnTo>
                      <a:pt x="8034" y="422"/>
                    </a:lnTo>
                    <a:lnTo>
                      <a:pt x="8036" y="434"/>
                    </a:lnTo>
                    <a:lnTo>
                      <a:pt x="8038" y="445"/>
                    </a:lnTo>
                    <a:lnTo>
                      <a:pt x="8042" y="469"/>
                    </a:lnTo>
                    <a:lnTo>
                      <a:pt x="8043" y="495"/>
                    </a:lnTo>
                    <a:lnTo>
                      <a:pt x="7932" y="495"/>
                    </a:lnTo>
                    <a:close/>
                    <a:moveTo>
                      <a:pt x="7349" y="947"/>
                    </a:moveTo>
                    <a:lnTo>
                      <a:pt x="7349" y="586"/>
                    </a:lnTo>
                    <a:lnTo>
                      <a:pt x="7349" y="556"/>
                    </a:lnTo>
                    <a:lnTo>
                      <a:pt x="7349" y="522"/>
                    </a:lnTo>
                    <a:lnTo>
                      <a:pt x="7348" y="505"/>
                    </a:lnTo>
                    <a:lnTo>
                      <a:pt x="7347" y="486"/>
                    </a:lnTo>
                    <a:lnTo>
                      <a:pt x="7344" y="469"/>
                    </a:lnTo>
                    <a:lnTo>
                      <a:pt x="7341" y="453"/>
                    </a:lnTo>
                    <a:lnTo>
                      <a:pt x="7336" y="436"/>
                    </a:lnTo>
                    <a:lnTo>
                      <a:pt x="7330" y="422"/>
                    </a:lnTo>
                    <a:lnTo>
                      <a:pt x="7327" y="415"/>
                    </a:lnTo>
                    <a:lnTo>
                      <a:pt x="7322" y="408"/>
                    </a:lnTo>
                    <a:lnTo>
                      <a:pt x="7318" y="403"/>
                    </a:lnTo>
                    <a:lnTo>
                      <a:pt x="7314" y="397"/>
                    </a:lnTo>
                    <a:lnTo>
                      <a:pt x="7308" y="392"/>
                    </a:lnTo>
                    <a:lnTo>
                      <a:pt x="7302" y="388"/>
                    </a:lnTo>
                    <a:lnTo>
                      <a:pt x="7295" y="383"/>
                    </a:lnTo>
                    <a:lnTo>
                      <a:pt x="7288" y="380"/>
                    </a:lnTo>
                    <a:lnTo>
                      <a:pt x="7280" y="378"/>
                    </a:lnTo>
                    <a:lnTo>
                      <a:pt x="7272" y="376"/>
                    </a:lnTo>
                    <a:lnTo>
                      <a:pt x="7263" y="374"/>
                    </a:lnTo>
                    <a:lnTo>
                      <a:pt x="7253" y="374"/>
                    </a:lnTo>
                    <a:lnTo>
                      <a:pt x="7241" y="374"/>
                    </a:lnTo>
                    <a:lnTo>
                      <a:pt x="7230" y="377"/>
                    </a:lnTo>
                    <a:lnTo>
                      <a:pt x="7219" y="379"/>
                    </a:lnTo>
                    <a:lnTo>
                      <a:pt x="7208" y="383"/>
                    </a:lnTo>
                    <a:lnTo>
                      <a:pt x="7198" y="388"/>
                    </a:lnTo>
                    <a:lnTo>
                      <a:pt x="7188" y="394"/>
                    </a:lnTo>
                    <a:lnTo>
                      <a:pt x="7179" y="401"/>
                    </a:lnTo>
                    <a:lnTo>
                      <a:pt x="7169" y="407"/>
                    </a:lnTo>
                    <a:lnTo>
                      <a:pt x="7161" y="416"/>
                    </a:lnTo>
                    <a:lnTo>
                      <a:pt x="7153" y="424"/>
                    </a:lnTo>
                    <a:lnTo>
                      <a:pt x="7145" y="434"/>
                    </a:lnTo>
                    <a:lnTo>
                      <a:pt x="7138" y="444"/>
                    </a:lnTo>
                    <a:lnTo>
                      <a:pt x="7125" y="466"/>
                    </a:lnTo>
                    <a:lnTo>
                      <a:pt x="7113" y="488"/>
                    </a:lnTo>
                    <a:lnTo>
                      <a:pt x="7102" y="512"/>
                    </a:lnTo>
                    <a:lnTo>
                      <a:pt x="7093" y="537"/>
                    </a:lnTo>
                    <a:lnTo>
                      <a:pt x="7086" y="563"/>
                    </a:lnTo>
                    <a:lnTo>
                      <a:pt x="7079" y="588"/>
                    </a:lnTo>
                    <a:lnTo>
                      <a:pt x="7075" y="613"/>
                    </a:lnTo>
                    <a:lnTo>
                      <a:pt x="7072" y="636"/>
                    </a:lnTo>
                    <a:lnTo>
                      <a:pt x="7070" y="659"/>
                    </a:lnTo>
                    <a:lnTo>
                      <a:pt x="7068" y="680"/>
                    </a:lnTo>
                    <a:lnTo>
                      <a:pt x="7068" y="947"/>
                    </a:lnTo>
                    <a:lnTo>
                      <a:pt x="6976" y="947"/>
                    </a:lnTo>
                    <a:lnTo>
                      <a:pt x="6976" y="296"/>
                    </a:lnTo>
                    <a:lnTo>
                      <a:pt x="7068" y="296"/>
                    </a:lnTo>
                    <a:lnTo>
                      <a:pt x="7068" y="447"/>
                    </a:lnTo>
                    <a:lnTo>
                      <a:pt x="7072" y="447"/>
                    </a:lnTo>
                    <a:lnTo>
                      <a:pt x="7078" y="429"/>
                    </a:lnTo>
                    <a:lnTo>
                      <a:pt x="7085" y="411"/>
                    </a:lnTo>
                    <a:lnTo>
                      <a:pt x="7092" y="394"/>
                    </a:lnTo>
                    <a:lnTo>
                      <a:pt x="7101" y="379"/>
                    </a:lnTo>
                    <a:lnTo>
                      <a:pt x="7111" y="364"/>
                    </a:lnTo>
                    <a:lnTo>
                      <a:pt x="7121" y="351"/>
                    </a:lnTo>
                    <a:lnTo>
                      <a:pt x="7131" y="338"/>
                    </a:lnTo>
                    <a:lnTo>
                      <a:pt x="7143" y="327"/>
                    </a:lnTo>
                    <a:lnTo>
                      <a:pt x="7156" y="316"/>
                    </a:lnTo>
                    <a:lnTo>
                      <a:pt x="7169" y="307"/>
                    </a:lnTo>
                    <a:lnTo>
                      <a:pt x="7185" y="300"/>
                    </a:lnTo>
                    <a:lnTo>
                      <a:pt x="7200" y="293"/>
                    </a:lnTo>
                    <a:lnTo>
                      <a:pt x="7217" y="288"/>
                    </a:lnTo>
                    <a:lnTo>
                      <a:pt x="7236" y="284"/>
                    </a:lnTo>
                    <a:lnTo>
                      <a:pt x="7255" y="282"/>
                    </a:lnTo>
                    <a:lnTo>
                      <a:pt x="7276" y="281"/>
                    </a:lnTo>
                    <a:lnTo>
                      <a:pt x="7285" y="281"/>
                    </a:lnTo>
                    <a:lnTo>
                      <a:pt x="7296" y="282"/>
                    </a:lnTo>
                    <a:lnTo>
                      <a:pt x="7306" y="283"/>
                    </a:lnTo>
                    <a:lnTo>
                      <a:pt x="7315" y="285"/>
                    </a:lnTo>
                    <a:lnTo>
                      <a:pt x="7325" y="288"/>
                    </a:lnTo>
                    <a:lnTo>
                      <a:pt x="7333" y="291"/>
                    </a:lnTo>
                    <a:lnTo>
                      <a:pt x="7342" y="294"/>
                    </a:lnTo>
                    <a:lnTo>
                      <a:pt x="7349" y="298"/>
                    </a:lnTo>
                    <a:lnTo>
                      <a:pt x="7365" y="307"/>
                    </a:lnTo>
                    <a:lnTo>
                      <a:pt x="7379" y="318"/>
                    </a:lnTo>
                    <a:lnTo>
                      <a:pt x="7391" y="330"/>
                    </a:lnTo>
                    <a:lnTo>
                      <a:pt x="7402" y="343"/>
                    </a:lnTo>
                    <a:lnTo>
                      <a:pt x="7411" y="358"/>
                    </a:lnTo>
                    <a:lnTo>
                      <a:pt x="7419" y="373"/>
                    </a:lnTo>
                    <a:lnTo>
                      <a:pt x="7427" y="391"/>
                    </a:lnTo>
                    <a:lnTo>
                      <a:pt x="7432" y="408"/>
                    </a:lnTo>
                    <a:lnTo>
                      <a:pt x="7436" y="426"/>
                    </a:lnTo>
                    <a:lnTo>
                      <a:pt x="7440" y="444"/>
                    </a:lnTo>
                    <a:lnTo>
                      <a:pt x="7442" y="464"/>
                    </a:lnTo>
                    <a:lnTo>
                      <a:pt x="7442" y="482"/>
                    </a:lnTo>
                    <a:lnTo>
                      <a:pt x="7442" y="947"/>
                    </a:lnTo>
                    <a:lnTo>
                      <a:pt x="7349" y="947"/>
                    </a:lnTo>
                    <a:close/>
                    <a:moveTo>
                      <a:pt x="6682" y="652"/>
                    </a:moveTo>
                    <a:lnTo>
                      <a:pt x="6666" y="652"/>
                    </a:lnTo>
                    <a:lnTo>
                      <a:pt x="6650" y="654"/>
                    </a:lnTo>
                    <a:lnTo>
                      <a:pt x="6632" y="656"/>
                    </a:lnTo>
                    <a:lnTo>
                      <a:pt x="6614" y="659"/>
                    </a:lnTo>
                    <a:lnTo>
                      <a:pt x="6596" y="663"/>
                    </a:lnTo>
                    <a:lnTo>
                      <a:pt x="6578" y="669"/>
                    </a:lnTo>
                    <a:lnTo>
                      <a:pt x="6561" y="674"/>
                    </a:lnTo>
                    <a:lnTo>
                      <a:pt x="6544" y="682"/>
                    </a:lnTo>
                    <a:lnTo>
                      <a:pt x="6529" y="690"/>
                    </a:lnTo>
                    <a:lnTo>
                      <a:pt x="6515" y="700"/>
                    </a:lnTo>
                    <a:lnTo>
                      <a:pt x="6507" y="706"/>
                    </a:lnTo>
                    <a:lnTo>
                      <a:pt x="6502" y="712"/>
                    </a:lnTo>
                    <a:lnTo>
                      <a:pt x="6496" y="718"/>
                    </a:lnTo>
                    <a:lnTo>
                      <a:pt x="6491" y="724"/>
                    </a:lnTo>
                    <a:lnTo>
                      <a:pt x="6486" y="732"/>
                    </a:lnTo>
                    <a:lnTo>
                      <a:pt x="6481" y="738"/>
                    </a:lnTo>
                    <a:lnTo>
                      <a:pt x="6478" y="746"/>
                    </a:lnTo>
                    <a:lnTo>
                      <a:pt x="6475" y="755"/>
                    </a:lnTo>
                    <a:lnTo>
                      <a:pt x="6473" y="763"/>
                    </a:lnTo>
                    <a:lnTo>
                      <a:pt x="6471" y="772"/>
                    </a:lnTo>
                    <a:lnTo>
                      <a:pt x="6469" y="781"/>
                    </a:lnTo>
                    <a:lnTo>
                      <a:pt x="6469" y="790"/>
                    </a:lnTo>
                    <a:lnTo>
                      <a:pt x="6469" y="800"/>
                    </a:lnTo>
                    <a:lnTo>
                      <a:pt x="6471" y="810"/>
                    </a:lnTo>
                    <a:lnTo>
                      <a:pt x="6473" y="819"/>
                    </a:lnTo>
                    <a:lnTo>
                      <a:pt x="6476" y="828"/>
                    </a:lnTo>
                    <a:lnTo>
                      <a:pt x="6479" y="836"/>
                    </a:lnTo>
                    <a:lnTo>
                      <a:pt x="6484" y="844"/>
                    </a:lnTo>
                    <a:lnTo>
                      <a:pt x="6489" y="851"/>
                    </a:lnTo>
                    <a:lnTo>
                      <a:pt x="6494" y="858"/>
                    </a:lnTo>
                    <a:lnTo>
                      <a:pt x="6501" y="864"/>
                    </a:lnTo>
                    <a:lnTo>
                      <a:pt x="6507" y="869"/>
                    </a:lnTo>
                    <a:lnTo>
                      <a:pt x="6515" y="874"/>
                    </a:lnTo>
                    <a:lnTo>
                      <a:pt x="6524" y="877"/>
                    </a:lnTo>
                    <a:lnTo>
                      <a:pt x="6531" y="880"/>
                    </a:lnTo>
                    <a:lnTo>
                      <a:pt x="6541" y="883"/>
                    </a:lnTo>
                    <a:lnTo>
                      <a:pt x="6551" y="884"/>
                    </a:lnTo>
                    <a:lnTo>
                      <a:pt x="6561" y="885"/>
                    </a:lnTo>
                    <a:lnTo>
                      <a:pt x="6573" y="884"/>
                    </a:lnTo>
                    <a:lnTo>
                      <a:pt x="6585" y="883"/>
                    </a:lnTo>
                    <a:lnTo>
                      <a:pt x="6596" y="880"/>
                    </a:lnTo>
                    <a:lnTo>
                      <a:pt x="6608" y="877"/>
                    </a:lnTo>
                    <a:lnTo>
                      <a:pt x="6619" y="873"/>
                    </a:lnTo>
                    <a:lnTo>
                      <a:pt x="6630" y="867"/>
                    </a:lnTo>
                    <a:lnTo>
                      <a:pt x="6641" y="862"/>
                    </a:lnTo>
                    <a:lnTo>
                      <a:pt x="6651" y="855"/>
                    </a:lnTo>
                    <a:lnTo>
                      <a:pt x="6660" y="849"/>
                    </a:lnTo>
                    <a:lnTo>
                      <a:pt x="6669" y="841"/>
                    </a:lnTo>
                    <a:lnTo>
                      <a:pt x="6678" y="833"/>
                    </a:lnTo>
                    <a:lnTo>
                      <a:pt x="6687" y="824"/>
                    </a:lnTo>
                    <a:lnTo>
                      <a:pt x="6694" y="814"/>
                    </a:lnTo>
                    <a:lnTo>
                      <a:pt x="6701" y="804"/>
                    </a:lnTo>
                    <a:lnTo>
                      <a:pt x="6707" y="794"/>
                    </a:lnTo>
                    <a:lnTo>
                      <a:pt x="6713" y="783"/>
                    </a:lnTo>
                    <a:lnTo>
                      <a:pt x="6720" y="765"/>
                    </a:lnTo>
                    <a:lnTo>
                      <a:pt x="6726" y="749"/>
                    </a:lnTo>
                    <a:lnTo>
                      <a:pt x="6730" y="734"/>
                    </a:lnTo>
                    <a:lnTo>
                      <a:pt x="6733" y="720"/>
                    </a:lnTo>
                    <a:lnTo>
                      <a:pt x="6735" y="705"/>
                    </a:lnTo>
                    <a:lnTo>
                      <a:pt x="6736" y="688"/>
                    </a:lnTo>
                    <a:lnTo>
                      <a:pt x="6736" y="671"/>
                    </a:lnTo>
                    <a:lnTo>
                      <a:pt x="6737" y="652"/>
                    </a:lnTo>
                    <a:lnTo>
                      <a:pt x="6682" y="652"/>
                    </a:lnTo>
                    <a:close/>
                    <a:moveTo>
                      <a:pt x="6740" y="947"/>
                    </a:moveTo>
                    <a:lnTo>
                      <a:pt x="6740" y="861"/>
                    </a:lnTo>
                    <a:lnTo>
                      <a:pt x="6737" y="861"/>
                    </a:lnTo>
                    <a:lnTo>
                      <a:pt x="6730" y="874"/>
                    </a:lnTo>
                    <a:lnTo>
                      <a:pt x="6721" y="885"/>
                    </a:lnTo>
                    <a:lnTo>
                      <a:pt x="6711" y="896"/>
                    </a:lnTo>
                    <a:lnTo>
                      <a:pt x="6701" y="905"/>
                    </a:lnTo>
                    <a:lnTo>
                      <a:pt x="6690" y="915"/>
                    </a:lnTo>
                    <a:lnTo>
                      <a:pt x="6677" y="923"/>
                    </a:lnTo>
                    <a:lnTo>
                      <a:pt x="6665" y="930"/>
                    </a:lnTo>
                    <a:lnTo>
                      <a:pt x="6651" y="937"/>
                    </a:lnTo>
                    <a:lnTo>
                      <a:pt x="6638" y="943"/>
                    </a:lnTo>
                    <a:lnTo>
                      <a:pt x="6622" y="948"/>
                    </a:lnTo>
                    <a:lnTo>
                      <a:pt x="6608" y="952"/>
                    </a:lnTo>
                    <a:lnTo>
                      <a:pt x="6594" y="956"/>
                    </a:lnTo>
                    <a:lnTo>
                      <a:pt x="6580" y="959"/>
                    </a:lnTo>
                    <a:lnTo>
                      <a:pt x="6565" y="961"/>
                    </a:lnTo>
                    <a:lnTo>
                      <a:pt x="6551" y="962"/>
                    </a:lnTo>
                    <a:lnTo>
                      <a:pt x="6538" y="962"/>
                    </a:lnTo>
                    <a:lnTo>
                      <a:pt x="6517" y="962"/>
                    </a:lnTo>
                    <a:lnTo>
                      <a:pt x="6498" y="959"/>
                    </a:lnTo>
                    <a:lnTo>
                      <a:pt x="6479" y="955"/>
                    </a:lnTo>
                    <a:lnTo>
                      <a:pt x="6463" y="950"/>
                    </a:lnTo>
                    <a:lnTo>
                      <a:pt x="6447" y="942"/>
                    </a:lnTo>
                    <a:lnTo>
                      <a:pt x="6433" y="934"/>
                    </a:lnTo>
                    <a:lnTo>
                      <a:pt x="6420" y="924"/>
                    </a:lnTo>
                    <a:lnTo>
                      <a:pt x="6408" y="913"/>
                    </a:lnTo>
                    <a:lnTo>
                      <a:pt x="6398" y="900"/>
                    </a:lnTo>
                    <a:lnTo>
                      <a:pt x="6388" y="887"/>
                    </a:lnTo>
                    <a:lnTo>
                      <a:pt x="6381" y="872"/>
                    </a:lnTo>
                    <a:lnTo>
                      <a:pt x="6374" y="855"/>
                    </a:lnTo>
                    <a:lnTo>
                      <a:pt x="6369" y="838"/>
                    </a:lnTo>
                    <a:lnTo>
                      <a:pt x="6365" y="820"/>
                    </a:lnTo>
                    <a:lnTo>
                      <a:pt x="6363" y="801"/>
                    </a:lnTo>
                    <a:lnTo>
                      <a:pt x="6362" y="781"/>
                    </a:lnTo>
                    <a:lnTo>
                      <a:pt x="6363" y="766"/>
                    </a:lnTo>
                    <a:lnTo>
                      <a:pt x="6364" y="753"/>
                    </a:lnTo>
                    <a:lnTo>
                      <a:pt x="6367" y="741"/>
                    </a:lnTo>
                    <a:lnTo>
                      <a:pt x="6371" y="728"/>
                    </a:lnTo>
                    <a:lnTo>
                      <a:pt x="6375" y="718"/>
                    </a:lnTo>
                    <a:lnTo>
                      <a:pt x="6381" y="707"/>
                    </a:lnTo>
                    <a:lnTo>
                      <a:pt x="6387" y="696"/>
                    </a:lnTo>
                    <a:lnTo>
                      <a:pt x="6394" y="686"/>
                    </a:lnTo>
                    <a:lnTo>
                      <a:pt x="6402" y="676"/>
                    </a:lnTo>
                    <a:lnTo>
                      <a:pt x="6410" y="668"/>
                    </a:lnTo>
                    <a:lnTo>
                      <a:pt x="6420" y="659"/>
                    </a:lnTo>
                    <a:lnTo>
                      <a:pt x="6429" y="651"/>
                    </a:lnTo>
                    <a:lnTo>
                      <a:pt x="6439" y="644"/>
                    </a:lnTo>
                    <a:lnTo>
                      <a:pt x="6450" y="636"/>
                    </a:lnTo>
                    <a:lnTo>
                      <a:pt x="6461" y="630"/>
                    </a:lnTo>
                    <a:lnTo>
                      <a:pt x="6473" y="623"/>
                    </a:lnTo>
                    <a:lnTo>
                      <a:pt x="6497" y="612"/>
                    </a:lnTo>
                    <a:lnTo>
                      <a:pt x="6522" y="602"/>
                    </a:lnTo>
                    <a:lnTo>
                      <a:pt x="6548" y="595"/>
                    </a:lnTo>
                    <a:lnTo>
                      <a:pt x="6574" y="588"/>
                    </a:lnTo>
                    <a:lnTo>
                      <a:pt x="6600" y="584"/>
                    </a:lnTo>
                    <a:lnTo>
                      <a:pt x="6625" y="581"/>
                    </a:lnTo>
                    <a:lnTo>
                      <a:pt x="6650" y="579"/>
                    </a:lnTo>
                    <a:lnTo>
                      <a:pt x="6672" y="578"/>
                    </a:lnTo>
                    <a:lnTo>
                      <a:pt x="6689" y="578"/>
                    </a:lnTo>
                    <a:lnTo>
                      <a:pt x="6705" y="578"/>
                    </a:lnTo>
                    <a:lnTo>
                      <a:pt x="6721" y="576"/>
                    </a:lnTo>
                    <a:lnTo>
                      <a:pt x="6737" y="574"/>
                    </a:lnTo>
                    <a:lnTo>
                      <a:pt x="6737" y="560"/>
                    </a:lnTo>
                    <a:lnTo>
                      <a:pt x="6737" y="523"/>
                    </a:lnTo>
                    <a:lnTo>
                      <a:pt x="6736" y="487"/>
                    </a:lnTo>
                    <a:lnTo>
                      <a:pt x="6734" y="471"/>
                    </a:lnTo>
                    <a:lnTo>
                      <a:pt x="6732" y="454"/>
                    </a:lnTo>
                    <a:lnTo>
                      <a:pt x="6729" y="439"/>
                    </a:lnTo>
                    <a:lnTo>
                      <a:pt x="6724" y="423"/>
                    </a:lnTo>
                    <a:lnTo>
                      <a:pt x="6718" y="409"/>
                    </a:lnTo>
                    <a:lnTo>
                      <a:pt x="6710" y="397"/>
                    </a:lnTo>
                    <a:lnTo>
                      <a:pt x="6705" y="392"/>
                    </a:lnTo>
                    <a:lnTo>
                      <a:pt x="6700" y="386"/>
                    </a:lnTo>
                    <a:lnTo>
                      <a:pt x="6694" y="381"/>
                    </a:lnTo>
                    <a:lnTo>
                      <a:pt x="6688" y="377"/>
                    </a:lnTo>
                    <a:lnTo>
                      <a:pt x="6681" y="373"/>
                    </a:lnTo>
                    <a:lnTo>
                      <a:pt x="6673" y="369"/>
                    </a:lnTo>
                    <a:lnTo>
                      <a:pt x="6666" y="367"/>
                    </a:lnTo>
                    <a:lnTo>
                      <a:pt x="6656" y="364"/>
                    </a:lnTo>
                    <a:lnTo>
                      <a:pt x="6647" y="363"/>
                    </a:lnTo>
                    <a:lnTo>
                      <a:pt x="6637" y="360"/>
                    </a:lnTo>
                    <a:lnTo>
                      <a:pt x="6626" y="359"/>
                    </a:lnTo>
                    <a:lnTo>
                      <a:pt x="6614" y="359"/>
                    </a:lnTo>
                    <a:lnTo>
                      <a:pt x="6600" y="359"/>
                    </a:lnTo>
                    <a:lnTo>
                      <a:pt x="6587" y="360"/>
                    </a:lnTo>
                    <a:lnTo>
                      <a:pt x="6574" y="363"/>
                    </a:lnTo>
                    <a:lnTo>
                      <a:pt x="6563" y="365"/>
                    </a:lnTo>
                    <a:lnTo>
                      <a:pt x="6551" y="368"/>
                    </a:lnTo>
                    <a:lnTo>
                      <a:pt x="6541" y="371"/>
                    </a:lnTo>
                    <a:lnTo>
                      <a:pt x="6531" y="377"/>
                    </a:lnTo>
                    <a:lnTo>
                      <a:pt x="6523" y="382"/>
                    </a:lnTo>
                    <a:lnTo>
                      <a:pt x="6515" y="389"/>
                    </a:lnTo>
                    <a:lnTo>
                      <a:pt x="6507" y="396"/>
                    </a:lnTo>
                    <a:lnTo>
                      <a:pt x="6501" y="405"/>
                    </a:lnTo>
                    <a:lnTo>
                      <a:pt x="6496" y="414"/>
                    </a:lnTo>
                    <a:lnTo>
                      <a:pt x="6490" y="424"/>
                    </a:lnTo>
                    <a:lnTo>
                      <a:pt x="6487" y="436"/>
                    </a:lnTo>
                    <a:lnTo>
                      <a:pt x="6484" y="449"/>
                    </a:lnTo>
                    <a:lnTo>
                      <a:pt x="6481" y="464"/>
                    </a:lnTo>
                    <a:lnTo>
                      <a:pt x="6377" y="464"/>
                    </a:lnTo>
                    <a:lnTo>
                      <a:pt x="6378" y="452"/>
                    </a:lnTo>
                    <a:lnTo>
                      <a:pt x="6379" y="440"/>
                    </a:lnTo>
                    <a:lnTo>
                      <a:pt x="6382" y="429"/>
                    </a:lnTo>
                    <a:lnTo>
                      <a:pt x="6384" y="418"/>
                    </a:lnTo>
                    <a:lnTo>
                      <a:pt x="6387" y="407"/>
                    </a:lnTo>
                    <a:lnTo>
                      <a:pt x="6390" y="397"/>
                    </a:lnTo>
                    <a:lnTo>
                      <a:pt x="6395" y="389"/>
                    </a:lnTo>
                    <a:lnTo>
                      <a:pt x="6399" y="379"/>
                    </a:lnTo>
                    <a:lnTo>
                      <a:pt x="6404" y="371"/>
                    </a:lnTo>
                    <a:lnTo>
                      <a:pt x="6410" y="363"/>
                    </a:lnTo>
                    <a:lnTo>
                      <a:pt x="6415" y="355"/>
                    </a:lnTo>
                    <a:lnTo>
                      <a:pt x="6422" y="348"/>
                    </a:lnTo>
                    <a:lnTo>
                      <a:pt x="6436" y="334"/>
                    </a:lnTo>
                    <a:lnTo>
                      <a:pt x="6452" y="323"/>
                    </a:lnTo>
                    <a:lnTo>
                      <a:pt x="6468" y="313"/>
                    </a:lnTo>
                    <a:lnTo>
                      <a:pt x="6487" y="304"/>
                    </a:lnTo>
                    <a:lnTo>
                      <a:pt x="6506" y="297"/>
                    </a:lnTo>
                    <a:lnTo>
                      <a:pt x="6526" y="291"/>
                    </a:lnTo>
                    <a:lnTo>
                      <a:pt x="6547" y="287"/>
                    </a:lnTo>
                    <a:lnTo>
                      <a:pt x="6568" y="283"/>
                    </a:lnTo>
                    <a:lnTo>
                      <a:pt x="6590" y="282"/>
                    </a:lnTo>
                    <a:lnTo>
                      <a:pt x="6612" y="281"/>
                    </a:lnTo>
                    <a:lnTo>
                      <a:pt x="6638" y="282"/>
                    </a:lnTo>
                    <a:lnTo>
                      <a:pt x="6663" y="284"/>
                    </a:lnTo>
                    <a:lnTo>
                      <a:pt x="6687" y="288"/>
                    </a:lnTo>
                    <a:lnTo>
                      <a:pt x="6707" y="293"/>
                    </a:lnTo>
                    <a:lnTo>
                      <a:pt x="6728" y="301"/>
                    </a:lnTo>
                    <a:lnTo>
                      <a:pt x="6745" y="309"/>
                    </a:lnTo>
                    <a:lnTo>
                      <a:pt x="6754" y="314"/>
                    </a:lnTo>
                    <a:lnTo>
                      <a:pt x="6761" y="319"/>
                    </a:lnTo>
                    <a:lnTo>
                      <a:pt x="6769" y="326"/>
                    </a:lnTo>
                    <a:lnTo>
                      <a:pt x="6775" y="331"/>
                    </a:lnTo>
                    <a:lnTo>
                      <a:pt x="6782" y="339"/>
                    </a:lnTo>
                    <a:lnTo>
                      <a:pt x="6788" y="345"/>
                    </a:lnTo>
                    <a:lnTo>
                      <a:pt x="6794" y="353"/>
                    </a:lnTo>
                    <a:lnTo>
                      <a:pt x="6799" y="360"/>
                    </a:lnTo>
                    <a:lnTo>
                      <a:pt x="6805" y="369"/>
                    </a:lnTo>
                    <a:lnTo>
                      <a:pt x="6809" y="378"/>
                    </a:lnTo>
                    <a:lnTo>
                      <a:pt x="6812" y="386"/>
                    </a:lnTo>
                    <a:lnTo>
                      <a:pt x="6817" y="396"/>
                    </a:lnTo>
                    <a:lnTo>
                      <a:pt x="6822" y="417"/>
                    </a:lnTo>
                    <a:lnTo>
                      <a:pt x="6826" y="440"/>
                    </a:lnTo>
                    <a:lnTo>
                      <a:pt x="6829" y="465"/>
                    </a:lnTo>
                    <a:lnTo>
                      <a:pt x="6830" y="491"/>
                    </a:lnTo>
                    <a:lnTo>
                      <a:pt x="6830" y="947"/>
                    </a:lnTo>
                    <a:lnTo>
                      <a:pt x="6740" y="947"/>
                    </a:lnTo>
                    <a:close/>
                    <a:moveTo>
                      <a:pt x="6160" y="947"/>
                    </a:moveTo>
                    <a:lnTo>
                      <a:pt x="6160" y="586"/>
                    </a:lnTo>
                    <a:lnTo>
                      <a:pt x="6160" y="556"/>
                    </a:lnTo>
                    <a:lnTo>
                      <a:pt x="6160" y="522"/>
                    </a:lnTo>
                    <a:lnTo>
                      <a:pt x="6159" y="505"/>
                    </a:lnTo>
                    <a:lnTo>
                      <a:pt x="6158" y="486"/>
                    </a:lnTo>
                    <a:lnTo>
                      <a:pt x="6156" y="469"/>
                    </a:lnTo>
                    <a:lnTo>
                      <a:pt x="6153" y="453"/>
                    </a:lnTo>
                    <a:lnTo>
                      <a:pt x="6147" y="436"/>
                    </a:lnTo>
                    <a:lnTo>
                      <a:pt x="6142" y="422"/>
                    </a:lnTo>
                    <a:lnTo>
                      <a:pt x="6137" y="415"/>
                    </a:lnTo>
                    <a:lnTo>
                      <a:pt x="6134" y="408"/>
                    </a:lnTo>
                    <a:lnTo>
                      <a:pt x="6129" y="403"/>
                    </a:lnTo>
                    <a:lnTo>
                      <a:pt x="6124" y="397"/>
                    </a:lnTo>
                    <a:lnTo>
                      <a:pt x="6119" y="392"/>
                    </a:lnTo>
                    <a:lnTo>
                      <a:pt x="6113" y="388"/>
                    </a:lnTo>
                    <a:lnTo>
                      <a:pt x="6106" y="383"/>
                    </a:lnTo>
                    <a:lnTo>
                      <a:pt x="6099" y="380"/>
                    </a:lnTo>
                    <a:lnTo>
                      <a:pt x="6091" y="378"/>
                    </a:lnTo>
                    <a:lnTo>
                      <a:pt x="6083" y="376"/>
                    </a:lnTo>
                    <a:lnTo>
                      <a:pt x="6073" y="374"/>
                    </a:lnTo>
                    <a:lnTo>
                      <a:pt x="6065" y="374"/>
                    </a:lnTo>
                    <a:lnTo>
                      <a:pt x="6053" y="374"/>
                    </a:lnTo>
                    <a:lnTo>
                      <a:pt x="6043" y="377"/>
                    </a:lnTo>
                    <a:lnTo>
                      <a:pt x="6032" y="380"/>
                    </a:lnTo>
                    <a:lnTo>
                      <a:pt x="6022" y="383"/>
                    </a:lnTo>
                    <a:lnTo>
                      <a:pt x="6014" y="389"/>
                    </a:lnTo>
                    <a:lnTo>
                      <a:pt x="6005" y="395"/>
                    </a:lnTo>
                    <a:lnTo>
                      <a:pt x="5996" y="402"/>
                    </a:lnTo>
                    <a:lnTo>
                      <a:pt x="5988" y="409"/>
                    </a:lnTo>
                    <a:lnTo>
                      <a:pt x="5980" y="418"/>
                    </a:lnTo>
                    <a:lnTo>
                      <a:pt x="5974" y="427"/>
                    </a:lnTo>
                    <a:lnTo>
                      <a:pt x="5966" y="436"/>
                    </a:lnTo>
                    <a:lnTo>
                      <a:pt x="5960" y="447"/>
                    </a:lnTo>
                    <a:lnTo>
                      <a:pt x="5949" y="469"/>
                    </a:lnTo>
                    <a:lnTo>
                      <a:pt x="5938" y="493"/>
                    </a:lnTo>
                    <a:lnTo>
                      <a:pt x="5929" y="518"/>
                    </a:lnTo>
                    <a:lnTo>
                      <a:pt x="5922" y="543"/>
                    </a:lnTo>
                    <a:lnTo>
                      <a:pt x="5915" y="569"/>
                    </a:lnTo>
                    <a:lnTo>
                      <a:pt x="5911" y="594"/>
                    </a:lnTo>
                    <a:lnTo>
                      <a:pt x="5906" y="618"/>
                    </a:lnTo>
                    <a:lnTo>
                      <a:pt x="5904" y="640"/>
                    </a:lnTo>
                    <a:lnTo>
                      <a:pt x="5902" y="661"/>
                    </a:lnTo>
                    <a:lnTo>
                      <a:pt x="5902" y="680"/>
                    </a:lnTo>
                    <a:lnTo>
                      <a:pt x="5902" y="947"/>
                    </a:lnTo>
                    <a:lnTo>
                      <a:pt x="5809" y="947"/>
                    </a:lnTo>
                    <a:lnTo>
                      <a:pt x="5809" y="586"/>
                    </a:lnTo>
                    <a:lnTo>
                      <a:pt x="5809" y="556"/>
                    </a:lnTo>
                    <a:lnTo>
                      <a:pt x="5809" y="522"/>
                    </a:lnTo>
                    <a:lnTo>
                      <a:pt x="5808" y="505"/>
                    </a:lnTo>
                    <a:lnTo>
                      <a:pt x="5807" y="486"/>
                    </a:lnTo>
                    <a:lnTo>
                      <a:pt x="5804" y="469"/>
                    </a:lnTo>
                    <a:lnTo>
                      <a:pt x="5801" y="453"/>
                    </a:lnTo>
                    <a:lnTo>
                      <a:pt x="5797" y="436"/>
                    </a:lnTo>
                    <a:lnTo>
                      <a:pt x="5790" y="422"/>
                    </a:lnTo>
                    <a:lnTo>
                      <a:pt x="5787" y="415"/>
                    </a:lnTo>
                    <a:lnTo>
                      <a:pt x="5783" y="408"/>
                    </a:lnTo>
                    <a:lnTo>
                      <a:pt x="5778" y="403"/>
                    </a:lnTo>
                    <a:lnTo>
                      <a:pt x="5773" y="397"/>
                    </a:lnTo>
                    <a:lnTo>
                      <a:pt x="5767" y="392"/>
                    </a:lnTo>
                    <a:lnTo>
                      <a:pt x="5762" y="388"/>
                    </a:lnTo>
                    <a:lnTo>
                      <a:pt x="5756" y="383"/>
                    </a:lnTo>
                    <a:lnTo>
                      <a:pt x="5748" y="380"/>
                    </a:lnTo>
                    <a:lnTo>
                      <a:pt x="5740" y="378"/>
                    </a:lnTo>
                    <a:lnTo>
                      <a:pt x="5732" y="376"/>
                    </a:lnTo>
                    <a:lnTo>
                      <a:pt x="5723" y="374"/>
                    </a:lnTo>
                    <a:lnTo>
                      <a:pt x="5713" y="374"/>
                    </a:lnTo>
                    <a:lnTo>
                      <a:pt x="5702" y="374"/>
                    </a:lnTo>
                    <a:lnTo>
                      <a:pt x="5691" y="377"/>
                    </a:lnTo>
                    <a:lnTo>
                      <a:pt x="5682" y="380"/>
                    </a:lnTo>
                    <a:lnTo>
                      <a:pt x="5672" y="383"/>
                    </a:lnTo>
                    <a:lnTo>
                      <a:pt x="5663" y="389"/>
                    </a:lnTo>
                    <a:lnTo>
                      <a:pt x="5654" y="395"/>
                    </a:lnTo>
                    <a:lnTo>
                      <a:pt x="5646" y="402"/>
                    </a:lnTo>
                    <a:lnTo>
                      <a:pt x="5637" y="409"/>
                    </a:lnTo>
                    <a:lnTo>
                      <a:pt x="5630" y="418"/>
                    </a:lnTo>
                    <a:lnTo>
                      <a:pt x="5623" y="427"/>
                    </a:lnTo>
                    <a:lnTo>
                      <a:pt x="5616" y="436"/>
                    </a:lnTo>
                    <a:lnTo>
                      <a:pt x="5609" y="447"/>
                    </a:lnTo>
                    <a:lnTo>
                      <a:pt x="5597" y="469"/>
                    </a:lnTo>
                    <a:lnTo>
                      <a:pt x="5587" y="493"/>
                    </a:lnTo>
                    <a:lnTo>
                      <a:pt x="5579" y="518"/>
                    </a:lnTo>
                    <a:lnTo>
                      <a:pt x="5571" y="543"/>
                    </a:lnTo>
                    <a:lnTo>
                      <a:pt x="5565" y="569"/>
                    </a:lnTo>
                    <a:lnTo>
                      <a:pt x="5559" y="594"/>
                    </a:lnTo>
                    <a:lnTo>
                      <a:pt x="5555" y="618"/>
                    </a:lnTo>
                    <a:lnTo>
                      <a:pt x="5553" y="640"/>
                    </a:lnTo>
                    <a:lnTo>
                      <a:pt x="5552" y="661"/>
                    </a:lnTo>
                    <a:lnTo>
                      <a:pt x="5550" y="680"/>
                    </a:lnTo>
                    <a:lnTo>
                      <a:pt x="5550" y="947"/>
                    </a:lnTo>
                    <a:lnTo>
                      <a:pt x="5457" y="947"/>
                    </a:lnTo>
                    <a:lnTo>
                      <a:pt x="5457" y="296"/>
                    </a:lnTo>
                    <a:lnTo>
                      <a:pt x="5550" y="296"/>
                    </a:lnTo>
                    <a:lnTo>
                      <a:pt x="5550" y="447"/>
                    </a:lnTo>
                    <a:lnTo>
                      <a:pt x="5554" y="447"/>
                    </a:lnTo>
                    <a:lnTo>
                      <a:pt x="5558" y="430"/>
                    </a:lnTo>
                    <a:lnTo>
                      <a:pt x="5565" y="412"/>
                    </a:lnTo>
                    <a:lnTo>
                      <a:pt x="5571" y="397"/>
                    </a:lnTo>
                    <a:lnTo>
                      <a:pt x="5578" y="382"/>
                    </a:lnTo>
                    <a:lnTo>
                      <a:pt x="5585" y="367"/>
                    </a:lnTo>
                    <a:lnTo>
                      <a:pt x="5594" y="354"/>
                    </a:lnTo>
                    <a:lnTo>
                      <a:pt x="5604" y="341"/>
                    </a:lnTo>
                    <a:lnTo>
                      <a:pt x="5614" y="329"/>
                    </a:lnTo>
                    <a:lnTo>
                      <a:pt x="5625" y="318"/>
                    </a:lnTo>
                    <a:lnTo>
                      <a:pt x="5637" y="309"/>
                    </a:lnTo>
                    <a:lnTo>
                      <a:pt x="5651" y="301"/>
                    </a:lnTo>
                    <a:lnTo>
                      <a:pt x="5665" y="294"/>
                    </a:lnTo>
                    <a:lnTo>
                      <a:pt x="5681" y="289"/>
                    </a:lnTo>
                    <a:lnTo>
                      <a:pt x="5698" y="284"/>
                    </a:lnTo>
                    <a:lnTo>
                      <a:pt x="5715" y="282"/>
                    </a:lnTo>
                    <a:lnTo>
                      <a:pt x="5735" y="281"/>
                    </a:lnTo>
                    <a:lnTo>
                      <a:pt x="5752" y="282"/>
                    </a:lnTo>
                    <a:lnTo>
                      <a:pt x="5770" y="283"/>
                    </a:lnTo>
                    <a:lnTo>
                      <a:pt x="5786" y="287"/>
                    </a:lnTo>
                    <a:lnTo>
                      <a:pt x="5801" y="291"/>
                    </a:lnTo>
                    <a:lnTo>
                      <a:pt x="5814" y="296"/>
                    </a:lnTo>
                    <a:lnTo>
                      <a:pt x="5828" y="303"/>
                    </a:lnTo>
                    <a:lnTo>
                      <a:pt x="5840" y="310"/>
                    </a:lnTo>
                    <a:lnTo>
                      <a:pt x="5851" y="319"/>
                    </a:lnTo>
                    <a:lnTo>
                      <a:pt x="5861" y="329"/>
                    </a:lnTo>
                    <a:lnTo>
                      <a:pt x="5869" y="341"/>
                    </a:lnTo>
                    <a:lnTo>
                      <a:pt x="5877" y="353"/>
                    </a:lnTo>
                    <a:lnTo>
                      <a:pt x="5885" y="366"/>
                    </a:lnTo>
                    <a:lnTo>
                      <a:pt x="5890" y="381"/>
                    </a:lnTo>
                    <a:lnTo>
                      <a:pt x="5894" y="396"/>
                    </a:lnTo>
                    <a:lnTo>
                      <a:pt x="5898" y="412"/>
                    </a:lnTo>
                    <a:lnTo>
                      <a:pt x="5899" y="430"/>
                    </a:lnTo>
                    <a:lnTo>
                      <a:pt x="5902" y="430"/>
                    </a:lnTo>
                    <a:lnTo>
                      <a:pt x="5907" y="415"/>
                    </a:lnTo>
                    <a:lnTo>
                      <a:pt x="5914" y="399"/>
                    </a:lnTo>
                    <a:lnTo>
                      <a:pt x="5922" y="385"/>
                    </a:lnTo>
                    <a:lnTo>
                      <a:pt x="5929" y="372"/>
                    </a:lnTo>
                    <a:lnTo>
                      <a:pt x="5938" y="359"/>
                    </a:lnTo>
                    <a:lnTo>
                      <a:pt x="5948" y="346"/>
                    </a:lnTo>
                    <a:lnTo>
                      <a:pt x="5958" y="335"/>
                    </a:lnTo>
                    <a:lnTo>
                      <a:pt x="5970" y="325"/>
                    </a:lnTo>
                    <a:lnTo>
                      <a:pt x="5982" y="315"/>
                    </a:lnTo>
                    <a:lnTo>
                      <a:pt x="5995" y="306"/>
                    </a:lnTo>
                    <a:lnTo>
                      <a:pt x="6008" y="298"/>
                    </a:lnTo>
                    <a:lnTo>
                      <a:pt x="6022" y="293"/>
                    </a:lnTo>
                    <a:lnTo>
                      <a:pt x="6038" y="288"/>
                    </a:lnTo>
                    <a:lnTo>
                      <a:pt x="6053" y="284"/>
                    </a:lnTo>
                    <a:lnTo>
                      <a:pt x="6069" y="282"/>
                    </a:lnTo>
                    <a:lnTo>
                      <a:pt x="6086" y="281"/>
                    </a:lnTo>
                    <a:lnTo>
                      <a:pt x="6097" y="281"/>
                    </a:lnTo>
                    <a:lnTo>
                      <a:pt x="6107" y="282"/>
                    </a:lnTo>
                    <a:lnTo>
                      <a:pt x="6117" y="283"/>
                    </a:lnTo>
                    <a:lnTo>
                      <a:pt x="6127" y="285"/>
                    </a:lnTo>
                    <a:lnTo>
                      <a:pt x="6135" y="288"/>
                    </a:lnTo>
                    <a:lnTo>
                      <a:pt x="6144" y="291"/>
                    </a:lnTo>
                    <a:lnTo>
                      <a:pt x="6153" y="294"/>
                    </a:lnTo>
                    <a:lnTo>
                      <a:pt x="6160" y="298"/>
                    </a:lnTo>
                    <a:lnTo>
                      <a:pt x="6175" y="307"/>
                    </a:lnTo>
                    <a:lnTo>
                      <a:pt x="6190" y="318"/>
                    </a:lnTo>
                    <a:lnTo>
                      <a:pt x="6201" y="330"/>
                    </a:lnTo>
                    <a:lnTo>
                      <a:pt x="6212" y="343"/>
                    </a:lnTo>
                    <a:lnTo>
                      <a:pt x="6222" y="358"/>
                    </a:lnTo>
                    <a:lnTo>
                      <a:pt x="6231" y="373"/>
                    </a:lnTo>
                    <a:lnTo>
                      <a:pt x="6237" y="391"/>
                    </a:lnTo>
                    <a:lnTo>
                      <a:pt x="6243" y="408"/>
                    </a:lnTo>
                    <a:lnTo>
                      <a:pt x="6247" y="426"/>
                    </a:lnTo>
                    <a:lnTo>
                      <a:pt x="6250" y="444"/>
                    </a:lnTo>
                    <a:lnTo>
                      <a:pt x="6252" y="464"/>
                    </a:lnTo>
                    <a:lnTo>
                      <a:pt x="6252" y="482"/>
                    </a:lnTo>
                    <a:lnTo>
                      <a:pt x="6252" y="947"/>
                    </a:lnTo>
                    <a:lnTo>
                      <a:pt x="6160" y="947"/>
                    </a:lnTo>
                    <a:close/>
                    <a:moveTo>
                      <a:pt x="5158" y="677"/>
                    </a:moveTo>
                    <a:lnTo>
                      <a:pt x="5158" y="947"/>
                    </a:lnTo>
                    <a:lnTo>
                      <a:pt x="5065" y="947"/>
                    </a:lnTo>
                    <a:lnTo>
                      <a:pt x="5065" y="296"/>
                    </a:lnTo>
                    <a:lnTo>
                      <a:pt x="5158" y="296"/>
                    </a:lnTo>
                    <a:lnTo>
                      <a:pt x="5158" y="422"/>
                    </a:lnTo>
                    <a:lnTo>
                      <a:pt x="5161" y="422"/>
                    </a:lnTo>
                    <a:lnTo>
                      <a:pt x="5168" y="405"/>
                    </a:lnTo>
                    <a:lnTo>
                      <a:pt x="5178" y="389"/>
                    </a:lnTo>
                    <a:lnTo>
                      <a:pt x="5187" y="374"/>
                    </a:lnTo>
                    <a:lnTo>
                      <a:pt x="5198" y="360"/>
                    </a:lnTo>
                    <a:lnTo>
                      <a:pt x="5209" y="347"/>
                    </a:lnTo>
                    <a:lnTo>
                      <a:pt x="5221" y="336"/>
                    </a:lnTo>
                    <a:lnTo>
                      <a:pt x="5233" y="326"/>
                    </a:lnTo>
                    <a:lnTo>
                      <a:pt x="5246" y="316"/>
                    </a:lnTo>
                    <a:lnTo>
                      <a:pt x="5260" y="308"/>
                    </a:lnTo>
                    <a:lnTo>
                      <a:pt x="5275" y="301"/>
                    </a:lnTo>
                    <a:lnTo>
                      <a:pt x="5290" y="295"/>
                    </a:lnTo>
                    <a:lnTo>
                      <a:pt x="5306" y="290"/>
                    </a:lnTo>
                    <a:lnTo>
                      <a:pt x="5323" y="287"/>
                    </a:lnTo>
                    <a:lnTo>
                      <a:pt x="5341" y="283"/>
                    </a:lnTo>
                    <a:lnTo>
                      <a:pt x="5359" y="282"/>
                    </a:lnTo>
                    <a:lnTo>
                      <a:pt x="5378" y="281"/>
                    </a:lnTo>
                    <a:lnTo>
                      <a:pt x="5378" y="381"/>
                    </a:lnTo>
                    <a:lnTo>
                      <a:pt x="5363" y="382"/>
                    </a:lnTo>
                    <a:lnTo>
                      <a:pt x="5348" y="383"/>
                    </a:lnTo>
                    <a:lnTo>
                      <a:pt x="5333" y="385"/>
                    </a:lnTo>
                    <a:lnTo>
                      <a:pt x="5320" y="389"/>
                    </a:lnTo>
                    <a:lnTo>
                      <a:pt x="5307" y="392"/>
                    </a:lnTo>
                    <a:lnTo>
                      <a:pt x="5295" y="396"/>
                    </a:lnTo>
                    <a:lnTo>
                      <a:pt x="5284" y="402"/>
                    </a:lnTo>
                    <a:lnTo>
                      <a:pt x="5273" y="407"/>
                    </a:lnTo>
                    <a:lnTo>
                      <a:pt x="5263" y="415"/>
                    </a:lnTo>
                    <a:lnTo>
                      <a:pt x="5253" y="421"/>
                    </a:lnTo>
                    <a:lnTo>
                      <a:pt x="5243" y="429"/>
                    </a:lnTo>
                    <a:lnTo>
                      <a:pt x="5235" y="437"/>
                    </a:lnTo>
                    <a:lnTo>
                      <a:pt x="5226" y="446"/>
                    </a:lnTo>
                    <a:lnTo>
                      <a:pt x="5218" y="456"/>
                    </a:lnTo>
                    <a:lnTo>
                      <a:pt x="5212" y="466"/>
                    </a:lnTo>
                    <a:lnTo>
                      <a:pt x="5205" y="477"/>
                    </a:lnTo>
                    <a:lnTo>
                      <a:pt x="5199" y="487"/>
                    </a:lnTo>
                    <a:lnTo>
                      <a:pt x="5193" y="498"/>
                    </a:lnTo>
                    <a:lnTo>
                      <a:pt x="5188" y="510"/>
                    </a:lnTo>
                    <a:lnTo>
                      <a:pt x="5184" y="521"/>
                    </a:lnTo>
                    <a:lnTo>
                      <a:pt x="5175" y="546"/>
                    </a:lnTo>
                    <a:lnTo>
                      <a:pt x="5168" y="571"/>
                    </a:lnTo>
                    <a:lnTo>
                      <a:pt x="5164" y="598"/>
                    </a:lnTo>
                    <a:lnTo>
                      <a:pt x="5161" y="624"/>
                    </a:lnTo>
                    <a:lnTo>
                      <a:pt x="5159" y="651"/>
                    </a:lnTo>
                    <a:lnTo>
                      <a:pt x="5158" y="677"/>
                    </a:lnTo>
                    <a:close/>
                    <a:moveTo>
                      <a:pt x="4683" y="359"/>
                    </a:moveTo>
                    <a:lnTo>
                      <a:pt x="4672" y="359"/>
                    </a:lnTo>
                    <a:lnTo>
                      <a:pt x="4660" y="361"/>
                    </a:lnTo>
                    <a:lnTo>
                      <a:pt x="4649" y="364"/>
                    </a:lnTo>
                    <a:lnTo>
                      <a:pt x="4638" y="367"/>
                    </a:lnTo>
                    <a:lnTo>
                      <a:pt x="4628" y="370"/>
                    </a:lnTo>
                    <a:lnTo>
                      <a:pt x="4619" y="374"/>
                    </a:lnTo>
                    <a:lnTo>
                      <a:pt x="4610" y="380"/>
                    </a:lnTo>
                    <a:lnTo>
                      <a:pt x="4602" y="385"/>
                    </a:lnTo>
                    <a:lnTo>
                      <a:pt x="4594" y="392"/>
                    </a:lnTo>
                    <a:lnTo>
                      <a:pt x="4587" y="399"/>
                    </a:lnTo>
                    <a:lnTo>
                      <a:pt x="4580" y="407"/>
                    </a:lnTo>
                    <a:lnTo>
                      <a:pt x="4574" y="415"/>
                    </a:lnTo>
                    <a:lnTo>
                      <a:pt x="4568" y="423"/>
                    </a:lnTo>
                    <a:lnTo>
                      <a:pt x="4563" y="432"/>
                    </a:lnTo>
                    <a:lnTo>
                      <a:pt x="4559" y="442"/>
                    </a:lnTo>
                    <a:lnTo>
                      <a:pt x="4554" y="452"/>
                    </a:lnTo>
                    <a:lnTo>
                      <a:pt x="4546" y="472"/>
                    </a:lnTo>
                    <a:lnTo>
                      <a:pt x="4540" y="493"/>
                    </a:lnTo>
                    <a:lnTo>
                      <a:pt x="4535" y="515"/>
                    </a:lnTo>
                    <a:lnTo>
                      <a:pt x="4532" y="537"/>
                    </a:lnTo>
                    <a:lnTo>
                      <a:pt x="4528" y="559"/>
                    </a:lnTo>
                    <a:lnTo>
                      <a:pt x="4526" y="581"/>
                    </a:lnTo>
                    <a:lnTo>
                      <a:pt x="4525" y="601"/>
                    </a:lnTo>
                    <a:lnTo>
                      <a:pt x="4525" y="622"/>
                    </a:lnTo>
                    <a:lnTo>
                      <a:pt x="4525" y="642"/>
                    </a:lnTo>
                    <a:lnTo>
                      <a:pt x="4526" y="663"/>
                    </a:lnTo>
                    <a:lnTo>
                      <a:pt x="4528" y="685"/>
                    </a:lnTo>
                    <a:lnTo>
                      <a:pt x="4532" y="707"/>
                    </a:lnTo>
                    <a:lnTo>
                      <a:pt x="4535" y="728"/>
                    </a:lnTo>
                    <a:lnTo>
                      <a:pt x="4540" y="750"/>
                    </a:lnTo>
                    <a:lnTo>
                      <a:pt x="4546" y="772"/>
                    </a:lnTo>
                    <a:lnTo>
                      <a:pt x="4554" y="793"/>
                    </a:lnTo>
                    <a:lnTo>
                      <a:pt x="4559" y="802"/>
                    </a:lnTo>
                    <a:lnTo>
                      <a:pt x="4563" y="811"/>
                    </a:lnTo>
                    <a:lnTo>
                      <a:pt x="4568" y="820"/>
                    </a:lnTo>
                    <a:lnTo>
                      <a:pt x="4574" y="828"/>
                    </a:lnTo>
                    <a:lnTo>
                      <a:pt x="4580" y="837"/>
                    </a:lnTo>
                    <a:lnTo>
                      <a:pt x="4587" y="845"/>
                    </a:lnTo>
                    <a:lnTo>
                      <a:pt x="4594" y="851"/>
                    </a:lnTo>
                    <a:lnTo>
                      <a:pt x="4602" y="858"/>
                    </a:lnTo>
                    <a:lnTo>
                      <a:pt x="4610" y="864"/>
                    </a:lnTo>
                    <a:lnTo>
                      <a:pt x="4619" y="869"/>
                    </a:lnTo>
                    <a:lnTo>
                      <a:pt x="4628" y="874"/>
                    </a:lnTo>
                    <a:lnTo>
                      <a:pt x="4638" y="877"/>
                    </a:lnTo>
                    <a:lnTo>
                      <a:pt x="4649" y="880"/>
                    </a:lnTo>
                    <a:lnTo>
                      <a:pt x="4660" y="883"/>
                    </a:lnTo>
                    <a:lnTo>
                      <a:pt x="4672" y="884"/>
                    </a:lnTo>
                    <a:lnTo>
                      <a:pt x="4683" y="885"/>
                    </a:lnTo>
                    <a:lnTo>
                      <a:pt x="4696" y="884"/>
                    </a:lnTo>
                    <a:lnTo>
                      <a:pt x="4708" y="883"/>
                    </a:lnTo>
                    <a:lnTo>
                      <a:pt x="4719" y="880"/>
                    </a:lnTo>
                    <a:lnTo>
                      <a:pt x="4730" y="877"/>
                    </a:lnTo>
                    <a:lnTo>
                      <a:pt x="4740" y="874"/>
                    </a:lnTo>
                    <a:lnTo>
                      <a:pt x="4750" y="870"/>
                    </a:lnTo>
                    <a:lnTo>
                      <a:pt x="4758" y="864"/>
                    </a:lnTo>
                    <a:lnTo>
                      <a:pt x="4767" y="858"/>
                    </a:lnTo>
                    <a:lnTo>
                      <a:pt x="4775" y="852"/>
                    </a:lnTo>
                    <a:lnTo>
                      <a:pt x="4782" y="845"/>
                    </a:lnTo>
                    <a:lnTo>
                      <a:pt x="4789" y="837"/>
                    </a:lnTo>
                    <a:lnTo>
                      <a:pt x="4795" y="829"/>
                    </a:lnTo>
                    <a:lnTo>
                      <a:pt x="4801" y="821"/>
                    </a:lnTo>
                    <a:lnTo>
                      <a:pt x="4806" y="812"/>
                    </a:lnTo>
                    <a:lnTo>
                      <a:pt x="4812" y="802"/>
                    </a:lnTo>
                    <a:lnTo>
                      <a:pt x="4816" y="793"/>
                    </a:lnTo>
                    <a:lnTo>
                      <a:pt x="4823" y="772"/>
                    </a:lnTo>
                    <a:lnTo>
                      <a:pt x="4830" y="751"/>
                    </a:lnTo>
                    <a:lnTo>
                      <a:pt x="4835" y="730"/>
                    </a:lnTo>
                    <a:lnTo>
                      <a:pt x="4839" y="707"/>
                    </a:lnTo>
                    <a:lnTo>
                      <a:pt x="4842" y="685"/>
                    </a:lnTo>
                    <a:lnTo>
                      <a:pt x="4844" y="663"/>
                    </a:lnTo>
                    <a:lnTo>
                      <a:pt x="4845" y="642"/>
                    </a:lnTo>
                    <a:lnTo>
                      <a:pt x="4845" y="622"/>
                    </a:lnTo>
                    <a:lnTo>
                      <a:pt x="4845" y="601"/>
                    </a:lnTo>
                    <a:lnTo>
                      <a:pt x="4844" y="581"/>
                    </a:lnTo>
                    <a:lnTo>
                      <a:pt x="4842" y="558"/>
                    </a:lnTo>
                    <a:lnTo>
                      <a:pt x="4839" y="536"/>
                    </a:lnTo>
                    <a:lnTo>
                      <a:pt x="4835" y="515"/>
                    </a:lnTo>
                    <a:lnTo>
                      <a:pt x="4830" y="493"/>
                    </a:lnTo>
                    <a:lnTo>
                      <a:pt x="4823" y="471"/>
                    </a:lnTo>
                    <a:lnTo>
                      <a:pt x="4815" y="452"/>
                    </a:lnTo>
                    <a:lnTo>
                      <a:pt x="4810" y="442"/>
                    </a:lnTo>
                    <a:lnTo>
                      <a:pt x="4805" y="432"/>
                    </a:lnTo>
                    <a:lnTo>
                      <a:pt x="4800" y="423"/>
                    </a:lnTo>
                    <a:lnTo>
                      <a:pt x="4794" y="415"/>
                    </a:lnTo>
                    <a:lnTo>
                      <a:pt x="4788" y="407"/>
                    </a:lnTo>
                    <a:lnTo>
                      <a:pt x="4781" y="399"/>
                    </a:lnTo>
                    <a:lnTo>
                      <a:pt x="4774" y="392"/>
                    </a:lnTo>
                    <a:lnTo>
                      <a:pt x="4766" y="385"/>
                    </a:lnTo>
                    <a:lnTo>
                      <a:pt x="4757" y="380"/>
                    </a:lnTo>
                    <a:lnTo>
                      <a:pt x="4749" y="374"/>
                    </a:lnTo>
                    <a:lnTo>
                      <a:pt x="4740" y="370"/>
                    </a:lnTo>
                    <a:lnTo>
                      <a:pt x="4729" y="366"/>
                    </a:lnTo>
                    <a:lnTo>
                      <a:pt x="4719" y="364"/>
                    </a:lnTo>
                    <a:lnTo>
                      <a:pt x="4707" y="361"/>
                    </a:lnTo>
                    <a:lnTo>
                      <a:pt x="4696" y="359"/>
                    </a:lnTo>
                    <a:lnTo>
                      <a:pt x="4683" y="359"/>
                    </a:lnTo>
                    <a:close/>
                    <a:moveTo>
                      <a:pt x="4683" y="962"/>
                    </a:moveTo>
                    <a:lnTo>
                      <a:pt x="4665" y="962"/>
                    </a:lnTo>
                    <a:lnTo>
                      <a:pt x="4648" y="961"/>
                    </a:lnTo>
                    <a:lnTo>
                      <a:pt x="4630" y="958"/>
                    </a:lnTo>
                    <a:lnTo>
                      <a:pt x="4615" y="955"/>
                    </a:lnTo>
                    <a:lnTo>
                      <a:pt x="4599" y="951"/>
                    </a:lnTo>
                    <a:lnTo>
                      <a:pt x="4585" y="946"/>
                    </a:lnTo>
                    <a:lnTo>
                      <a:pt x="4571" y="940"/>
                    </a:lnTo>
                    <a:lnTo>
                      <a:pt x="4558" y="934"/>
                    </a:lnTo>
                    <a:lnTo>
                      <a:pt x="4545" y="927"/>
                    </a:lnTo>
                    <a:lnTo>
                      <a:pt x="4534" y="918"/>
                    </a:lnTo>
                    <a:lnTo>
                      <a:pt x="4522" y="910"/>
                    </a:lnTo>
                    <a:lnTo>
                      <a:pt x="4512" y="901"/>
                    </a:lnTo>
                    <a:lnTo>
                      <a:pt x="4502" y="891"/>
                    </a:lnTo>
                    <a:lnTo>
                      <a:pt x="4493" y="880"/>
                    </a:lnTo>
                    <a:lnTo>
                      <a:pt x="4484" y="870"/>
                    </a:lnTo>
                    <a:lnTo>
                      <a:pt x="4476" y="859"/>
                    </a:lnTo>
                    <a:lnTo>
                      <a:pt x="4469" y="847"/>
                    </a:lnTo>
                    <a:lnTo>
                      <a:pt x="4462" y="834"/>
                    </a:lnTo>
                    <a:lnTo>
                      <a:pt x="4456" y="821"/>
                    </a:lnTo>
                    <a:lnTo>
                      <a:pt x="4449" y="808"/>
                    </a:lnTo>
                    <a:lnTo>
                      <a:pt x="4445" y="794"/>
                    </a:lnTo>
                    <a:lnTo>
                      <a:pt x="4439" y="779"/>
                    </a:lnTo>
                    <a:lnTo>
                      <a:pt x="4435" y="764"/>
                    </a:lnTo>
                    <a:lnTo>
                      <a:pt x="4432" y="750"/>
                    </a:lnTo>
                    <a:lnTo>
                      <a:pt x="4426" y="720"/>
                    </a:lnTo>
                    <a:lnTo>
                      <a:pt x="4422" y="688"/>
                    </a:lnTo>
                    <a:lnTo>
                      <a:pt x="4420" y="656"/>
                    </a:lnTo>
                    <a:lnTo>
                      <a:pt x="4419" y="623"/>
                    </a:lnTo>
                    <a:lnTo>
                      <a:pt x="4420" y="591"/>
                    </a:lnTo>
                    <a:lnTo>
                      <a:pt x="4422" y="558"/>
                    </a:lnTo>
                    <a:lnTo>
                      <a:pt x="4426" y="526"/>
                    </a:lnTo>
                    <a:lnTo>
                      <a:pt x="4432" y="496"/>
                    </a:lnTo>
                    <a:lnTo>
                      <a:pt x="4435" y="481"/>
                    </a:lnTo>
                    <a:lnTo>
                      <a:pt x="4439" y="467"/>
                    </a:lnTo>
                    <a:lnTo>
                      <a:pt x="4445" y="452"/>
                    </a:lnTo>
                    <a:lnTo>
                      <a:pt x="4449" y="439"/>
                    </a:lnTo>
                    <a:lnTo>
                      <a:pt x="4456" y="424"/>
                    </a:lnTo>
                    <a:lnTo>
                      <a:pt x="4462" y="411"/>
                    </a:lnTo>
                    <a:lnTo>
                      <a:pt x="4469" y="398"/>
                    </a:lnTo>
                    <a:lnTo>
                      <a:pt x="4476" y="386"/>
                    </a:lnTo>
                    <a:lnTo>
                      <a:pt x="4484" y="374"/>
                    </a:lnTo>
                    <a:lnTo>
                      <a:pt x="4493" y="364"/>
                    </a:lnTo>
                    <a:lnTo>
                      <a:pt x="4502" y="353"/>
                    </a:lnTo>
                    <a:lnTo>
                      <a:pt x="4512" y="343"/>
                    </a:lnTo>
                    <a:lnTo>
                      <a:pt x="4522" y="334"/>
                    </a:lnTo>
                    <a:lnTo>
                      <a:pt x="4534" y="326"/>
                    </a:lnTo>
                    <a:lnTo>
                      <a:pt x="4545" y="317"/>
                    </a:lnTo>
                    <a:lnTo>
                      <a:pt x="4558" y="310"/>
                    </a:lnTo>
                    <a:lnTo>
                      <a:pt x="4571" y="304"/>
                    </a:lnTo>
                    <a:lnTo>
                      <a:pt x="4585" y="297"/>
                    </a:lnTo>
                    <a:lnTo>
                      <a:pt x="4599" y="293"/>
                    </a:lnTo>
                    <a:lnTo>
                      <a:pt x="4615" y="289"/>
                    </a:lnTo>
                    <a:lnTo>
                      <a:pt x="4630" y="285"/>
                    </a:lnTo>
                    <a:lnTo>
                      <a:pt x="4648" y="283"/>
                    </a:lnTo>
                    <a:lnTo>
                      <a:pt x="4665" y="282"/>
                    </a:lnTo>
                    <a:lnTo>
                      <a:pt x="4683" y="281"/>
                    </a:lnTo>
                    <a:lnTo>
                      <a:pt x="4702" y="282"/>
                    </a:lnTo>
                    <a:lnTo>
                      <a:pt x="4720" y="283"/>
                    </a:lnTo>
                    <a:lnTo>
                      <a:pt x="4737" y="285"/>
                    </a:lnTo>
                    <a:lnTo>
                      <a:pt x="4753" y="289"/>
                    </a:lnTo>
                    <a:lnTo>
                      <a:pt x="4769" y="293"/>
                    </a:lnTo>
                    <a:lnTo>
                      <a:pt x="4783" y="297"/>
                    </a:lnTo>
                    <a:lnTo>
                      <a:pt x="4797" y="304"/>
                    </a:lnTo>
                    <a:lnTo>
                      <a:pt x="4810" y="309"/>
                    </a:lnTo>
                    <a:lnTo>
                      <a:pt x="4823" y="317"/>
                    </a:lnTo>
                    <a:lnTo>
                      <a:pt x="4835" y="325"/>
                    </a:lnTo>
                    <a:lnTo>
                      <a:pt x="4846" y="333"/>
                    </a:lnTo>
                    <a:lnTo>
                      <a:pt x="4857" y="343"/>
                    </a:lnTo>
                    <a:lnTo>
                      <a:pt x="4867" y="353"/>
                    </a:lnTo>
                    <a:lnTo>
                      <a:pt x="4877" y="364"/>
                    </a:lnTo>
                    <a:lnTo>
                      <a:pt x="4885" y="374"/>
                    </a:lnTo>
                    <a:lnTo>
                      <a:pt x="4894" y="386"/>
                    </a:lnTo>
                    <a:lnTo>
                      <a:pt x="4902" y="398"/>
                    </a:lnTo>
                    <a:lnTo>
                      <a:pt x="4908" y="410"/>
                    </a:lnTo>
                    <a:lnTo>
                      <a:pt x="4915" y="424"/>
                    </a:lnTo>
                    <a:lnTo>
                      <a:pt x="4920" y="437"/>
                    </a:lnTo>
                    <a:lnTo>
                      <a:pt x="4925" y="452"/>
                    </a:lnTo>
                    <a:lnTo>
                      <a:pt x="4930" y="466"/>
                    </a:lnTo>
                    <a:lnTo>
                      <a:pt x="4934" y="481"/>
                    </a:lnTo>
                    <a:lnTo>
                      <a:pt x="4938" y="495"/>
                    </a:lnTo>
                    <a:lnTo>
                      <a:pt x="4944" y="526"/>
                    </a:lnTo>
                    <a:lnTo>
                      <a:pt x="4948" y="558"/>
                    </a:lnTo>
                    <a:lnTo>
                      <a:pt x="4950" y="591"/>
                    </a:lnTo>
                    <a:lnTo>
                      <a:pt x="4951" y="623"/>
                    </a:lnTo>
                    <a:lnTo>
                      <a:pt x="4950" y="656"/>
                    </a:lnTo>
                    <a:lnTo>
                      <a:pt x="4948" y="688"/>
                    </a:lnTo>
                    <a:lnTo>
                      <a:pt x="4944" y="720"/>
                    </a:lnTo>
                    <a:lnTo>
                      <a:pt x="4938" y="750"/>
                    </a:lnTo>
                    <a:lnTo>
                      <a:pt x="4934" y="765"/>
                    </a:lnTo>
                    <a:lnTo>
                      <a:pt x="4930" y="779"/>
                    </a:lnTo>
                    <a:lnTo>
                      <a:pt x="4925" y="794"/>
                    </a:lnTo>
                    <a:lnTo>
                      <a:pt x="4920" y="808"/>
                    </a:lnTo>
                    <a:lnTo>
                      <a:pt x="4915" y="822"/>
                    </a:lnTo>
                    <a:lnTo>
                      <a:pt x="4908" y="834"/>
                    </a:lnTo>
                    <a:lnTo>
                      <a:pt x="4902" y="847"/>
                    </a:lnTo>
                    <a:lnTo>
                      <a:pt x="4894" y="859"/>
                    </a:lnTo>
                    <a:lnTo>
                      <a:pt x="4885" y="871"/>
                    </a:lnTo>
                    <a:lnTo>
                      <a:pt x="4877" y="882"/>
                    </a:lnTo>
                    <a:lnTo>
                      <a:pt x="4867" y="891"/>
                    </a:lnTo>
                    <a:lnTo>
                      <a:pt x="4857" y="901"/>
                    </a:lnTo>
                    <a:lnTo>
                      <a:pt x="4846" y="911"/>
                    </a:lnTo>
                    <a:lnTo>
                      <a:pt x="4835" y="920"/>
                    </a:lnTo>
                    <a:lnTo>
                      <a:pt x="4823" y="927"/>
                    </a:lnTo>
                    <a:lnTo>
                      <a:pt x="4810" y="934"/>
                    </a:lnTo>
                    <a:lnTo>
                      <a:pt x="4797" y="940"/>
                    </a:lnTo>
                    <a:lnTo>
                      <a:pt x="4783" y="946"/>
                    </a:lnTo>
                    <a:lnTo>
                      <a:pt x="4769" y="951"/>
                    </a:lnTo>
                    <a:lnTo>
                      <a:pt x="4753" y="955"/>
                    </a:lnTo>
                    <a:lnTo>
                      <a:pt x="4737" y="958"/>
                    </a:lnTo>
                    <a:lnTo>
                      <a:pt x="4720" y="961"/>
                    </a:lnTo>
                    <a:lnTo>
                      <a:pt x="4702" y="962"/>
                    </a:lnTo>
                    <a:lnTo>
                      <a:pt x="4683" y="962"/>
                    </a:lnTo>
                    <a:close/>
                    <a:moveTo>
                      <a:pt x="4340" y="77"/>
                    </a:moveTo>
                    <a:lnTo>
                      <a:pt x="4325" y="78"/>
                    </a:lnTo>
                    <a:lnTo>
                      <a:pt x="4313" y="79"/>
                    </a:lnTo>
                    <a:lnTo>
                      <a:pt x="4302" y="80"/>
                    </a:lnTo>
                    <a:lnTo>
                      <a:pt x="4291" y="82"/>
                    </a:lnTo>
                    <a:lnTo>
                      <a:pt x="4281" y="85"/>
                    </a:lnTo>
                    <a:lnTo>
                      <a:pt x="4272" y="88"/>
                    </a:lnTo>
                    <a:lnTo>
                      <a:pt x="4264" y="92"/>
                    </a:lnTo>
                    <a:lnTo>
                      <a:pt x="4256" y="95"/>
                    </a:lnTo>
                    <a:lnTo>
                      <a:pt x="4248" y="101"/>
                    </a:lnTo>
                    <a:lnTo>
                      <a:pt x="4242" y="105"/>
                    </a:lnTo>
                    <a:lnTo>
                      <a:pt x="4236" y="112"/>
                    </a:lnTo>
                    <a:lnTo>
                      <a:pt x="4231" y="117"/>
                    </a:lnTo>
                    <a:lnTo>
                      <a:pt x="4227" y="124"/>
                    </a:lnTo>
                    <a:lnTo>
                      <a:pt x="4222" y="130"/>
                    </a:lnTo>
                    <a:lnTo>
                      <a:pt x="4219" y="138"/>
                    </a:lnTo>
                    <a:lnTo>
                      <a:pt x="4216" y="145"/>
                    </a:lnTo>
                    <a:lnTo>
                      <a:pt x="4210" y="161"/>
                    </a:lnTo>
                    <a:lnTo>
                      <a:pt x="4207" y="178"/>
                    </a:lnTo>
                    <a:lnTo>
                      <a:pt x="4205" y="196"/>
                    </a:lnTo>
                    <a:lnTo>
                      <a:pt x="4203" y="215"/>
                    </a:lnTo>
                    <a:lnTo>
                      <a:pt x="4203" y="255"/>
                    </a:lnTo>
                    <a:lnTo>
                      <a:pt x="4203" y="296"/>
                    </a:lnTo>
                    <a:lnTo>
                      <a:pt x="4389" y="296"/>
                    </a:lnTo>
                    <a:lnTo>
                      <a:pt x="4389" y="374"/>
                    </a:lnTo>
                    <a:lnTo>
                      <a:pt x="4203" y="374"/>
                    </a:lnTo>
                    <a:lnTo>
                      <a:pt x="4203" y="947"/>
                    </a:lnTo>
                    <a:lnTo>
                      <a:pt x="4109" y="947"/>
                    </a:lnTo>
                    <a:lnTo>
                      <a:pt x="4109" y="374"/>
                    </a:lnTo>
                    <a:lnTo>
                      <a:pt x="4001" y="374"/>
                    </a:lnTo>
                    <a:lnTo>
                      <a:pt x="4001" y="296"/>
                    </a:lnTo>
                    <a:lnTo>
                      <a:pt x="4109" y="296"/>
                    </a:lnTo>
                    <a:lnTo>
                      <a:pt x="4109" y="206"/>
                    </a:lnTo>
                    <a:lnTo>
                      <a:pt x="4111" y="181"/>
                    </a:lnTo>
                    <a:lnTo>
                      <a:pt x="4114" y="158"/>
                    </a:lnTo>
                    <a:lnTo>
                      <a:pt x="4118" y="137"/>
                    </a:lnTo>
                    <a:lnTo>
                      <a:pt x="4124" y="117"/>
                    </a:lnTo>
                    <a:lnTo>
                      <a:pt x="4128" y="107"/>
                    </a:lnTo>
                    <a:lnTo>
                      <a:pt x="4132" y="99"/>
                    </a:lnTo>
                    <a:lnTo>
                      <a:pt x="4137" y="90"/>
                    </a:lnTo>
                    <a:lnTo>
                      <a:pt x="4142" y="81"/>
                    </a:lnTo>
                    <a:lnTo>
                      <a:pt x="4147" y="74"/>
                    </a:lnTo>
                    <a:lnTo>
                      <a:pt x="4153" y="66"/>
                    </a:lnTo>
                    <a:lnTo>
                      <a:pt x="4159" y="59"/>
                    </a:lnTo>
                    <a:lnTo>
                      <a:pt x="4166" y="52"/>
                    </a:lnTo>
                    <a:lnTo>
                      <a:pt x="4172" y="45"/>
                    </a:lnTo>
                    <a:lnTo>
                      <a:pt x="4180" y="40"/>
                    </a:lnTo>
                    <a:lnTo>
                      <a:pt x="4188" y="35"/>
                    </a:lnTo>
                    <a:lnTo>
                      <a:pt x="4196" y="29"/>
                    </a:lnTo>
                    <a:lnTo>
                      <a:pt x="4214" y="21"/>
                    </a:lnTo>
                    <a:lnTo>
                      <a:pt x="4232" y="13"/>
                    </a:lnTo>
                    <a:lnTo>
                      <a:pt x="4253" y="7"/>
                    </a:lnTo>
                    <a:lnTo>
                      <a:pt x="4275" y="3"/>
                    </a:lnTo>
                    <a:lnTo>
                      <a:pt x="4298" y="1"/>
                    </a:lnTo>
                    <a:lnTo>
                      <a:pt x="4323" y="0"/>
                    </a:lnTo>
                    <a:lnTo>
                      <a:pt x="4350" y="1"/>
                    </a:lnTo>
                    <a:lnTo>
                      <a:pt x="4379" y="3"/>
                    </a:lnTo>
                    <a:lnTo>
                      <a:pt x="4406" y="6"/>
                    </a:lnTo>
                    <a:lnTo>
                      <a:pt x="4434" y="12"/>
                    </a:lnTo>
                    <a:lnTo>
                      <a:pt x="4434" y="95"/>
                    </a:lnTo>
                    <a:lnTo>
                      <a:pt x="4410" y="88"/>
                    </a:lnTo>
                    <a:lnTo>
                      <a:pt x="4387" y="82"/>
                    </a:lnTo>
                    <a:lnTo>
                      <a:pt x="4375" y="80"/>
                    </a:lnTo>
                    <a:lnTo>
                      <a:pt x="4363" y="79"/>
                    </a:lnTo>
                    <a:lnTo>
                      <a:pt x="4351" y="78"/>
                    </a:lnTo>
                    <a:lnTo>
                      <a:pt x="4340" y="77"/>
                    </a:lnTo>
                    <a:close/>
                    <a:moveTo>
                      <a:pt x="3709" y="677"/>
                    </a:moveTo>
                    <a:lnTo>
                      <a:pt x="3709" y="947"/>
                    </a:lnTo>
                    <a:lnTo>
                      <a:pt x="3617" y="947"/>
                    </a:lnTo>
                    <a:lnTo>
                      <a:pt x="3617" y="296"/>
                    </a:lnTo>
                    <a:lnTo>
                      <a:pt x="3709" y="296"/>
                    </a:lnTo>
                    <a:lnTo>
                      <a:pt x="3709" y="422"/>
                    </a:lnTo>
                    <a:lnTo>
                      <a:pt x="3712" y="422"/>
                    </a:lnTo>
                    <a:lnTo>
                      <a:pt x="3720" y="405"/>
                    </a:lnTo>
                    <a:lnTo>
                      <a:pt x="3729" y="389"/>
                    </a:lnTo>
                    <a:lnTo>
                      <a:pt x="3738" y="374"/>
                    </a:lnTo>
                    <a:lnTo>
                      <a:pt x="3748" y="360"/>
                    </a:lnTo>
                    <a:lnTo>
                      <a:pt x="3760" y="347"/>
                    </a:lnTo>
                    <a:lnTo>
                      <a:pt x="3771" y="336"/>
                    </a:lnTo>
                    <a:lnTo>
                      <a:pt x="3784" y="326"/>
                    </a:lnTo>
                    <a:lnTo>
                      <a:pt x="3797" y="316"/>
                    </a:lnTo>
                    <a:lnTo>
                      <a:pt x="3811" y="308"/>
                    </a:lnTo>
                    <a:lnTo>
                      <a:pt x="3825" y="301"/>
                    </a:lnTo>
                    <a:lnTo>
                      <a:pt x="3841" y="295"/>
                    </a:lnTo>
                    <a:lnTo>
                      <a:pt x="3858" y="290"/>
                    </a:lnTo>
                    <a:lnTo>
                      <a:pt x="3874" y="287"/>
                    </a:lnTo>
                    <a:lnTo>
                      <a:pt x="3891" y="283"/>
                    </a:lnTo>
                    <a:lnTo>
                      <a:pt x="3910" y="282"/>
                    </a:lnTo>
                    <a:lnTo>
                      <a:pt x="3929" y="281"/>
                    </a:lnTo>
                    <a:lnTo>
                      <a:pt x="3929" y="381"/>
                    </a:lnTo>
                    <a:lnTo>
                      <a:pt x="3914" y="382"/>
                    </a:lnTo>
                    <a:lnTo>
                      <a:pt x="3899" y="383"/>
                    </a:lnTo>
                    <a:lnTo>
                      <a:pt x="3885" y="385"/>
                    </a:lnTo>
                    <a:lnTo>
                      <a:pt x="3872" y="389"/>
                    </a:lnTo>
                    <a:lnTo>
                      <a:pt x="3859" y="392"/>
                    </a:lnTo>
                    <a:lnTo>
                      <a:pt x="3847" y="396"/>
                    </a:lnTo>
                    <a:lnTo>
                      <a:pt x="3835" y="402"/>
                    </a:lnTo>
                    <a:lnTo>
                      <a:pt x="3824" y="407"/>
                    </a:lnTo>
                    <a:lnTo>
                      <a:pt x="3813" y="415"/>
                    </a:lnTo>
                    <a:lnTo>
                      <a:pt x="3803" y="421"/>
                    </a:lnTo>
                    <a:lnTo>
                      <a:pt x="3795" y="429"/>
                    </a:lnTo>
                    <a:lnTo>
                      <a:pt x="3786" y="437"/>
                    </a:lnTo>
                    <a:lnTo>
                      <a:pt x="3777" y="446"/>
                    </a:lnTo>
                    <a:lnTo>
                      <a:pt x="3770" y="456"/>
                    </a:lnTo>
                    <a:lnTo>
                      <a:pt x="3763" y="466"/>
                    </a:lnTo>
                    <a:lnTo>
                      <a:pt x="3757" y="477"/>
                    </a:lnTo>
                    <a:lnTo>
                      <a:pt x="3750" y="487"/>
                    </a:lnTo>
                    <a:lnTo>
                      <a:pt x="3745" y="498"/>
                    </a:lnTo>
                    <a:lnTo>
                      <a:pt x="3739" y="510"/>
                    </a:lnTo>
                    <a:lnTo>
                      <a:pt x="3735" y="521"/>
                    </a:lnTo>
                    <a:lnTo>
                      <a:pt x="3726" y="546"/>
                    </a:lnTo>
                    <a:lnTo>
                      <a:pt x="3720" y="571"/>
                    </a:lnTo>
                    <a:lnTo>
                      <a:pt x="3716" y="598"/>
                    </a:lnTo>
                    <a:lnTo>
                      <a:pt x="3712" y="624"/>
                    </a:lnTo>
                    <a:lnTo>
                      <a:pt x="3710" y="651"/>
                    </a:lnTo>
                    <a:lnTo>
                      <a:pt x="3709" y="677"/>
                    </a:lnTo>
                    <a:close/>
                    <a:moveTo>
                      <a:pt x="3274" y="359"/>
                    </a:moveTo>
                    <a:lnTo>
                      <a:pt x="3260" y="360"/>
                    </a:lnTo>
                    <a:lnTo>
                      <a:pt x="3246" y="361"/>
                    </a:lnTo>
                    <a:lnTo>
                      <a:pt x="3234" y="365"/>
                    </a:lnTo>
                    <a:lnTo>
                      <a:pt x="3222" y="369"/>
                    </a:lnTo>
                    <a:lnTo>
                      <a:pt x="3211" y="373"/>
                    </a:lnTo>
                    <a:lnTo>
                      <a:pt x="3200" y="380"/>
                    </a:lnTo>
                    <a:lnTo>
                      <a:pt x="3190" y="386"/>
                    </a:lnTo>
                    <a:lnTo>
                      <a:pt x="3182" y="394"/>
                    </a:lnTo>
                    <a:lnTo>
                      <a:pt x="3173" y="403"/>
                    </a:lnTo>
                    <a:lnTo>
                      <a:pt x="3165" y="412"/>
                    </a:lnTo>
                    <a:lnTo>
                      <a:pt x="3159" y="422"/>
                    </a:lnTo>
                    <a:lnTo>
                      <a:pt x="3154" y="433"/>
                    </a:lnTo>
                    <a:lnTo>
                      <a:pt x="3148" y="445"/>
                    </a:lnTo>
                    <a:lnTo>
                      <a:pt x="3144" y="457"/>
                    </a:lnTo>
                    <a:lnTo>
                      <a:pt x="3139" y="469"/>
                    </a:lnTo>
                    <a:lnTo>
                      <a:pt x="3137" y="482"/>
                    </a:lnTo>
                    <a:lnTo>
                      <a:pt x="3398" y="482"/>
                    </a:lnTo>
                    <a:lnTo>
                      <a:pt x="3398" y="469"/>
                    </a:lnTo>
                    <a:lnTo>
                      <a:pt x="3396" y="457"/>
                    </a:lnTo>
                    <a:lnTo>
                      <a:pt x="3392" y="445"/>
                    </a:lnTo>
                    <a:lnTo>
                      <a:pt x="3389" y="433"/>
                    </a:lnTo>
                    <a:lnTo>
                      <a:pt x="3384" y="422"/>
                    </a:lnTo>
                    <a:lnTo>
                      <a:pt x="3377" y="412"/>
                    </a:lnTo>
                    <a:lnTo>
                      <a:pt x="3371" y="403"/>
                    </a:lnTo>
                    <a:lnTo>
                      <a:pt x="3362" y="394"/>
                    </a:lnTo>
                    <a:lnTo>
                      <a:pt x="3353" y="386"/>
                    </a:lnTo>
                    <a:lnTo>
                      <a:pt x="3345" y="380"/>
                    </a:lnTo>
                    <a:lnTo>
                      <a:pt x="3334" y="373"/>
                    </a:lnTo>
                    <a:lnTo>
                      <a:pt x="3323" y="369"/>
                    </a:lnTo>
                    <a:lnTo>
                      <a:pt x="3312" y="365"/>
                    </a:lnTo>
                    <a:lnTo>
                      <a:pt x="3299" y="361"/>
                    </a:lnTo>
                    <a:lnTo>
                      <a:pt x="3287" y="360"/>
                    </a:lnTo>
                    <a:lnTo>
                      <a:pt x="3274" y="359"/>
                    </a:lnTo>
                    <a:close/>
                    <a:moveTo>
                      <a:pt x="3130" y="560"/>
                    </a:moveTo>
                    <a:lnTo>
                      <a:pt x="3130" y="598"/>
                    </a:lnTo>
                    <a:lnTo>
                      <a:pt x="3131" y="625"/>
                    </a:lnTo>
                    <a:lnTo>
                      <a:pt x="3133" y="651"/>
                    </a:lnTo>
                    <a:lnTo>
                      <a:pt x="3137" y="677"/>
                    </a:lnTo>
                    <a:lnTo>
                      <a:pt x="3144" y="703"/>
                    </a:lnTo>
                    <a:lnTo>
                      <a:pt x="3151" y="727"/>
                    </a:lnTo>
                    <a:lnTo>
                      <a:pt x="3161" y="751"/>
                    </a:lnTo>
                    <a:lnTo>
                      <a:pt x="3167" y="763"/>
                    </a:lnTo>
                    <a:lnTo>
                      <a:pt x="3172" y="774"/>
                    </a:lnTo>
                    <a:lnTo>
                      <a:pt x="3178" y="785"/>
                    </a:lnTo>
                    <a:lnTo>
                      <a:pt x="3186" y="795"/>
                    </a:lnTo>
                    <a:lnTo>
                      <a:pt x="3193" y="804"/>
                    </a:lnTo>
                    <a:lnTo>
                      <a:pt x="3200" y="814"/>
                    </a:lnTo>
                    <a:lnTo>
                      <a:pt x="3209" y="823"/>
                    </a:lnTo>
                    <a:lnTo>
                      <a:pt x="3218" y="832"/>
                    </a:lnTo>
                    <a:lnTo>
                      <a:pt x="3227" y="839"/>
                    </a:lnTo>
                    <a:lnTo>
                      <a:pt x="3237" y="847"/>
                    </a:lnTo>
                    <a:lnTo>
                      <a:pt x="3247" y="853"/>
                    </a:lnTo>
                    <a:lnTo>
                      <a:pt x="3258" y="860"/>
                    </a:lnTo>
                    <a:lnTo>
                      <a:pt x="3269" y="865"/>
                    </a:lnTo>
                    <a:lnTo>
                      <a:pt x="3280" y="871"/>
                    </a:lnTo>
                    <a:lnTo>
                      <a:pt x="3292" y="874"/>
                    </a:lnTo>
                    <a:lnTo>
                      <a:pt x="3305" y="878"/>
                    </a:lnTo>
                    <a:lnTo>
                      <a:pt x="3318" y="880"/>
                    </a:lnTo>
                    <a:lnTo>
                      <a:pt x="3333" y="883"/>
                    </a:lnTo>
                    <a:lnTo>
                      <a:pt x="3347" y="884"/>
                    </a:lnTo>
                    <a:lnTo>
                      <a:pt x="3361" y="885"/>
                    </a:lnTo>
                    <a:lnTo>
                      <a:pt x="3378" y="884"/>
                    </a:lnTo>
                    <a:lnTo>
                      <a:pt x="3394" y="883"/>
                    </a:lnTo>
                    <a:lnTo>
                      <a:pt x="3410" y="882"/>
                    </a:lnTo>
                    <a:lnTo>
                      <a:pt x="3426" y="879"/>
                    </a:lnTo>
                    <a:lnTo>
                      <a:pt x="3457" y="874"/>
                    </a:lnTo>
                    <a:lnTo>
                      <a:pt x="3490" y="866"/>
                    </a:lnTo>
                    <a:lnTo>
                      <a:pt x="3490" y="943"/>
                    </a:lnTo>
                    <a:lnTo>
                      <a:pt x="3471" y="948"/>
                    </a:lnTo>
                    <a:lnTo>
                      <a:pt x="3453" y="952"/>
                    </a:lnTo>
                    <a:lnTo>
                      <a:pt x="3435" y="955"/>
                    </a:lnTo>
                    <a:lnTo>
                      <a:pt x="3416" y="959"/>
                    </a:lnTo>
                    <a:lnTo>
                      <a:pt x="3398" y="960"/>
                    </a:lnTo>
                    <a:lnTo>
                      <a:pt x="3378" y="962"/>
                    </a:lnTo>
                    <a:lnTo>
                      <a:pt x="3360" y="962"/>
                    </a:lnTo>
                    <a:lnTo>
                      <a:pt x="3340" y="962"/>
                    </a:lnTo>
                    <a:lnTo>
                      <a:pt x="3320" y="962"/>
                    </a:lnTo>
                    <a:lnTo>
                      <a:pt x="3300" y="961"/>
                    </a:lnTo>
                    <a:lnTo>
                      <a:pt x="3280" y="959"/>
                    </a:lnTo>
                    <a:lnTo>
                      <a:pt x="3262" y="955"/>
                    </a:lnTo>
                    <a:lnTo>
                      <a:pt x="3245" y="951"/>
                    </a:lnTo>
                    <a:lnTo>
                      <a:pt x="3227" y="947"/>
                    </a:lnTo>
                    <a:lnTo>
                      <a:pt x="3211" y="941"/>
                    </a:lnTo>
                    <a:lnTo>
                      <a:pt x="3196" y="935"/>
                    </a:lnTo>
                    <a:lnTo>
                      <a:pt x="3181" y="928"/>
                    </a:lnTo>
                    <a:lnTo>
                      <a:pt x="3167" y="921"/>
                    </a:lnTo>
                    <a:lnTo>
                      <a:pt x="3154" y="912"/>
                    </a:lnTo>
                    <a:lnTo>
                      <a:pt x="3142" y="903"/>
                    </a:lnTo>
                    <a:lnTo>
                      <a:pt x="3130" y="893"/>
                    </a:lnTo>
                    <a:lnTo>
                      <a:pt x="3118" y="883"/>
                    </a:lnTo>
                    <a:lnTo>
                      <a:pt x="3107" y="872"/>
                    </a:lnTo>
                    <a:lnTo>
                      <a:pt x="3097" y="860"/>
                    </a:lnTo>
                    <a:lnTo>
                      <a:pt x="3088" y="848"/>
                    </a:lnTo>
                    <a:lnTo>
                      <a:pt x="3080" y="835"/>
                    </a:lnTo>
                    <a:lnTo>
                      <a:pt x="3072" y="821"/>
                    </a:lnTo>
                    <a:lnTo>
                      <a:pt x="3065" y="807"/>
                    </a:lnTo>
                    <a:lnTo>
                      <a:pt x="3058" y="793"/>
                    </a:lnTo>
                    <a:lnTo>
                      <a:pt x="3052" y="777"/>
                    </a:lnTo>
                    <a:lnTo>
                      <a:pt x="3046" y="762"/>
                    </a:lnTo>
                    <a:lnTo>
                      <a:pt x="3042" y="746"/>
                    </a:lnTo>
                    <a:lnTo>
                      <a:pt x="3037" y="728"/>
                    </a:lnTo>
                    <a:lnTo>
                      <a:pt x="3033" y="711"/>
                    </a:lnTo>
                    <a:lnTo>
                      <a:pt x="3030" y="694"/>
                    </a:lnTo>
                    <a:lnTo>
                      <a:pt x="3028" y="676"/>
                    </a:lnTo>
                    <a:lnTo>
                      <a:pt x="3025" y="658"/>
                    </a:lnTo>
                    <a:lnTo>
                      <a:pt x="3024" y="638"/>
                    </a:lnTo>
                    <a:lnTo>
                      <a:pt x="3023" y="620"/>
                    </a:lnTo>
                    <a:lnTo>
                      <a:pt x="3023" y="600"/>
                    </a:lnTo>
                    <a:lnTo>
                      <a:pt x="3024" y="569"/>
                    </a:lnTo>
                    <a:lnTo>
                      <a:pt x="3027" y="537"/>
                    </a:lnTo>
                    <a:lnTo>
                      <a:pt x="3031" y="508"/>
                    </a:lnTo>
                    <a:lnTo>
                      <a:pt x="3036" y="479"/>
                    </a:lnTo>
                    <a:lnTo>
                      <a:pt x="3040" y="465"/>
                    </a:lnTo>
                    <a:lnTo>
                      <a:pt x="3044" y="450"/>
                    </a:lnTo>
                    <a:lnTo>
                      <a:pt x="3048" y="437"/>
                    </a:lnTo>
                    <a:lnTo>
                      <a:pt x="3054" y="424"/>
                    </a:lnTo>
                    <a:lnTo>
                      <a:pt x="3059" y="412"/>
                    </a:lnTo>
                    <a:lnTo>
                      <a:pt x="3065" y="399"/>
                    </a:lnTo>
                    <a:lnTo>
                      <a:pt x="3072" y="389"/>
                    </a:lnTo>
                    <a:lnTo>
                      <a:pt x="3079" y="377"/>
                    </a:lnTo>
                    <a:lnTo>
                      <a:pt x="3086" y="366"/>
                    </a:lnTo>
                    <a:lnTo>
                      <a:pt x="3095" y="356"/>
                    </a:lnTo>
                    <a:lnTo>
                      <a:pt x="3104" y="346"/>
                    </a:lnTo>
                    <a:lnTo>
                      <a:pt x="3113" y="338"/>
                    </a:lnTo>
                    <a:lnTo>
                      <a:pt x="3123" y="329"/>
                    </a:lnTo>
                    <a:lnTo>
                      <a:pt x="3134" y="321"/>
                    </a:lnTo>
                    <a:lnTo>
                      <a:pt x="3145" y="314"/>
                    </a:lnTo>
                    <a:lnTo>
                      <a:pt x="3157" y="307"/>
                    </a:lnTo>
                    <a:lnTo>
                      <a:pt x="3170" y="302"/>
                    </a:lnTo>
                    <a:lnTo>
                      <a:pt x="3183" y="296"/>
                    </a:lnTo>
                    <a:lnTo>
                      <a:pt x="3197" y="292"/>
                    </a:lnTo>
                    <a:lnTo>
                      <a:pt x="3212" y="288"/>
                    </a:lnTo>
                    <a:lnTo>
                      <a:pt x="3227" y="285"/>
                    </a:lnTo>
                    <a:lnTo>
                      <a:pt x="3244" y="283"/>
                    </a:lnTo>
                    <a:lnTo>
                      <a:pt x="3260" y="282"/>
                    </a:lnTo>
                    <a:lnTo>
                      <a:pt x="3277" y="281"/>
                    </a:lnTo>
                    <a:lnTo>
                      <a:pt x="3291" y="281"/>
                    </a:lnTo>
                    <a:lnTo>
                      <a:pt x="3305" y="282"/>
                    </a:lnTo>
                    <a:lnTo>
                      <a:pt x="3318" y="284"/>
                    </a:lnTo>
                    <a:lnTo>
                      <a:pt x="3330" y="285"/>
                    </a:lnTo>
                    <a:lnTo>
                      <a:pt x="3343" y="289"/>
                    </a:lnTo>
                    <a:lnTo>
                      <a:pt x="3355" y="292"/>
                    </a:lnTo>
                    <a:lnTo>
                      <a:pt x="3366" y="295"/>
                    </a:lnTo>
                    <a:lnTo>
                      <a:pt x="3377" y="300"/>
                    </a:lnTo>
                    <a:lnTo>
                      <a:pt x="3388" y="305"/>
                    </a:lnTo>
                    <a:lnTo>
                      <a:pt x="3398" y="309"/>
                    </a:lnTo>
                    <a:lnTo>
                      <a:pt x="3407" y="316"/>
                    </a:lnTo>
                    <a:lnTo>
                      <a:pt x="3416" y="321"/>
                    </a:lnTo>
                    <a:lnTo>
                      <a:pt x="3425" y="329"/>
                    </a:lnTo>
                    <a:lnTo>
                      <a:pt x="3432" y="335"/>
                    </a:lnTo>
                    <a:lnTo>
                      <a:pt x="3441" y="343"/>
                    </a:lnTo>
                    <a:lnTo>
                      <a:pt x="3448" y="352"/>
                    </a:lnTo>
                    <a:lnTo>
                      <a:pt x="3455" y="359"/>
                    </a:lnTo>
                    <a:lnTo>
                      <a:pt x="3462" y="368"/>
                    </a:lnTo>
                    <a:lnTo>
                      <a:pt x="3467" y="378"/>
                    </a:lnTo>
                    <a:lnTo>
                      <a:pt x="3473" y="388"/>
                    </a:lnTo>
                    <a:lnTo>
                      <a:pt x="3482" y="408"/>
                    </a:lnTo>
                    <a:lnTo>
                      <a:pt x="3490" y="430"/>
                    </a:lnTo>
                    <a:lnTo>
                      <a:pt x="3496" y="453"/>
                    </a:lnTo>
                    <a:lnTo>
                      <a:pt x="3501" y="477"/>
                    </a:lnTo>
                    <a:lnTo>
                      <a:pt x="3504" y="503"/>
                    </a:lnTo>
                    <a:lnTo>
                      <a:pt x="3504" y="529"/>
                    </a:lnTo>
                    <a:lnTo>
                      <a:pt x="3504" y="560"/>
                    </a:lnTo>
                    <a:lnTo>
                      <a:pt x="3130" y="560"/>
                    </a:lnTo>
                    <a:close/>
                    <a:moveTo>
                      <a:pt x="2706" y="359"/>
                    </a:moveTo>
                    <a:lnTo>
                      <a:pt x="2696" y="360"/>
                    </a:lnTo>
                    <a:lnTo>
                      <a:pt x="2686" y="361"/>
                    </a:lnTo>
                    <a:lnTo>
                      <a:pt x="2675" y="364"/>
                    </a:lnTo>
                    <a:lnTo>
                      <a:pt x="2666" y="367"/>
                    </a:lnTo>
                    <a:lnTo>
                      <a:pt x="2658" y="371"/>
                    </a:lnTo>
                    <a:lnTo>
                      <a:pt x="2649" y="376"/>
                    </a:lnTo>
                    <a:lnTo>
                      <a:pt x="2640" y="381"/>
                    </a:lnTo>
                    <a:lnTo>
                      <a:pt x="2633" y="388"/>
                    </a:lnTo>
                    <a:lnTo>
                      <a:pt x="2626" y="394"/>
                    </a:lnTo>
                    <a:lnTo>
                      <a:pt x="2619" y="402"/>
                    </a:lnTo>
                    <a:lnTo>
                      <a:pt x="2612" y="409"/>
                    </a:lnTo>
                    <a:lnTo>
                      <a:pt x="2607" y="418"/>
                    </a:lnTo>
                    <a:lnTo>
                      <a:pt x="2596" y="435"/>
                    </a:lnTo>
                    <a:lnTo>
                      <a:pt x="2586" y="455"/>
                    </a:lnTo>
                    <a:lnTo>
                      <a:pt x="2577" y="475"/>
                    </a:lnTo>
                    <a:lnTo>
                      <a:pt x="2571" y="497"/>
                    </a:lnTo>
                    <a:lnTo>
                      <a:pt x="2565" y="519"/>
                    </a:lnTo>
                    <a:lnTo>
                      <a:pt x="2561" y="541"/>
                    </a:lnTo>
                    <a:lnTo>
                      <a:pt x="2558" y="561"/>
                    </a:lnTo>
                    <a:lnTo>
                      <a:pt x="2556" y="582"/>
                    </a:lnTo>
                    <a:lnTo>
                      <a:pt x="2553" y="601"/>
                    </a:lnTo>
                    <a:lnTo>
                      <a:pt x="2553" y="619"/>
                    </a:lnTo>
                    <a:lnTo>
                      <a:pt x="2553" y="637"/>
                    </a:lnTo>
                    <a:lnTo>
                      <a:pt x="2555" y="657"/>
                    </a:lnTo>
                    <a:lnTo>
                      <a:pt x="2557" y="677"/>
                    </a:lnTo>
                    <a:lnTo>
                      <a:pt x="2560" y="699"/>
                    </a:lnTo>
                    <a:lnTo>
                      <a:pt x="2563" y="721"/>
                    </a:lnTo>
                    <a:lnTo>
                      <a:pt x="2569" y="744"/>
                    </a:lnTo>
                    <a:lnTo>
                      <a:pt x="2575" y="765"/>
                    </a:lnTo>
                    <a:lnTo>
                      <a:pt x="2583" y="786"/>
                    </a:lnTo>
                    <a:lnTo>
                      <a:pt x="2591" y="806"/>
                    </a:lnTo>
                    <a:lnTo>
                      <a:pt x="2602" y="825"/>
                    </a:lnTo>
                    <a:lnTo>
                      <a:pt x="2608" y="833"/>
                    </a:lnTo>
                    <a:lnTo>
                      <a:pt x="2614" y="841"/>
                    </a:lnTo>
                    <a:lnTo>
                      <a:pt x="2621" y="849"/>
                    </a:lnTo>
                    <a:lnTo>
                      <a:pt x="2628" y="855"/>
                    </a:lnTo>
                    <a:lnTo>
                      <a:pt x="2636" y="862"/>
                    </a:lnTo>
                    <a:lnTo>
                      <a:pt x="2645" y="867"/>
                    </a:lnTo>
                    <a:lnTo>
                      <a:pt x="2653" y="873"/>
                    </a:lnTo>
                    <a:lnTo>
                      <a:pt x="2662" y="877"/>
                    </a:lnTo>
                    <a:lnTo>
                      <a:pt x="2672" y="880"/>
                    </a:lnTo>
                    <a:lnTo>
                      <a:pt x="2682" y="883"/>
                    </a:lnTo>
                    <a:lnTo>
                      <a:pt x="2692" y="884"/>
                    </a:lnTo>
                    <a:lnTo>
                      <a:pt x="2704" y="885"/>
                    </a:lnTo>
                    <a:lnTo>
                      <a:pt x="2715" y="884"/>
                    </a:lnTo>
                    <a:lnTo>
                      <a:pt x="2726" y="883"/>
                    </a:lnTo>
                    <a:lnTo>
                      <a:pt x="2737" y="879"/>
                    </a:lnTo>
                    <a:lnTo>
                      <a:pt x="2747" y="876"/>
                    </a:lnTo>
                    <a:lnTo>
                      <a:pt x="2755" y="871"/>
                    </a:lnTo>
                    <a:lnTo>
                      <a:pt x="2764" y="865"/>
                    </a:lnTo>
                    <a:lnTo>
                      <a:pt x="2772" y="860"/>
                    </a:lnTo>
                    <a:lnTo>
                      <a:pt x="2779" y="852"/>
                    </a:lnTo>
                    <a:lnTo>
                      <a:pt x="2786" y="845"/>
                    </a:lnTo>
                    <a:lnTo>
                      <a:pt x="2792" y="836"/>
                    </a:lnTo>
                    <a:lnTo>
                      <a:pt x="2798" y="827"/>
                    </a:lnTo>
                    <a:lnTo>
                      <a:pt x="2803" y="817"/>
                    </a:lnTo>
                    <a:lnTo>
                      <a:pt x="2813" y="797"/>
                    </a:lnTo>
                    <a:lnTo>
                      <a:pt x="2820" y="775"/>
                    </a:lnTo>
                    <a:lnTo>
                      <a:pt x="2827" y="752"/>
                    </a:lnTo>
                    <a:lnTo>
                      <a:pt x="2831" y="728"/>
                    </a:lnTo>
                    <a:lnTo>
                      <a:pt x="2836" y="705"/>
                    </a:lnTo>
                    <a:lnTo>
                      <a:pt x="2838" y="682"/>
                    </a:lnTo>
                    <a:lnTo>
                      <a:pt x="2841" y="637"/>
                    </a:lnTo>
                    <a:lnTo>
                      <a:pt x="2842" y="598"/>
                    </a:lnTo>
                    <a:lnTo>
                      <a:pt x="2841" y="581"/>
                    </a:lnTo>
                    <a:lnTo>
                      <a:pt x="2841" y="562"/>
                    </a:lnTo>
                    <a:lnTo>
                      <a:pt x="2840" y="543"/>
                    </a:lnTo>
                    <a:lnTo>
                      <a:pt x="2838" y="523"/>
                    </a:lnTo>
                    <a:lnTo>
                      <a:pt x="2835" y="503"/>
                    </a:lnTo>
                    <a:lnTo>
                      <a:pt x="2830" y="483"/>
                    </a:lnTo>
                    <a:lnTo>
                      <a:pt x="2825" y="464"/>
                    </a:lnTo>
                    <a:lnTo>
                      <a:pt x="2818" y="445"/>
                    </a:lnTo>
                    <a:lnTo>
                      <a:pt x="2811" y="428"/>
                    </a:lnTo>
                    <a:lnTo>
                      <a:pt x="2802" y="411"/>
                    </a:lnTo>
                    <a:lnTo>
                      <a:pt x="2797" y="404"/>
                    </a:lnTo>
                    <a:lnTo>
                      <a:pt x="2790" y="396"/>
                    </a:lnTo>
                    <a:lnTo>
                      <a:pt x="2785" y="390"/>
                    </a:lnTo>
                    <a:lnTo>
                      <a:pt x="2778" y="384"/>
                    </a:lnTo>
                    <a:lnTo>
                      <a:pt x="2771" y="379"/>
                    </a:lnTo>
                    <a:lnTo>
                      <a:pt x="2763" y="373"/>
                    </a:lnTo>
                    <a:lnTo>
                      <a:pt x="2755" y="369"/>
                    </a:lnTo>
                    <a:lnTo>
                      <a:pt x="2747" y="366"/>
                    </a:lnTo>
                    <a:lnTo>
                      <a:pt x="2737" y="364"/>
                    </a:lnTo>
                    <a:lnTo>
                      <a:pt x="2727" y="361"/>
                    </a:lnTo>
                    <a:lnTo>
                      <a:pt x="2717" y="359"/>
                    </a:lnTo>
                    <a:lnTo>
                      <a:pt x="2706" y="359"/>
                    </a:lnTo>
                    <a:close/>
                    <a:moveTo>
                      <a:pt x="2727" y="962"/>
                    </a:moveTo>
                    <a:lnTo>
                      <a:pt x="2712" y="962"/>
                    </a:lnTo>
                    <a:lnTo>
                      <a:pt x="2697" y="961"/>
                    </a:lnTo>
                    <a:lnTo>
                      <a:pt x="2683" y="958"/>
                    </a:lnTo>
                    <a:lnTo>
                      <a:pt x="2669" y="954"/>
                    </a:lnTo>
                    <a:lnTo>
                      <a:pt x="2655" y="950"/>
                    </a:lnTo>
                    <a:lnTo>
                      <a:pt x="2642" y="945"/>
                    </a:lnTo>
                    <a:lnTo>
                      <a:pt x="2631" y="938"/>
                    </a:lnTo>
                    <a:lnTo>
                      <a:pt x="2620" y="931"/>
                    </a:lnTo>
                    <a:lnTo>
                      <a:pt x="2609" y="923"/>
                    </a:lnTo>
                    <a:lnTo>
                      <a:pt x="2599" y="914"/>
                    </a:lnTo>
                    <a:lnTo>
                      <a:pt x="2590" y="904"/>
                    </a:lnTo>
                    <a:lnTo>
                      <a:pt x="2582" y="893"/>
                    </a:lnTo>
                    <a:lnTo>
                      <a:pt x="2574" y="882"/>
                    </a:lnTo>
                    <a:lnTo>
                      <a:pt x="2568" y="869"/>
                    </a:lnTo>
                    <a:lnTo>
                      <a:pt x="2561" y="855"/>
                    </a:lnTo>
                    <a:lnTo>
                      <a:pt x="2556" y="840"/>
                    </a:lnTo>
                    <a:lnTo>
                      <a:pt x="2553" y="840"/>
                    </a:lnTo>
                    <a:lnTo>
                      <a:pt x="2553" y="1240"/>
                    </a:lnTo>
                    <a:lnTo>
                      <a:pt x="2460" y="1240"/>
                    </a:lnTo>
                    <a:lnTo>
                      <a:pt x="2460" y="296"/>
                    </a:lnTo>
                    <a:lnTo>
                      <a:pt x="2553" y="296"/>
                    </a:lnTo>
                    <a:lnTo>
                      <a:pt x="2553" y="407"/>
                    </a:lnTo>
                    <a:lnTo>
                      <a:pt x="2556" y="407"/>
                    </a:lnTo>
                    <a:lnTo>
                      <a:pt x="2561" y="393"/>
                    </a:lnTo>
                    <a:lnTo>
                      <a:pt x="2567" y="380"/>
                    </a:lnTo>
                    <a:lnTo>
                      <a:pt x="2573" y="368"/>
                    </a:lnTo>
                    <a:lnTo>
                      <a:pt x="2581" y="356"/>
                    </a:lnTo>
                    <a:lnTo>
                      <a:pt x="2589" y="345"/>
                    </a:lnTo>
                    <a:lnTo>
                      <a:pt x="2599" y="334"/>
                    </a:lnTo>
                    <a:lnTo>
                      <a:pt x="2609" y="325"/>
                    </a:lnTo>
                    <a:lnTo>
                      <a:pt x="2620" y="316"/>
                    </a:lnTo>
                    <a:lnTo>
                      <a:pt x="2632" y="308"/>
                    </a:lnTo>
                    <a:lnTo>
                      <a:pt x="2644" y="302"/>
                    </a:lnTo>
                    <a:lnTo>
                      <a:pt x="2657" y="295"/>
                    </a:lnTo>
                    <a:lnTo>
                      <a:pt x="2670" y="291"/>
                    </a:lnTo>
                    <a:lnTo>
                      <a:pt x="2683" y="287"/>
                    </a:lnTo>
                    <a:lnTo>
                      <a:pt x="2697" y="283"/>
                    </a:lnTo>
                    <a:lnTo>
                      <a:pt x="2711" y="282"/>
                    </a:lnTo>
                    <a:lnTo>
                      <a:pt x="2726" y="281"/>
                    </a:lnTo>
                    <a:lnTo>
                      <a:pt x="2742" y="282"/>
                    </a:lnTo>
                    <a:lnTo>
                      <a:pt x="2759" y="283"/>
                    </a:lnTo>
                    <a:lnTo>
                      <a:pt x="2775" y="285"/>
                    </a:lnTo>
                    <a:lnTo>
                      <a:pt x="2789" y="290"/>
                    </a:lnTo>
                    <a:lnTo>
                      <a:pt x="2803" y="294"/>
                    </a:lnTo>
                    <a:lnTo>
                      <a:pt x="2816" y="300"/>
                    </a:lnTo>
                    <a:lnTo>
                      <a:pt x="2828" y="305"/>
                    </a:lnTo>
                    <a:lnTo>
                      <a:pt x="2840" y="313"/>
                    </a:lnTo>
                    <a:lnTo>
                      <a:pt x="2850" y="320"/>
                    </a:lnTo>
                    <a:lnTo>
                      <a:pt x="2861" y="329"/>
                    </a:lnTo>
                    <a:lnTo>
                      <a:pt x="2869" y="338"/>
                    </a:lnTo>
                    <a:lnTo>
                      <a:pt x="2878" y="347"/>
                    </a:lnTo>
                    <a:lnTo>
                      <a:pt x="2887" y="357"/>
                    </a:lnTo>
                    <a:lnTo>
                      <a:pt x="2894" y="369"/>
                    </a:lnTo>
                    <a:lnTo>
                      <a:pt x="2901" y="380"/>
                    </a:lnTo>
                    <a:lnTo>
                      <a:pt x="2907" y="392"/>
                    </a:lnTo>
                    <a:lnTo>
                      <a:pt x="2913" y="404"/>
                    </a:lnTo>
                    <a:lnTo>
                      <a:pt x="2918" y="417"/>
                    </a:lnTo>
                    <a:lnTo>
                      <a:pt x="2924" y="430"/>
                    </a:lnTo>
                    <a:lnTo>
                      <a:pt x="2927" y="444"/>
                    </a:lnTo>
                    <a:lnTo>
                      <a:pt x="2934" y="471"/>
                    </a:lnTo>
                    <a:lnTo>
                      <a:pt x="2940" y="500"/>
                    </a:lnTo>
                    <a:lnTo>
                      <a:pt x="2944" y="529"/>
                    </a:lnTo>
                    <a:lnTo>
                      <a:pt x="2946" y="558"/>
                    </a:lnTo>
                    <a:lnTo>
                      <a:pt x="2947" y="587"/>
                    </a:lnTo>
                    <a:lnTo>
                      <a:pt x="2948" y="617"/>
                    </a:lnTo>
                    <a:lnTo>
                      <a:pt x="2947" y="644"/>
                    </a:lnTo>
                    <a:lnTo>
                      <a:pt x="2946" y="672"/>
                    </a:lnTo>
                    <a:lnTo>
                      <a:pt x="2943" y="700"/>
                    </a:lnTo>
                    <a:lnTo>
                      <a:pt x="2939" y="730"/>
                    </a:lnTo>
                    <a:lnTo>
                      <a:pt x="2933" y="759"/>
                    </a:lnTo>
                    <a:lnTo>
                      <a:pt x="2926" y="788"/>
                    </a:lnTo>
                    <a:lnTo>
                      <a:pt x="2920" y="801"/>
                    </a:lnTo>
                    <a:lnTo>
                      <a:pt x="2916" y="815"/>
                    </a:lnTo>
                    <a:lnTo>
                      <a:pt x="2910" y="829"/>
                    </a:lnTo>
                    <a:lnTo>
                      <a:pt x="2904" y="842"/>
                    </a:lnTo>
                    <a:lnTo>
                      <a:pt x="2897" y="854"/>
                    </a:lnTo>
                    <a:lnTo>
                      <a:pt x="2891" y="867"/>
                    </a:lnTo>
                    <a:lnTo>
                      <a:pt x="2883" y="878"/>
                    </a:lnTo>
                    <a:lnTo>
                      <a:pt x="2875" y="890"/>
                    </a:lnTo>
                    <a:lnTo>
                      <a:pt x="2866" y="900"/>
                    </a:lnTo>
                    <a:lnTo>
                      <a:pt x="2857" y="911"/>
                    </a:lnTo>
                    <a:lnTo>
                      <a:pt x="2848" y="920"/>
                    </a:lnTo>
                    <a:lnTo>
                      <a:pt x="2837" y="928"/>
                    </a:lnTo>
                    <a:lnTo>
                      <a:pt x="2825" y="936"/>
                    </a:lnTo>
                    <a:lnTo>
                      <a:pt x="2814" y="942"/>
                    </a:lnTo>
                    <a:lnTo>
                      <a:pt x="2801" y="948"/>
                    </a:lnTo>
                    <a:lnTo>
                      <a:pt x="2788" y="953"/>
                    </a:lnTo>
                    <a:lnTo>
                      <a:pt x="2774" y="958"/>
                    </a:lnTo>
                    <a:lnTo>
                      <a:pt x="2759" y="960"/>
                    </a:lnTo>
                    <a:lnTo>
                      <a:pt x="2743" y="962"/>
                    </a:lnTo>
                    <a:lnTo>
                      <a:pt x="2727" y="962"/>
                    </a:lnTo>
                    <a:close/>
                    <a:moveTo>
                      <a:pt x="1959" y="947"/>
                    </a:moveTo>
                    <a:lnTo>
                      <a:pt x="1959" y="586"/>
                    </a:lnTo>
                    <a:lnTo>
                      <a:pt x="1959" y="556"/>
                    </a:lnTo>
                    <a:lnTo>
                      <a:pt x="1959" y="522"/>
                    </a:lnTo>
                    <a:lnTo>
                      <a:pt x="1958" y="505"/>
                    </a:lnTo>
                    <a:lnTo>
                      <a:pt x="1957" y="486"/>
                    </a:lnTo>
                    <a:lnTo>
                      <a:pt x="1955" y="469"/>
                    </a:lnTo>
                    <a:lnTo>
                      <a:pt x="1950" y="453"/>
                    </a:lnTo>
                    <a:lnTo>
                      <a:pt x="1946" y="436"/>
                    </a:lnTo>
                    <a:lnTo>
                      <a:pt x="1940" y="422"/>
                    </a:lnTo>
                    <a:lnTo>
                      <a:pt x="1936" y="415"/>
                    </a:lnTo>
                    <a:lnTo>
                      <a:pt x="1933" y="408"/>
                    </a:lnTo>
                    <a:lnTo>
                      <a:pt x="1927" y="403"/>
                    </a:lnTo>
                    <a:lnTo>
                      <a:pt x="1923" y="397"/>
                    </a:lnTo>
                    <a:lnTo>
                      <a:pt x="1918" y="392"/>
                    </a:lnTo>
                    <a:lnTo>
                      <a:pt x="1911" y="388"/>
                    </a:lnTo>
                    <a:lnTo>
                      <a:pt x="1905" y="383"/>
                    </a:lnTo>
                    <a:lnTo>
                      <a:pt x="1898" y="380"/>
                    </a:lnTo>
                    <a:lnTo>
                      <a:pt x="1889" y="378"/>
                    </a:lnTo>
                    <a:lnTo>
                      <a:pt x="1882" y="376"/>
                    </a:lnTo>
                    <a:lnTo>
                      <a:pt x="1873" y="374"/>
                    </a:lnTo>
                    <a:lnTo>
                      <a:pt x="1863" y="374"/>
                    </a:lnTo>
                    <a:lnTo>
                      <a:pt x="1851" y="374"/>
                    </a:lnTo>
                    <a:lnTo>
                      <a:pt x="1840" y="377"/>
                    </a:lnTo>
                    <a:lnTo>
                      <a:pt x="1829" y="379"/>
                    </a:lnTo>
                    <a:lnTo>
                      <a:pt x="1818" y="383"/>
                    </a:lnTo>
                    <a:lnTo>
                      <a:pt x="1808" y="388"/>
                    </a:lnTo>
                    <a:lnTo>
                      <a:pt x="1797" y="394"/>
                    </a:lnTo>
                    <a:lnTo>
                      <a:pt x="1789" y="401"/>
                    </a:lnTo>
                    <a:lnTo>
                      <a:pt x="1780" y="407"/>
                    </a:lnTo>
                    <a:lnTo>
                      <a:pt x="1771" y="416"/>
                    </a:lnTo>
                    <a:lnTo>
                      <a:pt x="1762" y="424"/>
                    </a:lnTo>
                    <a:lnTo>
                      <a:pt x="1755" y="434"/>
                    </a:lnTo>
                    <a:lnTo>
                      <a:pt x="1747" y="444"/>
                    </a:lnTo>
                    <a:lnTo>
                      <a:pt x="1741" y="454"/>
                    </a:lnTo>
                    <a:lnTo>
                      <a:pt x="1734" y="466"/>
                    </a:lnTo>
                    <a:lnTo>
                      <a:pt x="1728" y="477"/>
                    </a:lnTo>
                    <a:lnTo>
                      <a:pt x="1722" y="488"/>
                    </a:lnTo>
                    <a:lnTo>
                      <a:pt x="1711" y="512"/>
                    </a:lnTo>
                    <a:lnTo>
                      <a:pt x="1703" y="537"/>
                    </a:lnTo>
                    <a:lnTo>
                      <a:pt x="1695" y="563"/>
                    </a:lnTo>
                    <a:lnTo>
                      <a:pt x="1689" y="588"/>
                    </a:lnTo>
                    <a:lnTo>
                      <a:pt x="1684" y="613"/>
                    </a:lnTo>
                    <a:lnTo>
                      <a:pt x="1681" y="636"/>
                    </a:lnTo>
                    <a:lnTo>
                      <a:pt x="1679" y="659"/>
                    </a:lnTo>
                    <a:lnTo>
                      <a:pt x="1679" y="680"/>
                    </a:lnTo>
                    <a:lnTo>
                      <a:pt x="1679" y="947"/>
                    </a:lnTo>
                    <a:lnTo>
                      <a:pt x="1586" y="947"/>
                    </a:lnTo>
                    <a:lnTo>
                      <a:pt x="1586" y="4"/>
                    </a:lnTo>
                    <a:lnTo>
                      <a:pt x="1679" y="4"/>
                    </a:lnTo>
                    <a:lnTo>
                      <a:pt x="1679" y="447"/>
                    </a:lnTo>
                    <a:lnTo>
                      <a:pt x="1681" y="447"/>
                    </a:lnTo>
                    <a:lnTo>
                      <a:pt x="1688" y="429"/>
                    </a:lnTo>
                    <a:lnTo>
                      <a:pt x="1695" y="411"/>
                    </a:lnTo>
                    <a:lnTo>
                      <a:pt x="1703" y="394"/>
                    </a:lnTo>
                    <a:lnTo>
                      <a:pt x="1710" y="379"/>
                    </a:lnTo>
                    <a:lnTo>
                      <a:pt x="1720" y="364"/>
                    </a:lnTo>
                    <a:lnTo>
                      <a:pt x="1730" y="351"/>
                    </a:lnTo>
                    <a:lnTo>
                      <a:pt x="1741" y="338"/>
                    </a:lnTo>
                    <a:lnTo>
                      <a:pt x="1753" y="327"/>
                    </a:lnTo>
                    <a:lnTo>
                      <a:pt x="1766" y="316"/>
                    </a:lnTo>
                    <a:lnTo>
                      <a:pt x="1779" y="307"/>
                    </a:lnTo>
                    <a:lnTo>
                      <a:pt x="1794" y="300"/>
                    </a:lnTo>
                    <a:lnTo>
                      <a:pt x="1810" y="293"/>
                    </a:lnTo>
                    <a:lnTo>
                      <a:pt x="1827" y="288"/>
                    </a:lnTo>
                    <a:lnTo>
                      <a:pt x="1845" y="284"/>
                    </a:lnTo>
                    <a:lnTo>
                      <a:pt x="1864" y="282"/>
                    </a:lnTo>
                    <a:lnTo>
                      <a:pt x="1885" y="281"/>
                    </a:lnTo>
                    <a:lnTo>
                      <a:pt x="1896" y="281"/>
                    </a:lnTo>
                    <a:lnTo>
                      <a:pt x="1906" y="282"/>
                    </a:lnTo>
                    <a:lnTo>
                      <a:pt x="1915" y="283"/>
                    </a:lnTo>
                    <a:lnTo>
                      <a:pt x="1925" y="285"/>
                    </a:lnTo>
                    <a:lnTo>
                      <a:pt x="1934" y="288"/>
                    </a:lnTo>
                    <a:lnTo>
                      <a:pt x="1943" y="291"/>
                    </a:lnTo>
                    <a:lnTo>
                      <a:pt x="1951" y="294"/>
                    </a:lnTo>
                    <a:lnTo>
                      <a:pt x="1959" y="298"/>
                    </a:lnTo>
                    <a:lnTo>
                      <a:pt x="1974" y="307"/>
                    </a:lnTo>
                    <a:lnTo>
                      <a:pt x="1988" y="318"/>
                    </a:lnTo>
                    <a:lnTo>
                      <a:pt x="2000" y="330"/>
                    </a:lnTo>
                    <a:lnTo>
                      <a:pt x="2011" y="343"/>
                    </a:lnTo>
                    <a:lnTo>
                      <a:pt x="2021" y="358"/>
                    </a:lnTo>
                    <a:lnTo>
                      <a:pt x="2029" y="373"/>
                    </a:lnTo>
                    <a:lnTo>
                      <a:pt x="2036" y="391"/>
                    </a:lnTo>
                    <a:lnTo>
                      <a:pt x="2041" y="408"/>
                    </a:lnTo>
                    <a:lnTo>
                      <a:pt x="2046" y="426"/>
                    </a:lnTo>
                    <a:lnTo>
                      <a:pt x="2049" y="444"/>
                    </a:lnTo>
                    <a:lnTo>
                      <a:pt x="2051" y="464"/>
                    </a:lnTo>
                    <a:lnTo>
                      <a:pt x="2051" y="482"/>
                    </a:lnTo>
                    <a:lnTo>
                      <a:pt x="2051" y="947"/>
                    </a:lnTo>
                    <a:lnTo>
                      <a:pt x="1959" y="947"/>
                    </a:lnTo>
                    <a:close/>
                    <a:moveTo>
                      <a:pt x="1200" y="359"/>
                    </a:moveTo>
                    <a:lnTo>
                      <a:pt x="1190" y="360"/>
                    </a:lnTo>
                    <a:lnTo>
                      <a:pt x="1180" y="361"/>
                    </a:lnTo>
                    <a:lnTo>
                      <a:pt x="1170" y="364"/>
                    </a:lnTo>
                    <a:lnTo>
                      <a:pt x="1160" y="367"/>
                    </a:lnTo>
                    <a:lnTo>
                      <a:pt x="1152" y="371"/>
                    </a:lnTo>
                    <a:lnTo>
                      <a:pt x="1144" y="377"/>
                    </a:lnTo>
                    <a:lnTo>
                      <a:pt x="1136" y="383"/>
                    </a:lnTo>
                    <a:lnTo>
                      <a:pt x="1129" y="390"/>
                    </a:lnTo>
                    <a:lnTo>
                      <a:pt x="1122" y="396"/>
                    </a:lnTo>
                    <a:lnTo>
                      <a:pt x="1117" y="405"/>
                    </a:lnTo>
                    <a:lnTo>
                      <a:pt x="1110" y="412"/>
                    </a:lnTo>
                    <a:lnTo>
                      <a:pt x="1105" y="422"/>
                    </a:lnTo>
                    <a:lnTo>
                      <a:pt x="1096" y="441"/>
                    </a:lnTo>
                    <a:lnTo>
                      <a:pt x="1089" y="461"/>
                    </a:lnTo>
                    <a:lnTo>
                      <a:pt x="1082" y="483"/>
                    </a:lnTo>
                    <a:lnTo>
                      <a:pt x="1077" y="505"/>
                    </a:lnTo>
                    <a:lnTo>
                      <a:pt x="1072" y="528"/>
                    </a:lnTo>
                    <a:lnTo>
                      <a:pt x="1069" y="549"/>
                    </a:lnTo>
                    <a:lnTo>
                      <a:pt x="1067" y="571"/>
                    </a:lnTo>
                    <a:lnTo>
                      <a:pt x="1066" y="592"/>
                    </a:lnTo>
                    <a:lnTo>
                      <a:pt x="1066" y="610"/>
                    </a:lnTo>
                    <a:lnTo>
                      <a:pt x="1065" y="627"/>
                    </a:lnTo>
                    <a:lnTo>
                      <a:pt x="1066" y="644"/>
                    </a:lnTo>
                    <a:lnTo>
                      <a:pt x="1066" y="662"/>
                    </a:lnTo>
                    <a:lnTo>
                      <a:pt x="1067" y="682"/>
                    </a:lnTo>
                    <a:lnTo>
                      <a:pt x="1069" y="701"/>
                    </a:lnTo>
                    <a:lnTo>
                      <a:pt x="1072" y="722"/>
                    </a:lnTo>
                    <a:lnTo>
                      <a:pt x="1077" y="741"/>
                    </a:lnTo>
                    <a:lnTo>
                      <a:pt x="1081" y="761"/>
                    </a:lnTo>
                    <a:lnTo>
                      <a:pt x="1088" y="781"/>
                    </a:lnTo>
                    <a:lnTo>
                      <a:pt x="1095" y="799"/>
                    </a:lnTo>
                    <a:lnTo>
                      <a:pt x="1105" y="815"/>
                    </a:lnTo>
                    <a:lnTo>
                      <a:pt x="1110" y="823"/>
                    </a:lnTo>
                    <a:lnTo>
                      <a:pt x="1116" y="831"/>
                    </a:lnTo>
                    <a:lnTo>
                      <a:pt x="1121" y="837"/>
                    </a:lnTo>
                    <a:lnTo>
                      <a:pt x="1128" y="844"/>
                    </a:lnTo>
                    <a:lnTo>
                      <a:pt x="1135" y="849"/>
                    </a:lnTo>
                    <a:lnTo>
                      <a:pt x="1143" y="854"/>
                    </a:lnTo>
                    <a:lnTo>
                      <a:pt x="1151" y="859"/>
                    </a:lnTo>
                    <a:lnTo>
                      <a:pt x="1159" y="862"/>
                    </a:lnTo>
                    <a:lnTo>
                      <a:pt x="1168" y="865"/>
                    </a:lnTo>
                    <a:lnTo>
                      <a:pt x="1178" y="867"/>
                    </a:lnTo>
                    <a:lnTo>
                      <a:pt x="1187" y="869"/>
                    </a:lnTo>
                    <a:lnTo>
                      <a:pt x="1198" y="870"/>
                    </a:lnTo>
                    <a:lnTo>
                      <a:pt x="1209" y="869"/>
                    </a:lnTo>
                    <a:lnTo>
                      <a:pt x="1219" y="867"/>
                    </a:lnTo>
                    <a:lnTo>
                      <a:pt x="1229" y="865"/>
                    </a:lnTo>
                    <a:lnTo>
                      <a:pt x="1238" y="862"/>
                    </a:lnTo>
                    <a:lnTo>
                      <a:pt x="1248" y="858"/>
                    </a:lnTo>
                    <a:lnTo>
                      <a:pt x="1256" y="853"/>
                    </a:lnTo>
                    <a:lnTo>
                      <a:pt x="1264" y="848"/>
                    </a:lnTo>
                    <a:lnTo>
                      <a:pt x="1272" y="841"/>
                    </a:lnTo>
                    <a:lnTo>
                      <a:pt x="1280" y="835"/>
                    </a:lnTo>
                    <a:lnTo>
                      <a:pt x="1286" y="827"/>
                    </a:lnTo>
                    <a:lnTo>
                      <a:pt x="1293" y="820"/>
                    </a:lnTo>
                    <a:lnTo>
                      <a:pt x="1299" y="812"/>
                    </a:lnTo>
                    <a:lnTo>
                      <a:pt x="1310" y="794"/>
                    </a:lnTo>
                    <a:lnTo>
                      <a:pt x="1320" y="774"/>
                    </a:lnTo>
                    <a:lnTo>
                      <a:pt x="1328" y="753"/>
                    </a:lnTo>
                    <a:lnTo>
                      <a:pt x="1336" y="733"/>
                    </a:lnTo>
                    <a:lnTo>
                      <a:pt x="1341" y="711"/>
                    </a:lnTo>
                    <a:lnTo>
                      <a:pt x="1346" y="689"/>
                    </a:lnTo>
                    <a:lnTo>
                      <a:pt x="1349" y="668"/>
                    </a:lnTo>
                    <a:lnTo>
                      <a:pt x="1351" y="647"/>
                    </a:lnTo>
                    <a:lnTo>
                      <a:pt x="1353" y="627"/>
                    </a:lnTo>
                    <a:lnTo>
                      <a:pt x="1353" y="609"/>
                    </a:lnTo>
                    <a:lnTo>
                      <a:pt x="1353" y="592"/>
                    </a:lnTo>
                    <a:lnTo>
                      <a:pt x="1351" y="573"/>
                    </a:lnTo>
                    <a:lnTo>
                      <a:pt x="1349" y="553"/>
                    </a:lnTo>
                    <a:lnTo>
                      <a:pt x="1346" y="532"/>
                    </a:lnTo>
                    <a:lnTo>
                      <a:pt x="1341" y="511"/>
                    </a:lnTo>
                    <a:lnTo>
                      <a:pt x="1336" y="491"/>
                    </a:lnTo>
                    <a:lnTo>
                      <a:pt x="1328" y="470"/>
                    </a:lnTo>
                    <a:lnTo>
                      <a:pt x="1321" y="450"/>
                    </a:lnTo>
                    <a:lnTo>
                      <a:pt x="1311" y="432"/>
                    </a:lnTo>
                    <a:lnTo>
                      <a:pt x="1300" y="415"/>
                    </a:lnTo>
                    <a:lnTo>
                      <a:pt x="1294" y="407"/>
                    </a:lnTo>
                    <a:lnTo>
                      <a:pt x="1287" y="399"/>
                    </a:lnTo>
                    <a:lnTo>
                      <a:pt x="1281" y="392"/>
                    </a:lnTo>
                    <a:lnTo>
                      <a:pt x="1273" y="385"/>
                    </a:lnTo>
                    <a:lnTo>
                      <a:pt x="1266" y="380"/>
                    </a:lnTo>
                    <a:lnTo>
                      <a:pt x="1258" y="374"/>
                    </a:lnTo>
                    <a:lnTo>
                      <a:pt x="1249" y="370"/>
                    </a:lnTo>
                    <a:lnTo>
                      <a:pt x="1241" y="367"/>
                    </a:lnTo>
                    <a:lnTo>
                      <a:pt x="1231" y="364"/>
                    </a:lnTo>
                    <a:lnTo>
                      <a:pt x="1221" y="361"/>
                    </a:lnTo>
                    <a:lnTo>
                      <a:pt x="1211" y="359"/>
                    </a:lnTo>
                    <a:lnTo>
                      <a:pt x="1200" y="359"/>
                    </a:lnTo>
                    <a:close/>
                    <a:moveTo>
                      <a:pt x="1170" y="1231"/>
                    </a:moveTo>
                    <a:lnTo>
                      <a:pt x="1147" y="1231"/>
                    </a:lnTo>
                    <a:lnTo>
                      <a:pt x="1124" y="1230"/>
                    </a:lnTo>
                    <a:lnTo>
                      <a:pt x="1103" y="1228"/>
                    </a:lnTo>
                    <a:lnTo>
                      <a:pt x="1081" y="1226"/>
                    </a:lnTo>
                    <a:lnTo>
                      <a:pt x="1059" y="1222"/>
                    </a:lnTo>
                    <a:lnTo>
                      <a:pt x="1038" y="1218"/>
                    </a:lnTo>
                    <a:lnTo>
                      <a:pt x="1016" y="1214"/>
                    </a:lnTo>
                    <a:lnTo>
                      <a:pt x="994" y="1209"/>
                    </a:lnTo>
                    <a:lnTo>
                      <a:pt x="994" y="1115"/>
                    </a:lnTo>
                    <a:lnTo>
                      <a:pt x="1014" y="1124"/>
                    </a:lnTo>
                    <a:lnTo>
                      <a:pt x="1033" y="1131"/>
                    </a:lnTo>
                    <a:lnTo>
                      <a:pt x="1053" y="1139"/>
                    </a:lnTo>
                    <a:lnTo>
                      <a:pt x="1073" y="1144"/>
                    </a:lnTo>
                    <a:lnTo>
                      <a:pt x="1094" y="1149"/>
                    </a:lnTo>
                    <a:lnTo>
                      <a:pt x="1115" y="1151"/>
                    </a:lnTo>
                    <a:lnTo>
                      <a:pt x="1135" y="1153"/>
                    </a:lnTo>
                    <a:lnTo>
                      <a:pt x="1157" y="1154"/>
                    </a:lnTo>
                    <a:lnTo>
                      <a:pt x="1184" y="1153"/>
                    </a:lnTo>
                    <a:lnTo>
                      <a:pt x="1208" y="1150"/>
                    </a:lnTo>
                    <a:lnTo>
                      <a:pt x="1220" y="1149"/>
                    </a:lnTo>
                    <a:lnTo>
                      <a:pt x="1231" y="1145"/>
                    </a:lnTo>
                    <a:lnTo>
                      <a:pt x="1241" y="1143"/>
                    </a:lnTo>
                    <a:lnTo>
                      <a:pt x="1251" y="1140"/>
                    </a:lnTo>
                    <a:lnTo>
                      <a:pt x="1260" y="1136"/>
                    </a:lnTo>
                    <a:lnTo>
                      <a:pt x="1269" y="1131"/>
                    </a:lnTo>
                    <a:lnTo>
                      <a:pt x="1277" y="1127"/>
                    </a:lnTo>
                    <a:lnTo>
                      <a:pt x="1285" y="1123"/>
                    </a:lnTo>
                    <a:lnTo>
                      <a:pt x="1293" y="1117"/>
                    </a:lnTo>
                    <a:lnTo>
                      <a:pt x="1299" y="1111"/>
                    </a:lnTo>
                    <a:lnTo>
                      <a:pt x="1306" y="1105"/>
                    </a:lnTo>
                    <a:lnTo>
                      <a:pt x="1311" y="1098"/>
                    </a:lnTo>
                    <a:lnTo>
                      <a:pt x="1317" y="1091"/>
                    </a:lnTo>
                    <a:lnTo>
                      <a:pt x="1322" y="1083"/>
                    </a:lnTo>
                    <a:lnTo>
                      <a:pt x="1326" y="1076"/>
                    </a:lnTo>
                    <a:lnTo>
                      <a:pt x="1331" y="1067"/>
                    </a:lnTo>
                    <a:lnTo>
                      <a:pt x="1338" y="1050"/>
                    </a:lnTo>
                    <a:lnTo>
                      <a:pt x="1344" y="1030"/>
                    </a:lnTo>
                    <a:lnTo>
                      <a:pt x="1348" y="1010"/>
                    </a:lnTo>
                    <a:lnTo>
                      <a:pt x="1351" y="987"/>
                    </a:lnTo>
                    <a:lnTo>
                      <a:pt x="1353" y="963"/>
                    </a:lnTo>
                    <a:lnTo>
                      <a:pt x="1353" y="938"/>
                    </a:lnTo>
                    <a:lnTo>
                      <a:pt x="1353" y="823"/>
                    </a:lnTo>
                    <a:lnTo>
                      <a:pt x="1351" y="823"/>
                    </a:lnTo>
                    <a:lnTo>
                      <a:pt x="1346" y="837"/>
                    </a:lnTo>
                    <a:lnTo>
                      <a:pt x="1339" y="850"/>
                    </a:lnTo>
                    <a:lnTo>
                      <a:pt x="1333" y="863"/>
                    </a:lnTo>
                    <a:lnTo>
                      <a:pt x="1325" y="875"/>
                    </a:lnTo>
                    <a:lnTo>
                      <a:pt x="1317" y="886"/>
                    </a:lnTo>
                    <a:lnTo>
                      <a:pt x="1307" y="897"/>
                    </a:lnTo>
                    <a:lnTo>
                      <a:pt x="1297" y="905"/>
                    </a:lnTo>
                    <a:lnTo>
                      <a:pt x="1286" y="914"/>
                    </a:lnTo>
                    <a:lnTo>
                      <a:pt x="1274" y="922"/>
                    </a:lnTo>
                    <a:lnTo>
                      <a:pt x="1262" y="928"/>
                    </a:lnTo>
                    <a:lnTo>
                      <a:pt x="1249" y="934"/>
                    </a:lnTo>
                    <a:lnTo>
                      <a:pt x="1236" y="939"/>
                    </a:lnTo>
                    <a:lnTo>
                      <a:pt x="1222" y="942"/>
                    </a:lnTo>
                    <a:lnTo>
                      <a:pt x="1208" y="945"/>
                    </a:lnTo>
                    <a:lnTo>
                      <a:pt x="1194" y="947"/>
                    </a:lnTo>
                    <a:lnTo>
                      <a:pt x="1179" y="947"/>
                    </a:lnTo>
                    <a:lnTo>
                      <a:pt x="1162" y="947"/>
                    </a:lnTo>
                    <a:lnTo>
                      <a:pt x="1146" y="946"/>
                    </a:lnTo>
                    <a:lnTo>
                      <a:pt x="1132" y="942"/>
                    </a:lnTo>
                    <a:lnTo>
                      <a:pt x="1118" y="939"/>
                    </a:lnTo>
                    <a:lnTo>
                      <a:pt x="1105" y="935"/>
                    </a:lnTo>
                    <a:lnTo>
                      <a:pt x="1092" y="930"/>
                    </a:lnTo>
                    <a:lnTo>
                      <a:pt x="1080" y="924"/>
                    </a:lnTo>
                    <a:lnTo>
                      <a:pt x="1069" y="917"/>
                    </a:lnTo>
                    <a:lnTo>
                      <a:pt x="1058" y="910"/>
                    </a:lnTo>
                    <a:lnTo>
                      <a:pt x="1049" y="902"/>
                    </a:lnTo>
                    <a:lnTo>
                      <a:pt x="1039" y="893"/>
                    </a:lnTo>
                    <a:lnTo>
                      <a:pt x="1030" y="884"/>
                    </a:lnTo>
                    <a:lnTo>
                      <a:pt x="1022" y="874"/>
                    </a:lnTo>
                    <a:lnTo>
                      <a:pt x="1015" y="864"/>
                    </a:lnTo>
                    <a:lnTo>
                      <a:pt x="1007" y="853"/>
                    </a:lnTo>
                    <a:lnTo>
                      <a:pt x="1002" y="841"/>
                    </a:lnTo>
                    <a:lnTo>
                      <a:pt x="995" y="829"/>
                    </a:lnTo>
                    <a:lnTo>
                      <a:pt x="990" y="817"/>
                    </a:lnTo>
                    <a:lnTo>
                      <a:pt x="986" y="804"/>
                    </a:lnTo>
                    <a:lnTo>
                      <a:pt x="981" y="791"/>
                    </a:lnTo>
                    <a:lnTo>
                      <a:pt x="974" y="765"/>
                    </a:lnTo>
                    <a:lnTo>
                      <a:pt x="968" y="738"/>
                    </a:lnTo>
                    <a:lnTo>
                      <a:pt x="964" y="710"/>
                    </a:lnTo>
                    <a:lnTo>
                      <a:pt x="961" y="682"/>
                    </a:lnTo>
                    <a:lnTo>
                      <a:pt x="960" y="654"/>
                    </a:lnTo>
                    <a:lnTo>
                      <a:pt x="958" y="626"/>
                    </a:lnTo>
                    <a:lnTo>
                      <a:pt x="960" y="599"/>
                    </a:lnTo>
                    <a:lnTo>
                      <a:pt x="961" y="571"/>
                    </a:lnTo>
                    <a:lnTo>
                      <a:pt x="964" y="542"/>
                    </a:lnTo>
                    <a:lnTo>
                      <a:pt x="968" y="512"/>
                    </a:lnTo>
                    <a:lnTo>
                      <a:pt x="975" y="483"/>
                    </a:lnTo>
                    <a:lnTo>
                      <a:pt x="982" y="455"/>
                    </a:lnTo>
                    <a:lnTo>
                      <a:pt x="987" y="441"/>
                    </a:lnTo>
                    <a:lnTo>
                      <a:pt x="992" y="428"/>
                    </a:lnTo>
                    <a:lnTo>
                      <a:pt x="998" y="414"/>
                    </a:lnTo>
                    <a:lnTo>
                      <a:pt x="1003" y="401"/>
                    </a:lnTo>
                    <a:lnTo>
                      <a:pt x="1009" y="389"/>
                    </a:lnTo>
                    <a:lnTo>
                      <a:pt x="1017" y="376"/>
                    </a:lnTo>
                    <a:lnTo>
                      <a:pt x="1025" y="365"/>
                    </a:lnTo>
                    <a:lnTo>
                      <a:pt x="1033" y="353"/>
                    </a:lnTo>
                    <a:lnTo>
                      <a:pt x="1042" y="343"/>
                    </a:lnTo>
                    <a:lnTo>
                      <a:pt x="1051" y="333"/>
                    </a:lnTo>
                    <a:lnTo>
                      <a:pt x="1060" y="323"/>
                    </a:lnTo>
                    <a:lnTo>
                      <a:pt x="1071" y="315"/>
                    </a:lnTo>
                    <a:lnTo>
                      <a:pt x="1083" y="308"/>
                    </a:lnTo>
                    <a:lnTo>
                      <a:pt x="1095" y="301"/>
                    </a:lnTo>
                    <a:lnTo>
                      <a:pt x="1107" y="295"/>
                    </a:lnTo>
                    <a:lnTo>
                      <a:pt x="1121" y="290"/>
                    </a:lnTo>
                    <a:lnTo>
                      <a:pt x="1135" y="287"/>
                    </a:lnTo>
                    <a:lnTo>
                      <a:pt x="1149" y="283"/>
                    </a:lnTo>
                    <a:lnTo>
                      <a:pt x="1165" y="282"/>
                    </a:lnTo>
                    <a:lnTo>
                      <a:pt x="1181" y="281"/>
                    </a:lnTo>
                    <a:lnTo>
                      <a:pt x="1196" y="282"/>
                    </a:lnTo>
                    <a:lnTo>
                      <a:pt x="1210" y="283"/>
                    </a:lnTo>
                    <a:lnTo>
                      <a:pt x="1223" y="285"/>
                    </a:lnTo>
                    <a:lnTo>
                      <a:pt x="1237" y="290"/>
                    </a:lnTo>
                    <a:lnTo>
                      <a:pt x="1250" y="294"/>
                    </a:lnTo>
                    <a:lnTo>
                      <a:pt x="1263" y="300"/>
                    </a:lnTo>
                    <a:lnTo>
                      <a:pt x="1275" y="306"/>
                    </a:lnTo>
                    <a:lnTo>
                      <a:pt x="1287" y="314"/>
                    </a:lnTo>
                    <a:lnTo>
                      <a:pt x="1298" y="321"/>
                    </a:lnTo>
                    <a:lnTo>
                      <a:pt x="1309" y="331"/>
                    </a:lnTo>
                    <a:lnTo>
                      <a:pt x="1318" y="341"/>
                    </a:lnTo>
                    <a:lnTo>
                      <a:pt x="1326" y="352"/>
                    </a:lnTo>
                    <a:lnTo>
                      <a:pt x="1334" y="364"/>
                    </a:lnTo>
                    <a:lnTo>
                      <a:pt x="1340" y="376"/>
                    </a:lnTo>
                    <a:lnTo>
                      <a:pt x="1347" y="389"/>
                    </a:lnTo>
                    <a:lnTo>
                      <a:pt x="1351" y="403"/>
                    </a:lnTo>
                    <a:lnTo>
                      <a:pt x="1353" y="403"/>
                    </a:lnTo>
                    <a:lnTo>
                      <a:pt x="1353" y="296"/>
                    </a:lnTo>
                    <a:lnTo>
                      <a:pt x="1447" y="296"/>
                    </a:lnTo>
                    <a:lnTo>
                      <a:pt x="1447" y="949"/>
                    </a:lnTo>
                    <a:lnTo>
                      <a:pt x="1447" y="965"/>
                    </a:lnTo>
                    <a:lnTo>
                      <a:pt x="1446" y="983"/>
                    </a:lnTo>
                    <a:lnTo>
                      <a:pt x="1445" y="998"/>
                    </a:lnTo>
                    <a:lnTo>
                      <a:pt x="1442" y="1014"/>
                    </a:lnTo>
                    <a:lnTo>
                      <a:pt x="1440" y="1029"/>
                    </a:lnTo>
                    <a:lnTo>
                      <a:pt x="1437" y="1043"/>
                    </a:lnTo>
                    <a:lnTo>
                      <a:pt x="1434" y="1057"/>
                    </a:lnTo>
                    <a:lnTo>
                      <a:pt x="1429" y="1070"/>
                    </a:lnTo>
                    <a:lnTo>
                      <a:pt x="1425" y="1083"/>
                    </a:lnTo>
                    <a:lnTo>
                      <a:pt x="1421" y="1097"/>
                    </a:lnTo>
                    <a:lnTo>
                      <a:pt x="1414" y="1107"/>
                    </a:lnTo>
                    <a:lnTo>
                      <a:pt x="1409" y="1119"/>
                    </a:lnTo>
                    <a:lnTo>
                      <a:pt x="1402" y="1130"/>
                    </a:lnTo>
                    <a:lnTo>
                      <a:pt x="1395" y="1140"/>
                    </a:lnTo>
                    <a:lnTo>
                      <a:pt x="1387" y="1150"/>
                    </a:lnTo>
                    <a:lnTo>
                      <a:pt x="1378" y="1159"/>
                    </a:lnTo>
                    <a:lnTo>
                      <a:pt x="1370" y="1168"/>
                    </a:lnTo>
                    <a:lnTo>
                      <a:pt x="1360" y="1176"/>
                    </a:lnTo>
                    <a:lnTo>
                      <a:pt x="1350" y="1183"/>
                    </a:lnTo>
                    <a:lnTo>
                      <a:pt x="1340" y="1191"/>
                    </a:lnTo>
                    <a:lnTo>
                      <a:pt x="1330" y="1197"/>
                    </a:lnTo>
                    <a:lnTo>
                      <a:pt x="1318" y="1203"/>
                    </a:lnTo>
                    <a:lnTo>
                      <a:pt x="1306" y="1208"/>
                    </a:lnTo>
                    <a:lnTo>
                      <a:pt x="1293" y="1214"/>
                    </a:lnTo>
                    <a:lnTo>
                      <a:pt x="1280" y="1218"/>
                    </a:lnTo>
                    <a:lnTo>
                      <a:pt x="1266" y="1221"/>
                    </a:lnTo>
                    <a:lnTo>
                      <a:pt x="1251" y="1225"/>
                    </a:lnTo>
                    <a:lnTo>
                      <a:pt x="1236" y="1227"/>
                    </a:lnTo>
                    <a:lnTo>
                      <a:pt x="1221" y="1229"/>
                    </a:lnTo>
                    <a:lnTo>
                      <a:pt x="1205" y="1230"/>
                    </a:lnTo>
                    <a:lnTo>
                      <a:pt x="1187" y="1231"/>
                    </a:lnTo>
                    <a:lnTo>
                      <a:pt x="1170" y="1231"/>
                    </a:lnTo>
                    <a:close/>
                    <a:moveTo>
                      <a:pt x="765" y="947"/>
                    </a:moveTo>
                    <a:lnTo>
                      <a:pt x="765" y="296"/>
                    </a:lnTo>
                    <a:lnTo>
                      <a:pt x="859" y="296"/>
                    </a:lnTo>
                    <a:lnTo>
                      <a:pt x="859" y="947"/>
                    </a:lnTo>
                    <a:lnTo>
                      <a:pt x="765" y="947"/>
                    </a:lnTo>
                    <a:close/>
                    <a:moveTo>
                      <a:pt x="750" y="127"/>
                    </a:moveTo>
                    <a:lnTo>
                      <a:pt x="750" y="4"/>
                    </a:lnTo>
                    <a:lnTo>
                      <a:pt x="874" y="4"/>
                    </a:lnTo>
                    <a:lnTo>
                      <a:pt x="874" y="127"/>
                    </a:lnTo>
                    <a:lnTo>
                      <a:pt x="750" y="127"/>
                    </a:lnTo>
                    <a:close/>
                    <a:moveTo>
                      <a:pt x="496" y="947"/>
                    </a:moveTo>
                    <a:lnTo>
                      <a:pt x="496" y="502"/>
                    </a:lnTo>
                    <a:lnTo>
                      <a:pt x="107" y="502"/>
                    </a:lnTo>
                    <a:lnTo>
                      <a:pt x="107" y="947"/>
                    </a:lnTo>
                    <a:lnTo>
                      <a:pt x="0" y="947"/>
                    </a:lnTo>
                    <a:lnTo>
                      <a:pt x="0" y="4"/>
                    </a:lnTo>
                    <a:lnTo>
                      <a:pt x="107" y="4"/>
                    </a:lnTo>
                    <a:lnTo>
                      <a:pt x="107" y="412"/>
                    </a:lnTo>
                    <a:lnTo>
                      <a:pt x="496" y="412"/>
                    </a:lnTo>
                    <a:lnTo>
                      <a:pt x="496" y="4"/>
                    </a:lnTo>
                    <a:lnTo>
                      <a:pt x="604" y="4"/>
                    </a:lnTo>
                    <a:lnTo>
                      <a:pt x="604" y="947"/>
                    </a:lnTo>
                    <a:lnTo>
                      <a:pt x="496" y="947"/>
                    </a:lnTo>
                    <a:close/>
                  </a:path>
                </a:pathLst>
              </a:custGeom>
              <a:solidFill>
                <a:srgbClr val="1F1A17"/>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grpSp>
            <p:nvGrpSpPr>
              <p:cNvPr id="59" name="Group 21"/>
              <p:cNvGrpSpPr/>
              <p:nvPr userDrawn="1"/>
            </p:nvGrpSpPr>
            <p:grpSpPr>
              <a:xfrm>
                <a:off x="471488" y="605980"/>
                <a:ext cx="2196707" cy="386471"/>
                <a:chOff x="931863" y="2459038"/>
                <a:chExt cx="2427287" cy="427038"/>
              </a:xfrm>
              <a:solidFill>
                <a:sysClr val="windowText" lastClr="000000"/>
              </a:solidFill>
            </p:grpSpPr>
            <p:sp>
              <p:nvSpPr>
                <p:cNvPr id="60" name="Freeform 5"/>
                <p:cNvSpPr>
                  <a:spLocks noEditPoints="1"/>
                </p:cNvSpPr>
                <p:nvPr userDrawn="1"/>
              </p:nvSpPr>
              <p:spPr bwMode="auto">
                <a:xfrm>
                  <a:off x="931863" y="2555875"/>
                  <a:ext cx="247650" cy="330200"/>
                </a:xfrm>
                <a:custGeom>
                  <a:avLst/>
                  <a:gdLst/>
                  <a:ahLst/>
                  <a:cxnLst>
                    <a:cxn ang="0">
                      <a:pos x="1703" y="546"/>
                    </a:cxn>
                    <a:cxn ang="0">
                      <a:pos x="1652" y="361"/>
                    </a:cxn>
                    <a:cxn ang="0">
                      <a:pos x="1561" y="217"/>
                    </a:cxn>
                    <a:cxn ang="0">
                      <a:pos x="1432" y="113"/>
                    </a:cxn>
                    <a:cxn ang="0">
                      <a:pos x="1271" y="45"/>
                    </a:cxn>
                    <a:cxn ang="0">
                      <a:pos x="1083" y="9"/>
                    </a:cxn>
                    <a:cxn ang="0">
                      <a:pos x="872" y="1"/>
                    </a:cxn>
                    <a:cxn ang="0">
                      <a:pos x="670" y="21"/>
                    </a:cxn>
                    <a:cxn ang="0">
                      <a:pos x="486" y="74"/>
                    </a:cxn>
                    <a:cxn ang="0">
                      <a:pos x="328" y="160"/>
                    </a:cxn>
                    <a:cxn ang="0">
                      <a:pos x="204" y="282"/>
                    </a:cxn>
                    <a:cxn ang="0">
                      <a:pos x="121" y="444"/>
                    </a:cxn>
                    <a:cxn ang="0">
                      <a:pos x="84" y="647"/>
                    </a:cxn>
                    <a:cxn ang="0">
                      <a:pos x="582" y="635"/>
                    </a:cxn>
                    <a:cxn ang="0">
                      <a:pos x="601" y="550"/>
                    </a:cxn>
                    <a:cxn ang="0">
                      <a:pos x="636" y="480"/>
                    </a:cxn>
                    <a:cxn ang="0">
                      <a:pos x="687" y="425"/>
                    </a:cxn>
                    <a:cxn ang="0">
                      <a:pos x="755" y="386"/>
                    </a:cxn>
                    <a:cxn ang="0">
                      <a:pos x="838" y="364"/>
                    </a:cxn>
                    <a:cxn ang="0">
                      <a:pos x="939" y="359"/>
                    </a:cxn>
                    <a:cxn ang="0">
                      <a:pos x="1038" y="376"/>
                    </a:cxn>
                    <a:cxn ang="0">
                      <a:pos x="1112" y="417"/>
                    </a:cxn>
                    <a:cxn ang="0">
                      <a:pos x="1165" y="477"/>
                    </a:cxn>
                    <a:cxn ang="0">
                      <a:pos x="1198" y="553"/>
                    </a:cxn>
                    <a:cxn ang="0">
                      <a:pos x="1220" y="678"/>
                    </a:cxn>
                    <a:cxn ang="0">
                      <a:pos x="1028" y="982"/>
                    </a:cxn>
                    <a:cxn ang="0">
                      <a:pos x="772" y="1009"/>
                    </a:cxn>
                    <a:cxn ang="0">
                      <a:pos x="519" y="1067"/>
                    </a:cxn>
                    <a:cxn ang="0">
                      <a:pos x="295" y="1168"/>
                    </a:cxn>
                    <a:cxn ang="0">
                      <a:pos x="121" y="1322"/>
                    </a:cxn>
                    <a:cxn ang="0">
                      <a:pos x="18" y="1542"/>
                    </a:cxn>
                    <a:cxn ang="0">
                      <a:pos x="3" y="1780"/>
                    </a:cxn>
                    <a:cxn ang="0">
                      <a:pos x="40" y="1931"/>
                    </a:cxn>
                    <a:cxn ang="0">
                      <a:pos x="111" y="2057"/>
                    </a:cxn>
                    <a:cxn ang="0">
                      <a:pos x="213" y="2155"/>
                    </a:cxn>
                    <a:cxn ang="0">
                      <a:pos x="340" y="2227"/>
                    </a:cxn>
                    <a:cxn ang="0">
                      <a:pos x="485" y="2270"/>
                    </a:cxn>
                    <a:cxn ang="0">
                      <a:pos x="644" y="2285"/>
                    </a:cxn>
                    <a:cxn ang="0">
                      <a:pos x="797" y="2273"/>
                    </a:cxn>
                    <a:cxn ang="0">
                      <a:pos x="901" y="2248"/>
                    </a:cxn>
                    <a:cxn ang="0">
                      <a:pos x="995" y="2208"/>
                    </a:cxn>
                    <a:cxn ang="0">
                      <a:pos x="1082" y="2152"/>
                    </a:cxn>
                    <a:cxn ang="0">
                      <a:pos x="1155" y="2077"/>
                    </a:cxn>
                    <a:cxn ang="0">
                      <a:pos x="1214" y="1982"/>
                    </a:cxn>
                    <a:cxn ang="0">
                      <a:pos x="1224" y="1298"/>
                    </a:cxn>
                    <a:cxn ang="0">
                      <a:pos x="1211" y="1436"/>
                    </a:cxn>
                    <a:cxn ang="0">
                      <a:pos x="1178" y="1574"/>
                    </a:cxn>
                    <a:cxn ang="0">
                      <a:pos x="1124" y="1704"/>
                    </a:cxn>
                    <a:cxn ang="0">
                      <a:pos x="1044" y="1813"/>
                    </a:cxn>
                    <a:cxn ang="0">
                      <a:pos x="937" y="1891"/>
                    </a:cxn>
                    <a:cxn ang="0">
                      <a:pos x="799" y="1927"/>
                    </a:cxn>
                    <a:cxn ang="0">
                      <a:pos x="707" y="1923"/>
                    </a:cxn>
                    <a:cxn ang="0">
                      <a:pos x="641" y="1907"/>
                    </a:cxn>
                    <a:cxn ang="0">
                      <a:pos x="587" y="1877"/>
                    </a:cxn>
                    <a:cxn ang="0">
                      <a:pos x="545" y="1835"/>
                    </a:cxn>
                    <a:cxn ang="0">
                      <a:pos x="515" y="1780"/>
                    </a:cxn>
                    <a:cxn ang="0">
                      <a:pos x="499" y="1713"/>
                    </a:cxn>
                    <a:cxn ang="0">
                      <a:pos x="502" y="1607"/>
                    </a:cxn>
                    <a:cxn ang="0">
                      <a:pos x="558" y="1485"/>
                    </a:cxn>
                    <a:cxn ang="0">
                      <a:pos x="662" y="1396"/>
                    </a:cxn>
                    <a:cxn ang="0">
                      <a:pos x="798" y="1334"/>
                    </a:cxn>
                    <a:cxn ang="0">
                      <a:pos x="947" y="1297"/>
                    </a:cxn>
                    <a:cxn ang="0">
                      <a:pos x="1175" y="1272"/>
                    </a:cxn>
                  </a:cxnLst>
                  <a:rect l="0" t="0" r="r" b="b"/>
                  <a:pathLst>
                    <a:path w="1711" h="2285">
                      <a:moveTo>
                        <a:pt x="1711" y="2235"/>
                      </a:moveTo>
                      <a:lnTo>
                        <a:pt x="1711" y="679"/>
                      </a:lnTo>
                      <a:lnTo>
                        <a:pt x="1710" y="633"/>
                      </a:lnTo>
                      <a:lnTo>
                        <a:pt x="1707" y="589"/>
                      </a:lnTo>
                      <a:lnTo>
                        <a:pt x="1703" y="546"/>
                      </a:lnTo>
                      <a:lnTo>
                        <a:pt x="1697" y="505"/>
                      </a:lnTo>
                      <a:lnTo>
                        <a:pt x="1688" y="467"/>
                      </a:lnTo>
                      <a:lnTo>
                        <a:pt x="1678" y="430"/>
                      </a:lnTo>
                      <a:lnTo>
                        <a:pt x="1666" y="394"/>
                      </a:lnTo>
                      <a:lnTo>
                        <a:pt x="1652" y="361"/>
                      </a:lnTo>
                      <a:lnTo>
                        <a:pt x="1637" y="328"/>
                      </a:lnTo>
                      <a:lnTo>
                        <a:pt x="1620" y="299"/>
                      </a:lnTo>
                      <a:lnTo>
                        <a:pt x="1602" y="270"/>
                      </a:lnTo>
                      <a:lnTo>
                        <a:pt x="1582" y="243"/>
                      </a:lnTo>
                      <a:lnTo>
                        <a:pt x="1561" y="217"/>
                      </a:lnTo>
                      <a:lnTo>
                        <a:pt x="1538" y="194"/>
                      </a:lnTo>
                      <a:lnTo>
                        <a:pt x="1514" y="172"/>
                      </a:lnTo>
                      <a:lnTo>
                        <a:pt x="1487" y="151"/>
                      </a:lnTo>
                      <a:lnTo>
                        <a:pt x="1460" y="131"/>
                      </a:lnTo>
                      <a:lnTo>
                        <a:pt x="1432" y="113"/>
                      </a:lnTo>
                      <a:lnTo>
                        <a:pt x="1402" y="98"/>
                      </a:lnTo>
                      <a:lnTo>
                        <a:pt x="1372" y="82"/>
                      </a:lnTo>
                      <a:lnTo>
                        <a:pt x="1339" y="68"/>
                      </a:lnTo>
                      <a:lnTo>
                        <a:pt x="1306" y="57"/>
                      </a:lnTo>
                      <a:lnTo>
                        <a:pt x="1271" y="45"/>
                      </a:lnTo>
                      <a:lnTo>
                        <a:pt x="1236" y="36"/>
                      </a:lnTo>
                      <a:lnTo>
                        <a:pt x="1199" y="27"/>
                      </a:lnTo>
                      <a:lnTo>
                        <a:pt x="1162" y="20"/>
                      </a:lnTo>
                      <a:lnTo>
                        <a:pt x="1123" y="14"/>
                      </a:lnTo>
                      <a:lnTo>
                        <a:pt x="1083" y="9"/>
                      </a:lnTo>
                      <a:lnTo>
                        <a:pt x="1043" y="5"/>
                      </a:lnTo>
                      <a:lnTo>
                        <a:pt x="1001" y="2"/>
                      </a:lnTo>
                      <a:lnTo>
                        <a:pt x="959" y="1"/>
                      </a:lnTo>
                      <a:lnTo>
                        <a:pt x="916" y="0"/>
                      </a:lnTo>
                      <a:lnTo>
                        <a:pt x="872" y="1"/>
                      </a:lnTo>
                      <a:lnTo>
                        <a:pt x="831" y="3"/>
                      </a:lnTo>
                      <a:lnTo>
                        <a:pt x="789" y="5"/>
                      </a:lnTo>
                      <a:lnTo>
                        <a:pt x="748" y="10"/>
                      </a:lnTo>
                      <a:lnTo>
                        <a:pt x="709" y="15"/>
                      </a:lnTo>
                      <a:lnTo>
                        <a:pt x="670" y="21"/>
                      </a:lnTo>
                      <a:lnTo>
                        <a:pt x="631" y="30"/>
                      </a:lnTo>
                      <a:lnTo>
                        <a:pt x="593" y="39"/>
                      </a:lnTo>
                      <a:lnTo>
                        <a:pt x="556" y="48"/>
                      </a:lnTo>
                      <a:lnTo>
                        <a:pt x="520" y="61"/>
                      </a:lnTo>
                      <a:lnTo>
                        <a:pt x="486" y="74"/>
                      </a:lnTo>
                      <a:lnTo>
                        <a:pt x="452" y="88"/>
                      </a:lnTo>
                      <a:lnTo>
                        <a:pt x="419" y="104"/>
                      </a:lnTo>
                      <a:lnTo>
                        <a:pt x="388" y="121"/>
                      </a:lnTo>
                      <a:lnTo>
                        <a:pt x="357" y="140"/>
                      </a:lnTo>
                      <a:lnTo>
                        <a:pt x="328" y="160"/>
                      </a:lnTo>
                      <a:lnTo>
                        <a:pt x="301" y="180"/>
                      </a:lnTo>
                      <a:lnTo>
                        <a:pt x="274" y="204"/>
                      </a:lnTo>
                      <a:lnTo>
                        <a:pt x="249" y="229"/>
                      </a:lnTo>
                      <a:lnTo>
                        <a:pt x="226" y="255"/>
                      </a:lnTo>
                      <a:lnTo>
                        <a:pt x="204" y="282"/>
                      </a:lnTo>
                      <a:lnTo>
                        <a:pt x="184" y="311"/>
                      </a:lnTo>
                      <a:lnTo>
                        <a:pt x="166" y="342"/>
                      </a:lnTo>
                      <a:lnTo>
                        <a:pt x="149" y="374"/>
                      </a:lnTo>
                      <a:lnTo>
                        <a:pt x="134" y="408"/>
                      </a:lnTo>
                      <a:lnTo>
                        <a:pt x="121" y="444"/>
                      </a:lnTo>
                      <a:lnTo>
                        <a:pt x="109" y="481"/>
                      </a:lnTo>
                      <a:lnTo>
                        <a:pt x="100" y="520"/>
                      </a:lnTo>
                      <a:lnTo>
                        <a:pt x="93" y="561"/>
                      </a:lnTo>
                      <a:lnTo>
                        <a:pt x="87" y="603"/>
                      </a:lnTo>
                      <a:lnTo>
                        <a:pt x="84" y="647"/>
                      </a:lnTo>
                      <a:lnTo>
                        <a:pt x="83" y="693"/>
                      </a:lnTo>
                      <a:lnTo>
                        <a:pt x="579" y="693"/>
                      </a:lnTo>
                      <a:lnTo>
                        <a:pt x="580" y="673"/>
                      </a:lnTo>
                      <a:lnTo>
                        <a:pt x="581" y="654"/>
                      </a:lnTo>
                      <a:lnTo>
                        <a:pt x="582" y="635"/>
                      </a:lnTo>
                      <a:lnTo>
                        <a:pt x="584" y="616"/>
                      </a:lnTo>
                      <a:lnTo>
                        <a:pt x="588" y="600"/>
                      </a:lnTo>
                      <a:lnTo>
                        <a:pt x="592" y="582"/>
                      </a:lnTo>
                      <a:lnTo>
                        <a:pt x="596" y="566"/>
                      </a:lnTo>
                      <a:lnTo>
                        <a:pt x="601" y="550"/>
                      </a:lnTo>
                      <a:lnTo>
                        <a:pt x="607" y="535"/>
                      </a:lnTo>
                      <a:lnTo>
                        <a:pt x="613" y="520"/>
                      </a:lnTo>
                      <a:lnTo>
                        <a:pt x="620" y="506"/>
                      </a:lnTo>
                      <a:lnTo>
                        <a:pt x="628" y="493"/>
                      </a:lnTo>
                      <a:lnTo>
                        <a:pt x="636" y="480"/>
                      </a:lnTo>
                      <a:lnTo>
                        <a:pt x="644" y="468"/>
                      </a:lnTo>
                      <a:lnTo>
                        <a:pt x="655" y="456"/>
                      </a:lnTo>
                      <a:lnTo>
                        <a:pt x="664" y="445"/>
                      </a:lnTo>
                      <a:lnTo>
                        <a:pt x="676" y="435"/>
                      </a:lnTo>
                      <a:lnTo>
                        <a:pt x="687" y="425"/>
                      </a:lnTo>
                      <a:lnTo>
                        <a:pt x="699" y="416"/>
                      </a:lnTo>
                      <a:lnTo>
                        <a:pt x="712" y="408"/>
                      </a:lnTo>
                      <a:lnTo>
                        <a:pt x="725" y="400"/>
                      </a:lnTo>
                      <a:lnTo>
                        <a:pt x="740" y="393"/>
                      </a:lnTo>
                      <a:lnTo>
                        <a:pt x="755" y="386"/>
                      </a:lnTo>
                      <a:lnTo>
                        <a:pt x="769" y="381"/>
                      </a:lnTo>
                      <a:lnTo>
                        <a:pt x="785" y="375"/>
                      </a:lnTo>
                      <a:lnTo>
                        <a:pt x="802" y="371"/>
                      </a:lnTo>
                      <a:lnTo>
                        <a:pt x="820" y="367"/>
                      </a:lnTo>
                      <a:lnTo>
                        <a:pt x="838" y="364"/>
                      </a:lnTo>
                      <a:lnTo>
                        <a:pt x="856" y="362"/>
                      </a:lnTo>
                      <a:lnTo>
                        <a:pt x="876" y="360"/>
                      </a:lnTo>
                      <a:lnTo>
                        <a:pt x="895" y="359"/>
                      </a:lnTo>
                      <a:lnTo>
                        <a:pt x="916" y="359"/>
                      </a:lnTo>
                      <a:lnTo>
                        <a:pt x="939" y="359"/>
                      </a:lnTo>
                      <a:lnTo>
                        <a:pt x="961" y="361"/>
                      </a:lnTo>
                      <a:lnTo>
                        <a:pt x="982" y="363"/>
                      </a:lnTo>
                      <a:lnTo>
                        <a:pt x="1002" y="367"/>
                      </a:lnTo>
                      <a:lnTo>
                        <a:pt x="1020" y="371"/>
                      </a:lnTo>
                      <a:lnTo>
                        <a:pt x="1038" y="376"/>
                      </a:lnTo>
                      <a:lnTo>
                        <a:pt x="1054" y="383"/>
                      </a:lnTo>
                      <a:lnTo>
                        <a:pt x="1070" y="390"/>
                      </a:lnTo>
                      <a:lnTo>
                        <a:pt x="1085" y="398"/>
                      </a:lnTo>
                      <a:lnTo>
                        <a:pt x="1098" y="408"/>
                      </a:lnTo>
                      <a:lnTo>
                        <a:pt x="1112" y="417"/>
                      </a:lnTo>
                      <a:lnTo>
                        <a:pt x="1124" y="428"/>
                      </a:lnTo>
                      <a:lnTo>
                        <a:pt x="1135" y="439"/>
                      </a:lnTo>
                      <a:lnTo>
                        <a:pt x="1146" y="451"/>
                      </a:lnTo>
                      <a:lnTo>
                        <a:pt x="1155" y="463"/>
                      </a:lnTo>
                      <a:lnTo>
                        <a:pt x="1165" y="477"/>
                      </a:lnTo>
                      <a:lnTo>
                        <a:pt x="1172" y="491"/>
                      </a:lnTo>
                      <a:lnTo>
                        <a:pt x="1180" y="505"/>
                      </a:lnTo>
                      <a:lnTo>
                        <a:pt x="1187" y="521"/>
                      </a:lnTo>
                      <a:lnTo>
                        <a:pt x="1193" y="537"/>
                      </a:lnTo>
                      <a:lnTo>
                        <a:pt x="1198" y="553"/>
                      </a:lnTo>
                      <a:lnTo>
                        <a:pt x="1204" y="569"/>
                      </a:lnTo>
                      <a:lnTo>
                        <a:pt x="1208" y="587"/>
                      </a:lnTo>
                      <a:lnTo>
                        <a:pt x="1211" y="604"/>
                      </a:lnTo>
                      <a:lnTo>
                        <a:pt x="1217" y="641"/>
                      </a:lnTo>
                      <a:lnTo>
                        <a:pt x="1220" y="678"/>
                      </a:lnTo>
                      <a:lnTo>
                        <a:pt x="1223" y="717"/>
                      </a:lnTo>
                      <a:lnTo>
                        <a:pt x="1224" y="758"/>
                      </a:lnTo>
                      <a:lnTo>
                        <a:pt x="1224" y="973"/>
                      </a:lnTo>
                      <a:lnTo>
                        <a:pt x="1128" y="976"/>
                      </a:lnTo>
                      <a:lnTo>
                        <a:pt x="1028" y="982"/>
                      </a:lnTo>
                      <a:lnTo>
                        <a:pt x="978" y="985"/>
                      </a:lnTo>
                      <a:lnTo>
                        <a:pt x="926" y="991"/>
                      </a:lnTo>
                      <a:lnTo>
                        <a:pt x="875" y="996"/>
                      </a:lnTo>
                      <a:lnTo>
                        <a:pt x="823" y="1002"/>
                      </a:lnTo>
                      <a:lnTo>
                        <a:pt x="772" y="1009"/>
                      </a:lnTo>
                      <a:lnTo>
                        <a:pt x="720" y="1018"/>
                      </a:lnTo>
                      <a:lnTo>
                        <a:pt x="669" y="1028"/>
                      </a:lnTo>
                      <a:lnTo>
                        <a:pt x="618" y="1040"/>
                      </a:lnTo>
                      <a:lnTo>
                        <a:pt x="569" y="1052"/>
                      </a:lnTo>
                      <a:lnTo>
                        <a:pt x="519" y="1067"/>
                      </a:lnTo>
                      <a:lnTo>
                        <a:pt x="472" y="1084"/>
                      </a:lnTo>
                      <a:lnTo>
                        <a:pt x="426" y="1102"/>
                      </a:lnTo>
                      <a:lnTo>
                        <a:pt x="381" y="1122"/>
                      </a:lnTo>
                      <a:lnTo>
                        <a:pt x="337" y="1144"/>
                      </a:lnTo>
                      <a:lnTo>
                        <a:pt x="295" y="1168"/>
                      </a:lnTo>
                      <a:lnTo>
                        <a:pt x="256" y="1193"/>
                      </a:lnTo>
                      <a:lnTo>
                        <a:pt x="219" y="1222"/>
                      </a:lnTo>
                      <a:lnTo>
                        <a:pt x="184" y="1253"/>
                      </a:lnTo>
                      <a:lnTo>
                        <a:pt x="151" y="1286"/>
                      </a:lnTo>
                      <a:lnTo>
                        <a:pt x="121" y="1322"/>
                      </a:lnTo>
                      <a:lnTo>
                        <a:pt x="95" y="1360"/>
                      </a:lnTo>
                      <a:lnTo>
                        <a:pt x="70" y="1401"/>
                      </a:lnTo>
                      <a:lnTo>
                        <a:pt x="49" y="1445"/>
                      </a:lnTo>
                      <a:lnTo>
                        <a:pt x="33" y="1493"/>
                      </a:lnTo>
                      <a:lnTo>
                        <a:pt x="18" y="1542"/>
                      </a:lnTo>
                      <a:lnTo>
                        <a:pt x="8" y="1595"/>
                      </a:lnTo>
                      <a:lnTo>
                        <a:pt x="2" y="1652"/>
                      </a:lnTo>
                      <a:lnTo>
                        <a:pt x="0" y="1712"/>
                      </a:lnTo>
                      <a:lnTo>
                        <a:pt x="1" y="1746"/>
                      </a:lnTo>
                      <a:lnTo>
                        <a:pt x="3" y="1780"/>
                      </a:lnTo>
                      <a:lnTo>
                        <a:pt x="7" y="1811"/>
                      </a:lnTo>
                      <a:lnTo>
                        <a:pt x="14" y="1843"/>
                      </a:lnTo>
                      <a:lnTo>
                        <a:pt x="21" y="1873"/>
                      </a:lnTo>
                      <a:lnTo>
                        <a:pt x="29" y="1902"/>
                      </a:lnTo>
                      <a:lnTo>
                        <a:pt x="40" y="1931"/>
                      </a:lnTo>
                      <a:lnTo>
                        <a:pt x="52" y="1958"/>
                      </a:lnTo>
                      <a:lnTo>
                        <a:pt x="64" y="1984"/>
                      </a:lnTo>
                      <a:lnTo>
                        <a:pt x="79" y="2009"/>
                      </a:lnTo>
                      <a:lnTo>
                        <a:pt x="95" y="2033"/>
                      </a:lnTo>
                      <a:lnTo>
                        <a:pt x="111" y="2057"/>
                      </a:lnTo>
                      <a:lnTo>
                        <a:pt x="129" y="2079"/>
                      </a:lnTo>
                      <a:lnTo>
                        <a:pt x="149" y="2099"/>
                      </a:lnTo>
                      <a:lnTo>
                        <a:pt x="169" y="2119"/>
                      </a:lnTo>
                      <a:lnTo>
                        <a:pt x="191" y="2137"/>
                      </a:lnTo>
                      <a:lnTo>
                        <a:pt x="213" y="2155"/>
                      </a:lnTo>
                      <a:lnTo>
                        <a:pt x="237" y="2172"/>
                      </a:lnTo>
                      <a:lnTo>
                        <a:pt x="262" y="2188"/>
                      </a:lnTo>
                      <a:lnTo>
                        <a:pt x="287" y="2201"/>
                      </a:lnTo>
                      <a:lnTo>
                        <a:pt x="312" y="2215"/>
                      </a:lnTo>
                      <a:lnTo>
                        <a:pt x="340" y="2227"/>
                      </a:lnTo>
                      <a:lnTo>
                        <a:pt x="367" y="2238"/>
                      </a:lnTo>
                      <a:lnTo>
                        <a:pt x="396" y="2247"/>
                      </a:lnTo>
                      <a:lnTo>
                        <a:pt x="425" y="2257"/>
                      </a:lnTo>
                      <a:lnTo>
                        <a:pt x="455" y="2264"/>
                      </a:lnTo>
                      <a:lnTo>
                        <a:pt x="485" y="2270"/>
                      </a:lnTo>
                      <a:lnTo>
                        <a:pt x="516" y="2276"/>
                      </a:lnTo>
                      <a:lnTo>
                        <a:pt x="548" y="2280"/>
                      </a:lnTo>
                      <a:lnTo>
                        <a:pt x="579" y="2283"/>
                      </a:lnTo>
                      <a:lnTo>
                        <a:pt x="612" y="2284"/>
                      </a:lnTo>
                      <a:lnTo>
                        <a:pt x="644" y="2285"/>
                      </a:lnTo>
                      <a:lnTo>
                        <a:pt x="689" y="2284"/>
                      </a:lnTo>
                      <a:lnTo>
                        <a:pt x="733" y="2281"/>
                      </a:lnTo>
                      <a:lnTo>
                        <a:pt x="755" y="2279"/>
                      </a:lnTo>
                      <a:lnTo>
                        <a:pt x="776" y="2277"/>
                      </a:lnTo>
                      <a:lnTo>
                        <a:pt x="797" y="2273"/>
                      </a:lnTo>
                      <a:lnTo>
                        <a:pt x="819" y="2269"/>
                      </a:lnTo>
                      <a:lnTo>
                        <a:pt x="839" y="2265"/>
                      </a:lnTo>
                      <a:lnTo>
                        <a:pt x="860" y="2260"/>
                      </a:lnTo>
                      <a:lnTo>
                        <a:pt x="880" y="2255"/>
                      </a:lnTo>
                      <a:lnTo>
                        <a:pt x="901" y="2248"/>
                      </a:lnTo>
                      <a:lnTo>
                        <a:pt x="920" y="2242"/>
                      </a:lnTo>
                      <a:lnTo>
                        <a:pt x="940" y="2235"/>
                      </a:lnTo>
                      <a:lnTo>
                        <a:pt x="959" y="2226"/>
                      </a:lnTo>
                      <a:lnTo>
                        <a:pt x="978" y="2218"/>
                      </a:lnTo>
                      <a:lnTo>
                        <a:pt x="995" y="2208"/>
                      </a:lnTo>
                      <a:lnTo>
                        <a:pt x="1013" y="2199"/>
                      </a:lnTo>
                      <a:lnTo>
                        <a:pt x="1031" y="2189"/>
                      </a:lnTo>
                      <a:lnTo>
                        <a:pt x="1048" y="2177"/>
                      </a:lnTo>
                      <a:lnTo>
                        <a:pt x="1065" y="2164"/>
                      </a:lnTo>
                      <a:lnTo>
                        <a:pt x="1082" y="2152"/>
                      </a:lnTo>
                      <a:lnTo>
                        <a:pt x="1097" y="2138"/>
                      </a:lnTo>
                      <a:lnTo>
                        <a:pt x="1112" y="2125"/>
                      </a:lnTo>
                      <a:lnTo>
                        <a:pt x="1127" y="2110"/>
                      </a:lnTo>
                      <a:lnTo>
                        <a:pt x="1142" y="2094"/>
                      </a:lnTo>
                      <a:lnTo>
                        <a:pt x="1155" y="2077"/>
                      </a:lnTo>
                      <a:lnTo>
                        <a:pt x="1168" y="2060"/>
                      </a:lnTo>
                      <a:lnTo>
                        <a:pt x="1180" y="2042"/>
                      </a:lnTo>
                      <a:lnTo>
                        <a:pt x="1192" y="2023"/>
                      </a:lnTo>
                      <a:lnTo>
                        <a:pt x="1204" y="2003"/>
                      </a:lnTo>
                      <a:lnTo>
                        <a:pt x="1214" y="1982"/>
                      </a:lnTo>
                      <a:lnTo>
                        <a:pt x="1224" y="1982"/>
                      </a:lnTo>
                      <a:lnTo>
                        <a:pt x="1224" y="2235"/>
                      </a:lnTo>
                      <a:lnTo>
                        <a:pt x="1711" y="2235"/>
                      </a:lnTo>
                      <a:close/>
                      <a:moveTo>
                        <a:pt x="1224" y="1272"/>
                      </a:moveTo>
                      <a:lnTo>
                        <a:pt x="1224" y="1298"/>
                      </a:lnTo>
                      <a:lnTo>
                        <a:pt x="1223" y="1325"/>
                      </a:lnTo>
                      <a:lnTo>
                        <a:pt x="1220" y="1352"/>
                      </a:lnTo>
                      <a:lnTo>
                        <a:pt x="1218" y="1379"/>
                      </a:lnTo>
                      <a:lnTo>
                        <a:pt x="1215" y="1408"/>
                      </a:lnTo>
                      <a:lnTo>
                        <a:pt x="1211" y="1436"/>
                      </a:lnTo>
                      <a:lnTo>
                        <a:pt x="1206" y="1463"/>
                      </a:lnTo>
                      <a:lnTo>
                        <a:pt x="1200" y="1492"/>
                      </a:lnTo>
                      <a:lnTo>
                        <a:pt x="1194" y="1520"/>
                      </a:lnTo>
                      <a:lnTo>
                        <a:pt x="1187" y="1547"/>
                      </a:lnTo>
                      <a:lnTo>
                        <a:pt x="1178" y="1574"/>
                      </a:lnTo>
                      <a:lnTo>
                        <a:pt x="1169" y="1602"/>
                      </a:lnTo>
                      <a:lnTo>
                        <a:pt x="1159" y="1628"/>
                      </a:lnTo>
                      <a:lnTo>
                        <a:pt x="1148" y="1654"/>
                      </a:lnTo>
                      <a:lnTo>
                        <a:pt x="1136" y="1679"/>
                      </a:lnTo>
                      <a:lnTo>
                        <a:pt x="1124" y="1704"/>
                      </a:lnTo>
                      <a:lnTo>
                        <a:pt x="1110" y="1727"/>
                      </a:lnTo>
                      <a:lnTo>
                        <a:pt x="1095" y="1750"/>
                      </a:lnTo>
                      <a:lnTo>
                        <a:pt x="1079" y="1772"/>
                      </a:lnTo>
                      <a:lnTo>
                        <a:pt x="1062" y="1793"/>
                      </a:lnTo>
                      <a:lnTo>
                        <a:pt x="1044" y="1813"/>
                      </a:lnTo>
                      <a:lnTo>
                        <a:pt x="1025" y="1831"/>
                      </a:lnTo>
                      <a:lnTo>
                        <a:pt x="1004" y="1849"/>
                      </a:lnTo>
                      <a:lnTo>
                        <a:pt x="983" y="1864"/>
                      </a:lnTo>
                      <a:lnTo>
                        <a:pt x="961" y="1878"/>
                      </a:lnTo>
                      <a:lnTo>
                        <a:pt x="937" y="1891"/>
                      </a:lnTo>
                      <a:lnTo>
                        <a:pt x="911" y="1901"/>
                      </a:lnTo>
                      <a:lnTo>
                        <a:pt x="885" y="1911"/>
                      </a:lnTo>
                      <a:lnTo>
                        <a:pt x="858" y="1918"/>
                      </a:lnTo>
                      <a:lnTo>
                        <a:pt x="829" y="1923"/>
                      </a:lnTo>
                      <a:lnTo>
                        <a:pt x="799" y="1927"/>
                      </a:lnTo>
                      <a:lnTo>
                        <a:pt x="768" y="1928"/>
                      </a:lnTo>
                      <a:lnTo>
                        <a:pt x="753" y="1927"/>
                      </a:lnTo>
                      <a:lnTo>
                        <a:pt x="737" y="1927"/>
                      </a:lnTo>
                      <a:lnTo>
                        <a:pt x="722" y="1924"/>
                      </a:lnTo>
                      <a:lnTo>
                        <a:pt x="707" y="1923"/>
                      </a:lnTo>
                      <a:lnTo>
                        <a:pt x="694" y="1921"/>
                      </a:lnTo>
                      <a:lnTo>
                        <a:pt x="680" y="1918"/>
                      </a:lnTo>
                      <a:lnTo>
                        <a:pt x="666" y="1915"/>
                      </a:lnTo>
                      <a:lnTo>
                        <a:pt x="654" y="1911"/>
                      </a:lnTo>
                      <a:lnTo>
                        <a:pt x="641" y="1907"/>
                      </a:lnTo>
                      <a:lnTo>
                        <a:pt x="630" y="1901"/>
                      </a:lnTo>
                      <a:lnTo>
                        <a:pt x="618" y="1896"/>
                      </a:lnTo>
                      <a:lnTo>
                        <a:pt x="608" y="1890"/>
                      </a:lnTo>
                      <a:lnTo>
                        <a:pt x="597" y="1884"/>
                      </a:lnTo>
                      <a:lnTo>
                        <a:pt x="587" y="1877"/>
                      </a:lnTo>
                      <a:lnTo>
                        <a:pt x="577" y="1870"/>
                      </a:lnTo>
                      <a:lnTo>
                        <a:pt x="569" y="1862"/>
                      </a:lnTo>
                      <a:lnTo>
                        <a:pt x="560" y="1853"/>
                      </a:lnTo>
                      <a:lnTo>
                        <a:pt x="552" y="1845"/>
                      </a:lnTo>
                      <a:lnTo>
                        <a:pt x="545" y="1835"/>
                      </a:lnTo>
                      <a:lnTo>
                        <a:pt x="538" y="1825"/>
                      </a:lnTo>
                      <a:lnTo>
                        <a:pt x="531" y="1814"/>
                      </a:lnTo>
                      <a:lnTo>
                        <a:pt x="526" y="1804"/>
                      </a:lnTo>
                      <a:lnTo>
                        <a:pt x="520" y="1792"/>
                      </a:lnTo>
                      <a:lnTo>
                        <a:pt x="515" y="1780"/>
                      </a:lnTo>
                      <a:lnTo>
                        <a:pt x="511" y="1767"/>
                      </a:lnTo>
                      <a:lnTo>
                        <a:pt x="507" y="1755"/>
                      </a:lnTo>
                      <a:lnTo>
                        <a:pt x="504" y="1741"/>
                      </a:lnTo>
                      <a:lnTo>
                        <a:pt x="501" y="1726"/>
                      </a:lnTo>
                      <a:lnTo>
                        <a:pt x="499" y="1713"/>
                      </a:lnTo>
                      <a:lnTo>
                        <a:pt x="498" y="1697"/>
                      </a:lnTo>
                      <a:lnTo>
                        <a:pt x="497" y="1681"/>
                      </a:lnTo>
                      <a:lnTo>
                        <a:pt x="497" y="1666"/>
                      </a:lnTo>
                      <a:lnTo>
                        <a:pt x="498" y="1635"/>
                      </a:lnTo>
                      <a:lnTo>
                        <a:pt x="502" y="1607"/>
                      </a:lnTo>
                      <a:lnTo>
                        <a:pt x="509" y="1580"/>
                      </a:lnTo>
                      <a:lnTo>
                        <a:pt x="518" y="1553"/>
                      </a:lnTo>
                      <a:lnTo>
                        <a:pt x="530" y="1529"/>
                      </a:lnTo>
                      <a:lnTo>
                        <a:pt x="542" y="1506"/>
                      </a:lnTo>
                      <a:lnTo>
                        <a:pt x="558" y="1485"/>
                      </a:lnTo>
                      <a:lnTo>
                        <a:pt x="576" y="1464"/>
                      </a:lnTo>
                      <a:lnTo>
                        <a:pt x="595" y="1445"/>
                      </a:lnTo>
                      <a:lnTo>
                        <a:pt x="616" y="1428"/>
                      </a:lnTo>
                      <a:lnTo>
                        <a:pt x="639" y="1411"/>
                      </a:lnTo>
                      <a:lnTo>
                        <a:pt x="662" y="1396"/>
                      </a:lnTo>
                      <a:lnTo>
                        <a:pt x="687" y="1382"/>
                      </a:lnTo>
                      <a:lnTo>
                        <a:pt x="714" y="1368"/>
                      </a:lnTo>
                      <a:lnTo>
                        <a:pt x="741" y="1356"/>
                      </a:lnTo>
                      <a:lnTo>
                        <a:pt x="768" y="1345"/>
                      </a:lnTo>
                      <a:lnTo>
                        <a:pt x="798" y="1334"/>
                      </a:lnTo>
                      <a:lnTo>
                        <a:pt x="826" y="1325"/>
                      </a:lnTo>
                      <a:lnTo>
                        <a:pt x="857" y="1317"/>
                      </a:lnTo>
                      <a:lnTo>
                        <a:pt x="886" y="1309"/>
                      </a:lnTo>
                      <a:lnTo>
                        <a:pt x="917" y="1302"/>
                      </a:lnTo>
                      <a:lnTo>
                        <a:pt x="947" y="1297"/>
                      </a:lnTo>
                      <a:lnTo>
                        <a:pt x="978" y="1291"/>
                      </a:lnTo>
                      <a:lnTo>
                        <a:pt x="1007" y="1286"/>
                      </a:lnTo>
                      <a:lnTo>
                        <a:pt x="1066" y="1279"/>
                      </a:lnTo>
                      <a:lnTo>
                        <a:pt x="1123" y="1275"/>
                      </a:lnTo>
                      <a:lnTo>
                        <a:pt x="1175" y="1272"/>
                      </a:lnTo>
                      <a:lnTo>
                        <a:pt x="1224" y="1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1" name="Freeform 6"/>
                <p:cNvSpPr>
                  <a:spLocks/>
                </p:cNvSpPr>
                <p:nvPr userDrawn="1"/>
              </p:nvSpPr>
              <p:spPr bwMode="auto">
                <a:xfrm>
                  <a:off x="1211263" y="2555875"/>
                  <a:ext cx="265112" cy="330200"/>
                </a:xfrm>
                <a:custGeom>
                  <a:avLst/>
                  <a:gdLst/>
                  <a:ahLst/>
                  <a:cxnLst>
                    <a:cxn ang="0">
                      <a:pos x="1287"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2" y="497"/>
                    </a:cxn>
                    <a:cxn ang="0">
                      <a:pos x="619" y="581"/>
                    </a:cxn>
                    <a:cxn ang="0">
                      <a:pos x="582" y="676"/>
                    </a:cxn>
                    <a:cxn ang="0">
                      <a:pos x="558" y="777"/>
                    </a:cxn>
                    <a:cxn ang="0">
                      <a:pos x="546" y="880"/>
                    </a:cxn>
                    <a:cxn ang="0">
                      <a:pos x="544" y="1006"/>
                    </a:cxn>
                    <a:cxn ang="0">
                      <a:pos x="566" y="1202"/>
                    </a:cxn>
                    <a:cxn ang="0">
                      <a:pos x="617" y="1383"/>
                    </a:cxn>
                    <a:cxn ang="0">
                      <a:pos x="698" y="1543"/>
                    </a:cxn>
                    <a:cxn ang="0">
                      <a:pos x="805" y="1679"/>
                    </a:cxn>
                    <a:cxn ang="0">
                      <a:pos x="941" y="1789"/>
                    </a:cxn>
                    <a:cxn ang="0">
                      <a:pos x="1102" y="1870"/>
                    </a:cxn>
                    <a:cxn ang="0">
                      <a:pos x="1288" y="1916"/>
                    </a:cxn>
                    <a:cxn ang="0">
                      <a:pos x="1491" y="1927"/>
                    </a:cxn>
                    <a:cxn ang="0">
                      <a:pos x="1653" y="1912"/>
                    </a:cxn>
                    <a:cxn ang="0">
                      <a:pos x="1745" y="1893"/>
                    </a:cxn>
                    <a:cxn ang="0">
                      <a:pos x="1812" y="2184"/>
                    </a:cxn>
                    <a:cxn ang="0">
                      <a:pos x="1656" y="2227"/>
                    </a:cxn>
                    <a:cxn ang="0">
                      <a:pos x="1496" y="2259"/>
                    </a:cxn>
                    <a:cxn ang="0">
                      <a:pos x="1335" y="2279"/>
                    </a:cxn>
                    <a:cxn ang="0">
                      <a:pos x="1173" y="2285"/>
                    </a:cxn>
                    <a:cxn ang="0">
                      <a:pos x="898" y="2263"/>
                    </a:cxn>
                    <a:cxn ang="0">
                      <a:pos x="659" y="2199"/>
                    </a:cxn>
                    <a:cxn ang="0">
                      <a:pos x="458" y="2094"/>
                    </a:cxn>
                    <a:cxn ang="0">
                      <a:pos x="293" y="1952"/>
                    </a:cxn>
                    <a:cxn ang="0">
                      <a:pos x="165" y="1772"/>
                    </a:cxn>
                    <a:cxn ang="0">
                      <a:pos x="73" y="1561"/>
                    </a:cxn>
                    <a:cxn ang="0">
                      <a:pos x="18" y="1319"/>
                    </a:cxn>
                    <a:cxn ang="0">
                      <a:pos x="0" y="1046"/>
                    </a:cxn>
                    <a:cxn ang="0">
                      <a:pos x="16" y="820"/>
                    </a:cxn>
                    <a:cxn ang="0">
                      <a:pos x="64" y="616"/>
                    </a:cxn>
                    <a:cxn ang="0">
                      <a:pos x="144" y="437"/>
                    </a:cxn>
                    <a:cxn ang="0">
                      <a:pos x="255" y="286"/>
                    </a:cxn>
                    <a:cxn ang="0">
                      <a:pos x="396" y="165"/>
                    </a:cxn>
                    <a:cxn ang="0">
                      <a:pos x="569" y="75"/>
                    </a:cxn>
                    <a:cxn ang="0">
                      <a:pos x="771" y="19"/>
                    </a:cxn>
                    <a:cxn ang="0">
                      <a:pos x="1003" y="0"/>
                    </a:cxn>
                    <a:cxn ang="0">
                      <a:pos x="1192" y="13"/>
                    </a:cxn>
                    <a:cxn ang="0">
                      <a:pos x="1358" y="49"/>
                    </a:cxn>
                    <a:cxn ang="0">
                      <a:pos x="1501" y="111"/>
                    </a:cxn>
                    <a:cxn ang="0">
                      <a:pos x="1619" y="198"/>
                    </a:cxn>
                    <a:cxn ang="0">
                      <a:pos x="1713" y="310"/>
                    </a:cxn>
                    <a:cxn ang="0">
                      <a:pos x="1781" y="448"/>
                    </a:cxn>
                    <a:cxn ang="0">
                      <a:pos x="1822" y="610"/>
                    </a:cxn>
                    <a:cxn ang="0">
                      <a:pos x="1836" y="799"/>
                    </a:cxn>
                  </a:cxnLst>
                  <a:rect l="0" t="0" r="r" b="b"/>
                  <a:pathLst>
                    <a:path w="1836" h="2285">
                      <a:moveTo>
                        <a:pt x="1293" y="799"/>
                      </a:moveTo>
                      <a:lnTo>
                        <a:pt x="1292" y="757"/>
                      </a:lnTo>
                      <a:lnTo>
                        <a:pt x="1289" y="715"/>
                      </a:lnTo>
                      <a:lnTo>
                        <a:pt x="1287" y="695"/>
                      </a:lnTo>
                      <a:lnTo>
                        <a:pt x="1285" y="675"/>
                      </a:lnTo>
                      <a:lnTo>
                        <a:pt x="1282" y="655"/>
                      </a:lnTo>
                      <a:lnTo>
                        <a:pt x="1278" y="635"/>
                      </a:lnTo>
                      <a:lnTo>
                        <a:pt x="1274" y="616"/>
                      </a:lnTo>
                      <a:lnTo>
                        <a:pt x="1270" y="598"/>
                      </a:lnTo>
                      <a:lnTo>
                        <a:pt x="1264" y="579"/>
                      </a:lnTo>
                      <a:lnTo>
                        <a:pt x="1258" y="561"/>
                      </a:lnTo>
                      <a:lnTo>
                        <a:pt x="1251" y="543"/>
                      </a:lnTo>
                      <a:lnTo>
                        <a:pt x="1244" y="526"/>
                      </a:lnTo>
                      <a:lnTo>
                        <a:pt x="1236" y="511"/>
                      </a:lnTo>
                      <a:lnTo>
                        <a:pt x="1227" y="494"/>
                      </a:lnTo>
                      <a:lnTo>
                        <a:pt x="1217" y="479"/>
                      </a:lnTo>
                      <a:lnTo>
                        <a:pt x="1207" y="464"/>
                      </a:lnTo>
                      <a:lnTo>
                        <a:pt x="1195" y="452"/>
                      </a:lnTo>
                      <a:lnTo>
                        <a:pt x="1184" y="438"/>
                      </a:lnTo>
                      <a:lnTo>
                        <a:pt x="1170" y="427"/>
                      </a:lnTo>
                      <a:lnTo>
                        <a:pt x="1156" y="415"/>
                      </a:lnTo>
                      <a:lnTo>
                        <a:pt x="1142" y="405"/>
                      </a:lnTo>
                      <a:lnTo>
                        <a:pt x="1126" y="395"/>
                      </a:lnTo>
                      <a:lnTo>
                        <a:pt x="1109" y="387"/>
                      </a:lnTo>
                      <a:lnTo>
                        <a:pt x="1091" y="380"/>
                      </a:lnTo>
                      <a:lnTo>
                        <a:pt x="1072" y="373"/>
                      </a:lnTo>
                      <a:lnTo>
                        <a:pt x="1052" y="368"/>
                      </a:lnTo>
                      <a:lnTo>
                        <a:pt x="1031" y="364"/>
                      </a:lnTo>
                      <a:lnTo>
                        <a:pt x="1009" y="361"/>
                      </a:lnTo>
                      <a:lnTo>
                        <a:pt x="986" y="359"/>
                      </a:lnTo>
                      <a:lnTo>
                        <a:pt x="962" y="359"/>
                      </a:lnTo>
                      <a:lnTo>
                        <a:pt x="931" y="360"/>
                      </a:lnTo>
                      <a:lnTo>
                        <a:pt x="904" y="362"/>
                      </a:lnTo>
                      <a:lnTo>
                        <a:pt x="877" y="367"/>
                      </a:lnTo>
                      <a:lnTo>
                        <a:pt x="851" y="373"/>
                      </a:lnTo>
                      <a:lnTo>
                        <a:pt x="826" y="382"/>
                      </a:lnTo>
                      <a:lnTo>
                        <a:pt x="803" y="391"/>
                      </a:lnTo>
                      <a:lnTo>
                        <a:pt x="781" y="403"/>
                      </a:lnTo>
                      <a:lnTo>
                        <a:pt x="760" y="415"/>
                      </a:lnTo>
                      <a:lnTo>
                        <a:pt x="740" y="429"/>
                      </a:lnTo>
                      <a:lnTo>
                        <a:pt x="721" y="445"/>
                      </a:lnTo>
                      <a:lnTo>
                        <a:pt x="704" y="460"/>
                      </a:lnTo>
                      <a:lnTo>
                        <a:pt x="688" y="478"/>
                      </a:lnTo>
                      <a:lnTo>
                        <a:pt x="672" y="497"/>
                      </a:lnTo>
                      <a:lnTo>
                        <a:pt x="657" y="517"/>
                      </a:lnTo>
                      <a:lnTo>
                        <a:pt x="643" y="537"/>
                      </a:lnTo>
                      <a:lnTo>
                        <a:pt x="631" y="559"/>
                      </a:lnTo>
                      <a:lnTo>
                        <a:pt x="619" y="581"/>
                      </a:lnTo>
                      <a:lnTo>
                        <a:pt x="609" y="604"/>
                      </a:lnTo>
                      <a:lnTo>
                        <a:pt x="599" y="627"/>
                      </a:lnTo>
                      <a:lnTo>
                        <a:pt x="590" y="651"/>
                      </a:lnTo>
                      <a:lnTo>
                        <a:pt x="582" y="676"/>
                      </a:lnTo>
                      <a:lnTo>
                        <a:pt x="575" y="700"/>
                      </a:lnTo>
                      <a:lnTo>
                        <a:pt x="569" y="725"/>
                      </a:lnTo>
                      <a:lnTo>
                        <a:pt x="563" y="752"/>
                      </a:lnTo>
                      <a:lnTo>
                        <a:pt x="558" y="777"/>
                      </a:lnTo>
                      <a:lnTo>
                        <a:pt x="554" y="803"/>
                      </a:lnTo>
                      <a:lnTo>
                        <a:pt x="550" y="828"/>
                      </a:lnTo>
                      <a:lnTo>
                        <a:pt x="548" y="854"/>
                      </a:lnTo>
                      <a:lnTo>
                        <a:pt x="546" y="880"/>
                      </a:lnTo>
                      <a:lnTo>
                        <a:pt x="544" y="905"/>
                      </a:lnTo>
                      <a:lnTo>
                        <a:pt x="543" y="930"/>
                      </a:lnTo>
                      <a:lnTo>
                        <a:pt x="543" y="955"/>
                      </a:lnTo>
                      <a:lnTo>
                        <a:pt x="544" y="1006"/>
                      </a:lnTo>
                      <a:lnTo>
                        <a:pt x="547" y="1057"/>
                      </a:lnTo>
                      <a:lnTo>
                        <a:pt x="551" y="1106"/>
                      </a:lnTo>
                      <a:lnTo>
                        <a:pt x="557" y="1155"/>
                      </a:lnTo>
                      <a:lnTo>
                        <a:pt x="566" y="1202"/>
                      </a:lnTo>
                      <a:lnTo>
                        <a:pt x="576" y="1250"/>
                      </a:lnTo>
                      <a:lnTo>
                        <a:pt x="588" y="1295"/>
                      </a:lnTo>
                      <a:lnTo>
                        <a:pt x="602" y="1339"/>
                      </a:lnTo>
                      <a:lnTo>
                        <a:pt x="617" y="1383"/>
                      </a:lnTo>
                      <a:lnTo>
                        <a:pt x="635" y="1425"/>
                      </a:lnTo>
                      <a:lnTo>
                        <a:pt x="654" y="1465"/>
                      </a:lnTo>
                      <a:lnTo>
                        <a:pt x="675" y="1504"/>
                      </a:lnTo>
                      <a:lnTo>
                        <a:pt x="698" y="1543"/>
                      </a:lnTo>
                      <a:lnTo>
                        <a:pt x="722" y="1579"/>
                      </a:lnTo>
                      <a:lnTo>
                        <a:pt x="749" y="1614"/>
                      </a:lnTo>
                      <a:lnTo>
                        <a:pt x="776" y="1648"/>
                      </a:lnTo>
                      <a:lnTo>
                        <a:pt x="805" y="1679"/>
                      </a:lnTo>
                      <a:lnTo>
                        <a:pt x="837" y="1710"/>
                      </a:lnTo>
                      <a:lnTo>
                        <a:pt x="869" y="1738"/>
                      </a:lnTo>
                      <a:lnTo>
                        <a:pt x="904" y="1765"/>
                      </a:lnTo>
                      <a:lnTo>
                        <a:pt x="941" y="1789"/>
                      </a:lnTo>
                      <a:lnTo>
                        <a:pt x="979" y="1812"/>
                      </a:lnTo>
                      <a:lnTo>
                        <a:pt x="1018" y="1833"/>
                      </a:lnTo>
                      <a:lnTo>
                        <a:pt x="1059" y="1853"/>
                      </a:lnTo>
                      <a:lnTo>
                        <a:pt x="1102" y="1870"/>
                      </a:lnTo>
                      <a:lnTo>
                        <a:pt x="1146" y="1885"/>
                      </a:lnTo>
                      <a:lnTo>
                        <a:pt x="1192" y="1897"/>
                      </a:lnTo>
                      <a:lnTo>
                        <a:pt x="1239" y="1908"/>
                      </a:lnTo>
                      <a:lnTo>
                        <a:pt x="1288" y="1916"/>
                      </a:lnTo>
                      <a:lnTo>
                        <a:pt x="1338" y="1922"/>
                      </a:lnTo>
                      <a:lnTo>
                        <a:pt x="1391" y="1926"/>
                      </a:lnTo>
                      <a:lnTo>
                        <a:pt x="1444" y="1928"/>
                      </a:lnTo>
                      <a:lnTo>
                        <a:pt x="1491" y="1927"/>
                      </a:lnTo>
                      <a:lnTo>
                        <a:pt x="1537" y="1924"/>
                      </a:lnTo>
                      <a:lnTo>
                        <a:pt x="1584" y="1920"/>
                      </a:lnTo>
                      <a:lnTo>
                        <a:pt x="1631" y="1915"/>
                      </a:lnTo>
                      <a:lnTo>
                        <a:pt x="1653" y="1912"/>
                      </a:lnTo>
                      <a:lnTo>
                        <a:pt x="1676" y="1908"/>
                      </a:lnTo>
                      <a:lnTo>
                        <a:pt x="1699" y="1904"/>
                      </a:lnTo>
                      <a:lnTo>
                        <a:pt x="1722" y="1898"/>
                      </a:lnTo>
                      <a:lnTo>
                        <a:pt x="1745" y="1893"/>
                      </a:lnTo>
                      <a:lnTo>
                        <a:pt x="1767" y="1887"/>
                      </a:lnTo>
                      <a:lnTo>
                        <a:pt x="1790" y="1879"/>
                      </a:lnTo>
                      <a:lnTo>
                        <a:pt x="1812" y="1872"/>
                      </a:lnTo>
                      <a:lnTo>
                        <a:pt x="1812" y="2184"/>
                      </a:lnTo>
                      <a:lnTo>
                        <a:pt x="1773" y="2196"/>
                      </a:lnTo>
                      <a:lnTo>
                        <a:pt x="1735" y="2207"/>
                      </a:lnTo>
                      <a:lnTo>
                        <a:pt x="1695" y="2217"/>
                      </a:lnTo>
                      <a:lnTo>
                        <a:pt x="1656" y="2227"/>
                      </a:lnTo>
                      <a:lnTo>
                        <a:pt x="1616" y="2236"/>
                      </a:lnTo>
                      <a:lnTo>
                        <a:pt x="1576" y="2244"/>
                      </a:lnTo>
                      <a:lnTo>
                        <a:pt x="1536" y="2251"/>
                      </a:lnTo>
                      <a:lnTo>
                        <a:pt x="1496" y="2259"/>
                      </a:lnTo>
                      <a:lnTo>
                        <a:pt x="1456" y="2265"/>
                      </a:lnTo>
                      <a:lnTo>
                        <a:pt x="1416" y="2270"/>
                      </a:lnTo>
                      <a:lnTo>
                        <a:pt x="1375" y="2275"/>
                      </a:lnTo>
                      <a:lnTo>
                        <a:pt x="1335" y="2279"/>
                      </a:lnTo>
                      <a:lnTo>
                        <a:pt x="1294" y="2281"/>
                      </a:lnTo>
                      <a:lnTo>
                        <a:pt x="1254" y="2283"/>
                      </a:lnTo>
                      <a:lnTo>
                        <a:pt x="1213" y="2285"/>
                      </a:lnTo>
                      <a:lnTo>
                        <a:pt x="1173" y="2285"/>
                      </a:lnTo>
                      <a:lnTo>
                        <a:pt x="1101" y="2284"/>
                      </a:lnTo>
                      <a:lnTo>
                        <a:pt x="1031" y="2280"/>
                      </a:lnTo>
                      <a:lnTo>
                        <a:pt x="963" y="2272"/>
                      </a:lnTo>
                      <a:lnTo>
                        <a:pt x="898" y="2263"/>
                      </a:lnTo>
                      <a:lnTo>
                        <a:pt x="835" y="2250"/>
                      </a:lnTo>
                      <a:lnTo>
                        <a:pt x="774" y="2236"/>
                      </a:lnTo>
                      <a:lnTo>
                        <a:pt x="716" y="2219"/>
                      </a:lnTo>
                      <a:lnTo>
                        <a:pt x="659" y="2199"/>
                      </a:lnTo>
                      <a:lnTo>
                        <a:pt x="606" y="2176"/>
                      </a:lnTo>
                      <a:lnTo>
                        <a:pt x="554" y="2151"/>
                      </a:lnTo>
                      <a:lnTo>
                        <a:pt x="505" y="2124"/>
                      </a:lnTo>
                      <a:lnTo>
                        <a:pt x="458" y="2094"/>
                      </a:lnTo>
                      <a:lnTo>
                        <a:pt x="413" y="2062"/>
                      </a:lnTo>
                      <a:lnTo>
                        <a:pt x="371" y="2027"/>
                      </a:lnTo>
                      <a:lnTo>
                        <a:pt x="331" y="1990"/>
                      </a:lnTo>
                      <a:lnTo>
                        <a:pt x="293" y="1952"/>
                      </a:lnTo>
                      <a:lnTo>
                        <a:pt x="258" y="1910"/>
                      </a:lnTo>
                      <a:lnTo>
                        <a:pt x="224" y="1867"/>
                      </a:lnTo>
                      <a:lnTo>
                        <a:pt x="194" y="1821"/>
                      </a:lnTo>
                      <a:lnTo>
                        <a:pt x="165" y="1772"/>
                      </a:lnTo>
                      <a:lnTo>
                        <a:pt x="139" y="1723"/>
                      </a:lnTo>
                      <a:lnTo>
                        <a:pt x="115" y="1671"/>
                      </a:lnTo>
                      <a:lnTo>
                        <a:pt x="93" y="1617"/>
                      </a:lnTo>
                      <a:lnTo>
                        <a:pt x="73" y="1561"/>
                      </a:lnTo>
                      <a:lnTo>
                        <a:pt x="56" y="1503"/>
                      </a:lnTo>
                      <a:lnTo>
                        <a:pt x="41" y="1443"/>
                      </a:lnTo>
                      <a:lnTo>
                        <a:pt x="29" y="1382"/>
                      </a:lnTo>
                      <a:lnTo>
                        <a:pt x="18" y="1319"/>
                      </a:lnTo>
                      <a:lnTo>
                        <a:pt x="11" y="1253"/>
                      </a:lnTo>
                      <a:lnTo>
                        <a:pt x="4" y="1186"/>
                      </a:lnTo>
                      <a:lnTo>
                        <a:pt x="1" y="1117"/>
                      </a:lnTo>
                      <a:lnTo>
                        <a:pt x="0" y="1046"/>
                      </a:lnTo>
                      <a:lnTo>
                        <a:pt x="1" y="987"/>
                      </a:lnTo>
                      <a:lnTo>
                        <a:pt x="4" y="931"/>
                      </a:lnTo>
                      <a:lnTo>
                        <a:pt x="9" y="874"/>
                      </a:lnTo>
                      <a:lnTo>
                        <a:pt x="16" y="820"/>
                      </a:lnTo>
                      <a:lnTo>
                        <a:pt x="25" y="766"/>
                      </a:lnTo>
                      <a:lnTo>
                        <a:pt x="36" y="715"/>
                      </a:lnTo>
                      <a:lnTo>
                        <a:pt x="48" y="665"/>
                      </a:lnTo>
                      <a:lnTo>
                        <a:pt x="64" y="616"/>
                      </a:lnTo>
                      <a:lnTo>
                        <a:pt x="81" y="569"/>
                      </a:lnTo>
                      <a:lnTo>
                        <a:pt x="100" y="523"/>
                      </a:lnTo>
                      <a:lnTo>
                        <a:pt x="121" y="479"/>
                      </a:lnTo>
                      <a:lnTo>
                        <a:pt x="144" y="437"/>
                      </a:lnTo>
                      <a:lnTo>
                        <a:pt x="168" y="396"/>
                      </a:lnTo>
                      <a:lnTo>
                        <a:pt x="196" y="359"/>
                      </a:lnTo>
                      <a:lnTo>
                        <a:pt x="224" y="321"/>
                      </a:lnTo>
                      <a:lnTo>
                        <a:pt x="255" y="286"/>
                      </a:lnTo>
                      <a:lnTo>
                        <a:pt x="287" y="253"/>
                      </a:lnTo>
                      <a:lnTo>
                        <a:pt x="322" y="221"/>
                      </a:lnTo>
                      <a:lnTo>
                        <a:pt x="358" y="192"/>
                      </a:lnTo>
                      <a:lnTo>
                        <a:pt x="396" y="165"/>
                      </a:lnTo>
                      <a:lnTo>
                        <a:pt x="436" y="140"/>
                      </a:lnTo>
                      <a:lnTo>
                        <a:pt x="478" y="115"/>
                      </a:lnTo>
                      <a:lnTo>
                        <a:pt x="523" y="95"/>
                      </a:lnTo>
                      <a:lnTo>
                        <a:pt x="569" y="75"/>
                      </a:lnTo>
                      <a:lnTo>
                        <a:pt x="616" y="58"/>
                      </a:lnTo>
                      <a:lnTo>
                        <a:pt x="666" y="43"/>
                      </a:lnTo>
                      <a:lnTo>
                        <a:pt x="717" y="31"/>
                      </a:lnTo>
                      <a:lnTo>
                        <a:pt x="771" y="19"/>
                      </a:lnTo>
                      <a:lnTo>
                        <a:pt x="826" y="12"/>
                      </a:lnTo>
                      <a:lnTo>
                        <a:pt x="883" y="5"/>
                      </a:lnTo>
                      <a:lnTo>
                        <a:pt x="942" y="1"/>
                      </a:lnTo>
                      <a:lnTo>
                        <a:pt x="1003" y="0"/>
                      </a:lnTo>
                      <a:lnTo>
                        <a:pt x="1052" y="1"/>
                      </a:lnTo>
                      <a:lnTo>
                        <a:pt x="1100" y="3"/>
                      </a:lnTo>
                      <a:lnTo>
                        <a:pt x="1147" y="8"/>
                      </a:lnTo>
                      <a:lnTo>
                        <a:pt x="1192" y="13"/>
                      </a:lnTo>
                      <a:lnTo>
                        <a:pt x="1235" y="20"/>
                      </a:lnTo>
                      <a:lnTo>
                        <a:pt x="1277" y="28"/>
                      </a:lnTo>
                      <a:lnTo>
                        <a:pt x="1318" y="38"/>
                      </a:lnTo>
                      <a:lnTo>
                        <a:pt x="1358" y="49"/>
                      </a:lnTo>
                      <a:lnTo>
                        <a:pt x="1396" y="63"/>
                      </a:lnTo>
                      <a:lnTo>
                        <a:pt x="1432" y="78"/>
                      </a:lnTo>
                      <a:lnTo>
                        <a:pt x="1468" y="93"/>
                      </a:lnTo>
                      <a:lnTo>
                        <a:pt x="1501" y="111"/>
                      </a:lnTo>
                      <a:lnTo>
                        <a:pt x="1533" y="131"/>
                      </a:lnTo>
                      <a:lnTo>
                        <a:pt x="1563" y="152"/>
                      </a:lnTo>
                      <a:lnTo>
                        <a:pt x="1592" y="174"/>
                      </a:lnTo>
                      <a:lnTo>
                        <a:pt x="1619" y="198"/>
                      </a:lnTo>
                      <a:lnTo>
                        <a:pt x="1645" y="224"/>
                      </a:lnTo>
                      <a:lnTo>
                        <a:pt x="1669" y="252"/>
                      </a:lnTo>
                      <a:lnTo>
                        <a:pt x="1691" y="280"/>
                      </a:lnTo>
                      <a:lnTo>
                        <a:pt x="1713" y="310"/>
                      </a:lnTo>
                      <a:lnTo>
                        <a:pt x="1732" y="342"/>
                      </a:lnTo>
                      <a:lnTo>
                        <a:pt x="1749" y="375"/>
                      </a:lnTo>
                      <a:lnTo>
                        <a:pt x="1766" y="411"/>
                      </a:lnTo>
                      <a:lnTo>
                        <a:pt x="1781" y="448"/>
                      </a:lnTo>
                      <a:lnTo>
                        <a:pt x="1793" y="485"/>
                      </a:lnTo>
                      <a:lnTo>
                        <a:pt x="1804" y="526"/>
                      </a:lnTo>
                      <a:lnTo>
                        <a:pt x="1813" y="567"/>
                      </a:lnTo>
                      <a:lnTo>
                        <a:pt x="1822" y="610"/>
                      </a:lnTo>
                      <a:lnTo>
                        <a:pt x="1827" y="655"/>
                      </a:lnTo>
                      <a:lnTo>
                        <a:pt x="1832" y="701"/>
                      </a:lnTo>
                      <a:lnTo>
                        <a:pt x="1834" y="750"/>
                      </a:lnTo>
                      <a:lnTo>
                        <a:pt x="1836" y="799"/>
                      </a:lnTo>
                      <a:lnTo>
                        <a:pt x="1293"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2" name="Freeform 7"/>
                <p:cNvSpPr>
                  <a:spLocks/>
                </p:cNvSpPr>
                <p:nvPr userDrawn="1"/>
              </p:nvSpPr>
              <p:spPr bwMode="auto">
                <a:xfrm>
                  <a:off x="1493838" y="2555875"/>
                  <a:ext cx="265112" cy="330200"/>
                </a:xfrm>
                <a:custGeom>
                  <a:avLst/>
                  <a:gdLst/>
                  <a:ahLst/>
                  <a:cxnLst>
                    <a:cxn ang="0">
                      <a:pos x="1286"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1" y="497"/>
                    </a:cxn>
                    <a:cxn ang="0">
                      <a:pos x="619" y="581"/>
                    </a:cxn>
                    <a:cxn ang="0">
                      <a:pos x="582" y="676"/>
                    </a:cxn>
                    <a:cxn ang="0">
                      <a:pos x="558" y="777"/>
                    </a:cxn>
                    <a:cxn ang="0">
                      <a:pos x="545" y="880"/>
                    </a:cxn>
                    <a:cxn ang="0">
                      <a:pos x="543" y="1006"/>
                    </a:cxn>
                    <a:cxn ang="0">
                      <a:pos x="565" y="1202"/>
                    </a:cxn>
                    <a:cxn ang="0">
                      <a:pos x="617" y="1383"/>
                    </a:cxn>
                    <a:cxn ang="0">
                      <a:pos x="698" y="1543"/>
                    </a:cxn>
                    <a:cxn ang="0">
                      <a:pos x="805" y="1679"/>
                    </a:cxn>
                    <a:cxn ang="0">
                      <a:pos x="940" y="1789"/>
                    </a:cxn>
                    <a:cxn ang="0">
                      <a:pos x="1101" y="1870"/>
                    </a:cxn>
                    <a:cxn ang="0">
                      <a:pos x="1287" y="1916"/>
                    </a:cxn>
                    <a:cxn ang="0">
                      <a:pos x="1490" y="1927"/>
                    </a:cxn>
                    <a:cxn ang="0">
                      <a:pos x="1652" y="1912"/>
                    </a:cxn>
                    <a:cxn ang="0">
                      <a:pos x="1744" y="1893"/>
                    </a:cxn>
                    <a:cxn ang="0">
                      <a:pos x="1812" y="2184"/>
                    </a:cxn>
                    <a:cxn ang="0">
                      <a:pos x="1655" y="2227"/>
                    </a:cxn>
                    <a:cxn ang="0">
                      <a:pos x="1495" y="2259"/>
                    </a:cxn>
                    <a:cxn ang="0">
                      <a:pos x="1335" y="2279"/>
                    </a:cxn>
                    <a:cxn ang="0">
                      <a:pos x="1173" y="2285"/>
                    </a:cxn>
                    <a:cxn ang="0">
                      <a:pos x="897" y="2263"/>
                    </a:cxn>
                    <a:cxn ang="0">
                      <a:pos x="659" y="2199"/>
                    </a:cxn>
                    <a:cxn ang="0">
                      <a:pos x="458" y="2094"/>
                    </a:cxn>
                    <a:cxn ang="0">
                      <a:pos x="293" y="1952"/>
                    </a:cxn>
                    <a:cxn ang="0">
                      <a:pos x="165" y="1772"/>
                    </a:cxn>
                    <a:cxn ang="0">
                      <a:pos x="72" y="1561"/>
                    </a:cxn>
                    <a:cxn ang="0">
                      <a:pos x="18" y="1319"/>
                    </a:cxn>
                    <a:cxn ang="0">
                      <a:pos x="0" y="1046"/>
                    </a:cxn>
                    <a:cxn ang="0">
                      <a:pos x="15" y="820"/>
                    </a:cxn>
                    <a:cxn ang="0">
                      <a:pos x="64" y="616"/>
                    </a:cxn>
                    <a:cxn ang="0">
                      <a:pos x="143" y="437"/>
                    </a:cxn>
                    <a:cxn ang="0">
                      <a:pos x="254" y="286"/>
                    </a:cxn>
                    <a:cxn ang="0">
                      <a:pos x="396" y="165"/>
                    </a:cxn>
                    <a:cxn ang="0">
                      <a:pos x="568" y="75"/>
                    </a:cxn>
                    <a:cxn ang="0">
                      <a:pos x="770" y="19"/>
                    </a:cxn>
                    <a:cxn ang="0">
                      <a:pos x="1002" y="0"/>
                    </a:cxn>
                    <a:cxn ang="0">
                      <a:pos x="1191" y="13"/>
                    </a:cxn>
                    <a:cxn ang="0">
                      <a:pos x="1358" y="49"/>
                    </a:cxn>
                    <a:cxn ang="0">
                      <a:pos x="1500" y="111"/>
                    </a:cxn>
                    <a:cxn ang="0">
                      <a:pos x="1618" y="198"/>
                    </a:cxn>
                    <a:cxn ang="0">
                      <a:pos x="1712" y="310"/>
                    </a:cxn>
                    <a:cxn ang="0">
                      <a:pos x="1779" y="448"/>
                    </a:cxn>
                    <a:cxn ang="0">
                      <a:pos x="1821" y="610"/>
                    </a:cxn>
                    <a:cxn ang="0">
                      <a:pos x="1835" y="799"/>
                    </a:cxn>
                  </a:cxnLst>
                  <a:rect l="0" t="0" r="r" b="b"/>
                  <a:pathLst>
                    <a:path w="1835" h="2285">
                      <a:moveTo>
                        <a:pt x="1292" y="799"/>
                      </a:moveTo>
                      <a:lnTo>
                        <a:pt x="1292" y="757"/>
                      </a:lnTo>
                      <a:lnTo>
                        <a:pt x="1288" y="715"/>
                      </a:lnTo>
                      <a:lnTo>
                        <a:pt x="1286" y="695"/>
                      </a:lnTo>
                      <a:lnTo>
                        <a:pt x="1284" y="675"/>
                      </a:lnTo>
                      <a:lnTo>
                        <a:pt x="1281" y="655"/>
                      </a:lnTo>
                      <a:lnTo>
                        <a:pt x="1278" y="635"/>
                      </a:lnTo>
                      <a:lnTo>
                        <a:pt x="1274" y="616"/>
                      </a:lnTo>
                      <a:lnTo>
                        <a:pt x="1268" y="598"/>
                      </a:lnTo>
                      <a:lnTo>
                        <a:pt x="1263" y="579"/>
                      </a:lnTo>
                      <a:lnTo>
                        <a:pt x="1258" y="561"/>
                      </a:lnTo>
                      <a:lnTo>
                        <a:pt x="1251" y="543"/>
                      </a:lnTo>
                      <a:lnTo>
                        <a:pt x="1243" y="526"/>
                      </a:lnTo>
                      <a:lnTo>
                        <a:pt x="1235" y="511"/>
                      </a:lnTo>
                      <a:lnTo>
                        <a:pt x="1226" y="494"/>
                      </a:lnTo>
                      <a:lnTo>
                        <a:pt x="1217" y="479"/>
                      </a:lnTo>
                      <a:lnTo>
                        <a:pt x="1206" y="464"/>
                      </a:lnTo>
                      <a:lnTo>
                        <a:pt x="1195" y="452"/>
                      </a:lnTo>
                      <a:lnTo>
                        <a:pt x="1183" y="438"/>
                      </a:lnTo>
                      <a:lnTo>
                        <a:pt x="1170" y="427"/>
                      </a:lnTo>
                      <a:lnTo>
                        <a:pt x="1156" y="415"/>
                      </a:lnTo>
                      <a:lnTo>
                        <a:pt x="1141" y="405"/>
                      </a:lnTo>
                      <a:lnTo>
                        <a:pt x="1125" y="395"/>
                      </a:lnTo>
                      <a:lnTo>
                        <a:pt x="1109" y="387"/>
                      </a:lnTo>
                      <a:lnTo>
                        <a:pt x="1091" y="380"/>
                      </a:lnTo>
                      <a:lnTo>
                        <a:pt x="1072" y="373"/>
                      </a:lnTo>
                      <a:lnTo>
                        <a:pt x="1052" y="368"/>
                      </a:lnTo>
                      <a:lnTo>
                        <a:pt x="1031" y="364"/>
                      </a:lnTo>
                      <a:lnTo>
                        <a:pt x="1009" y="361"/>
                      </a:lnTo>
                      <a:lnTo>
                        <a:pt x="985" y="359"/>
                      </a:lnTo>
                      <a:lnTo>
                        <a:pt x="960" y="359"/>
                      </a:lnTo>
                      <a:lnTo>
                        <a:pt x="931" y="360"/>
                      </a:lnTo>
                      <a:lnTo>
                        <a:pt x="903" y="362"/>
                      </a:lnTo>
                      <a:lnTo>
                        <a:pt x="876" y="367"/>
                      </a:lnTo>
                      <a:lnTo>
                        <a:pt x="850" y="373"/>
                      </a:lnTo>
                      <a:lnTo>
                        <a:pt x="826" y="382"/>
                      </a:lnTo>
                      <a:lnTo>
                        <a:pt x="803" y="391"/>
                      </a:lnTo>
                      <a:lnTo>
                        <a:pt x="781" y="403"/>
                      </a:lnTo>
                      <a:lnTo>
                        <a:pt x="760" y="415"/>
                      </a:lnTo>
                      <a:lnTo>
                        <a:pt x="740" y="429"/>
                      </a:lnTo>
                      <a:lnTo>
                        <a:pt x="721" y="445"/>
                      </a:lnTo>
                      <a:lnTo>
                        <a:pt x="703" y="460"/>
                      </a:lnTo>
                      <a:lnTo>
                        <a:pt x="687" y="478"/>
                      </a:lnTo>
                      <a:lnTo>
                        <a:pt x="671" y="497"/>
                      </a:lnTo>
                      <a:lnTo>
                        <a:pt x="657" y="517"/>
                      </a:lnTo>
                      <a:lnTo>
                        <a:pt x="643" y="537"/>
                      </a:lnTo>
                      <a:lnTo>
                        <a:pt x="630" y="559"/>
                      </a:lnTo>
                      <a:lnTo>
                        <a:pt x="619" y="581"/>
                      </a:lnTo>
                      <a:lnTo>
                        <a:pt x="608" y="604"/>
                      </a:lnTo>
                      <a:lnTo>
                        <a:pt x="599" y="627"/>
                      </a:lnTo>
                      <a:lnTo>
                        <a:pt x="589" y="651"/>
                      </a:lnTo>
                      <a:lnTo>
                        <a:pt x="582" y="676"/>
                      </a:lnTo>
                      <a:lnTo>
                        <a:pt x="575" y="700"/>
                      </a:lnTo>
                      <a:lnTo>
                        <a:pt x="568" y="725"/>
                      </a:lnTo>
                      <a:lnTo>
                        <a:pt x="562" y="752"/>
                      </a:lnTo>
                      <a:lnTo>
                        <a:pt x="558" y="777"/>
                      </a:lnTo>
                      <a:lnTo>
                        <a:pt x="554" y="803"/>
                      </a:lnTo>
                      <a:lnTo>
                        <a:pt x="549" y="828"/>
                      </a:lnTo>
                      <a:lnTo>
                        <a:pt x="547" y="854"/>
                      </a:lnTo>
                      <a:lnTo>
                        <a:pt x="545" y="880"/>
                      </a:lnTo>
                      <a:lnTo>
                        <a:pt x="543" y="905"/>
                      </a:lnTo>
                      <a:lnTo>
                        <a:pt x="542" y="930"/>
                      </a:lnTo>
                      <a:lnTo>
                        <a:pt x="542" y="955"/>
                      </a:lnTo>
                      <a:lnTo>
                        <a:pt x="543" y="1006"/>
                      </a:lnTo>
                      <a:lnTo>
                        <a:pt x="546" y="1057"/>
                      </a:lnTo>
                      <a:lnTo>
                        <a:pt x="550" y="1106"/>
                      </a:lnTo>
                      <a:lnTo>
                        <a:pt x="557" y="1155"/>
                      </a:lnTo>
                      <a:lnTo>
                        <a:pt x="565" y="1202"/>
                      </a:lnTo>
                      <a:lnTo>
                        <a:pt x="576" y="1250"/>
                      </a:lnTo>
                      <a:lnTo>
                        <a:pt x="587" y="1295"/>
                      </a:lnTo>
                      <a:lnTo>
                        <a:pt x="602" y="1339"/>
                      </a:lnTo>
                      <a:lnTo>
                        <a:pt x="617" y="1383"/>
                      </a:lnTo>
                      <a:lnTo>
                        <a:pt x="635" y="1425"/>
                      </a:lnTo>
                      <a:lnTo>
                        <a:pt x="653" y="1465"/>
                      </a:lnTo>
                      <a:lnTo>
                        <a:pt x="675" y="1504"/>
                      </a:lnTo>
                      <a:lnTo>
                        <a:pt x="698" y="1543"/>
                      </a:lnTo>
                      <a:lnTo>
                        <a:pt x="722" y="1579"/>
                      </a:lnTo>
                      <a:lnTo>
                        <a:pt x="748" y="1614"/>
                      </a:lnTo>
                      <a:lnTo>
                        <a:pt x="775" y="1648"/>
                      </a:lnTo>
                      <a:lnTo>
                        <a:pt x="805" y="1679"/>
                      </a:lnTo>
                      <a:lnTo>
                        <a:pt x="836" y="1710"/>
                      </a:lnTo>
                      <a:lnTo>
                        <a:pt x="869" y="1738"/>
                      </a:lnTo>
                      <a:lnTo>
                        <a:pt x="904" y="1765"/>
                      </a:lnTo>
                      <a:lnTo>
                        <a:pt x="940" y="1789"/>
                      </a:lnTo>
                      <a:lnTo>
                        <a:pt x="978" y="1812"/>
                      </a:lnTo>
                      <a:lnTo>
                        <a:pt x="1017" y="1833"/>
                      </a:lnTo>
                      <a:lnTo>
                        <a:pt x="1058" y="1853"/>
                      </a:lnTo>
                      <a:lnTo>
                        <a:pt x="1101" y="1870"/>
                      </a:lnTo>
                      <a:lnTo>
                        <a:pt x="1145" y="1885"/>
                      </a:lnTo>
                      <a:lnTo>
                        <a:pt x="1192" y="1897"/>
                      </a:lnTo>
                      <a:lnTo>
                        <a:pt x="1239" y="1908"/>
                      </a:lnTo>
                      <a:lnTo>
                        <a:pt x="1287" y="1916"/>
                      </a:lnTo>
                      <a:lnTo>
                        <a:pt x="1338" y="1922"/>
                      </a:lnTo>
                      <a:lnTo>
                        <a:pt x="1390" y="1926"/>
                      </a:lnTo>
                      <a:lnTo>
                        <a:pt x="1444" y="1928"/>
                      </a:lnTo>
                      <a:lnTo>
                        <a:pt x="1490" y="1927"/>
                      </a:lnTo>
                      <a:lnTo>
                        <a:pt x="1536" y="1924"/>
                      </a:lnTo>
                      <a:lnTo>
                        <a:pt x="1584" y="1920"/>
                      </a:lnTo>
                      <a:lnTo>
                        <a:pt x="1630" y="1915"/>
                      </a:lnTo>
                      <a:lnTo>
                        <a:pt x="1652" y="1912"/>
                      </a:lnTo>
                      <a:lnTo>
                        <a:pt x="1675" y="1908"/>
                      </a:lnTo>
                      <a:lnTo>
                        <a:pt x="1698" y="1904"/>
                      </a:lnTo>
                      <a:lnTo>
                        <a:pt x="1721" y="1898"/>
                      </a:lnTo>
                      <a:lnTo>
                        <a:pt x="1744" y="1893"/>
                      </a:lnTo>
                      <a:lnTo>
                        <a:pt x="1767" y="1887"/>
                      </a:lnTo>
                      <a:lnTo>
                        <a:pt x="1789" y="1879"/>
                      </a:lnTo>
                      <a:lnTo>
                        <a:pt x="1812" y="1872"/>
                      </a:lnTo>
                      <a:lnTo>
                        <a:pt x="1812" y="2184"/>
                      </a:lnTo>
                      <a:lnTo>
                        <a:pt x="1773" y="2196"/>
                      </a:lnTo>
                      <a:lnTo>
                        <a:pt x="1734" y="2207"/>
                      </a:lnTo>
                      <a:lnTo>
                        <a:pt x="1694" y="2217"/>
                      </a:lnTo>
                      <a:lnTo>
                        <a:pt x="1655" y="2227"/>
                      </a:lnTo>
                      <a:lnTo>
                        <a:pt x="1615" y="2236"/>
                      </a:lnTo>
                      <a:lnTo>
                        <a:pt x="1575" y="2244"/>
                      </a:lnTo>
                      <a:lnTo>
                        <a:pt x="1535" y="2251"/>
                      </a:lnTo>
                      <a:lnTo>
                        <a:pt x="1495" y="2259"/>
                      </a:lnTo>
                      <a:lnTo>
                        <a:pt x="1456" y="2265"/>
                      </a:lnTo>
                      <a:lnTo>
                        <a:pt x="1415" y="2270"/>
                      </a:lnTo>
                      <a:lnTo>
                        <a:pt x="1375" y="2275"/>
                      </a:lnTo>
                      <a:lnTo>
                        <a:pt x="1335" y="2279"/>
                      </a:lnTo>
                      <a:lnTo>
                        <a:pt x="1294" y="2281"/>
                      </a:lnTo>
                      <a:lnTo>
                        <a:pt x="1254" y="2283"/>
                      </a:lnTo>
                      <a:lnTo>
                        <a:pt x="1213" y="2285"/>
                      </a:lnTo>
                      <a:lnTo>
                        <a:pt x="1173" y="2285"/>
                      </a:lnTo>
                      <a:lnTo>
                        <a:pt x="1100" y="2284"/>
                      </a:lnTo>
                      <a:lnTo>
                        <a:pt x="1030" y="2280"/>
                      </a:lnTo>
                      <a:lnTo>
                        <a:pt x="963" y="2272"/>
                      </a:lnTo>
                      <a:lnTo>
                        <a:pt x="897" y="2263"/>
                      </a:lnTo>
                      <a:lnTo>
                        <a:pt x="834" y="2250"/>
                      </a:lnTo>
                      <a:lnTo>
                        <a:pt x="773" y="2236"/>
                      </a:lnTo>
                      <a:lnTo>
                        <a:pt x="716" y="2219"/>
                      </a:lnTo>
                      <a:lnTo>
                        <a:pt x="659" y="2199"/>
                      </a:lnTo>
                      <a:lnTo>
                        <a:pt x="605" y="2176"/>
                      </a:lnTo>
                      <a:lnTo>
                        <a:pt x="554" y="2151"/>
                      </a:lnTo>
                      <a:lnTo>
                        <a:pt x="504" y="2124"/>
                      </a:lnTo>
                      <a:lnTo>
                        <a:pt x="458" y="2094"/>
                      </a:lnTo>
                      <a:lnTo>
                        <a:pt x="413" y="2062"/>
                      </a:lnTo>
                      <a:lnTo>
                        <a:pt x="371" y="2027"/>
                      </a:lnTo>
                      <a:lnTo>
                        <a:pt x="331" y="1990"/>
                      </a:lnTo>
                      <a:lnTo>
                        <a:pt x="293" y="1952"/>
                      </a:lnTo>
                      <a:lnTo>
                        <a:pt x="257" y="1910"/>
                      </a:lnTo>
                      <a:lnTo>
                        <a:pt x="224" y="1867"/>
                      </a:lnTo>
                      <a:lnTo>
                        <a:pt x="193" y="1821"/>
                      </a:lnTo>
                      <a:lnTo>
                        <a:pt x="165" y="1772"/>
                      </a:lnTo>
                      <a:lnTo>
                        <a:pt x="137" y="1723"/>
                      </a:lnTo>
                      <a:lnTo>
                        <a:pt x="114" y="1671"/>
                      </a:lnTo>
                      <a:lnTo>
                        <a:pt x="92" y="1617"/>
                      </a:lnTo>
                      <a:lnTo>
                        <a:pt x="72" y="1561"/>
                      </a:lnTo>
                      <a:lnTo>
                        <a:pt x="55" y="1503"/>
                      </a:lnTo>
                      <a:lnTo>
                        <a:pt x="41" y="1443"/>
                      </a:lnTo>
                      <a:lnTo>
                        <a:pt x="28" y="1382"/>
                      </a:lnTo>
                      <a:lnTo>
                        <a:pt x="18" y="1319"/>
                      </a:lnTo>
                      <a:lnTo>
                        <a:pt x="9" y="1253"/>
                      </a:lnTo>
                      <a:lnTo>
                        <a:pt x="4" y="1186"/>
                      </a:lnTo>
                      <a:lnTo>
                        <a:pt x="1" y="1117"/>
                      </a:lnTo>
                      <a:lnTo>
                        <a:pt x="0" y="1046"/>
                      </a:lnTo>
                      <a:lnTo>
                        <a:pt x="1" y="987"/>
                      </a:lnTo>
                      <a:lnTo>
                        <a:pt x="3" y="931"/>
                      </a:lnTo>
                      <a:lnTo>
                        <a:pt x="8" y="874"/>
                      </a:lnTo>
                      <a:lnTo>
                        <a:pt x="15" y="820"/>
                      </a:lnTo>
                      <a:lnTo>
                        <a:pt x="25" y="766"/>
                      </a:lnTo>
                      <a:lnTo>
                        <a:pt x="35" y="715"/>
                      </a:lnTo>
                      <a:lnTo>
                        <a:pt x="48" y="665"/>
                      </a:lnTo>
                      <a:lnTo>
                        <a:pt x="64" y="616"/>
                      </a:lnTo>
                      <a:lnTo>
                        <a:pt x="81" y="569"/>
                      </a:lnTo>
                      <a:lnTo>
                        <a:pt x="100" y="523"/>
                      </a:lnTo>
                      <a:lnTo>
                        <a:pt x="121" y="479"/>
                      </a:lnTo>
                      <a:lnTo>
                        <a:pt x="143" y="437"/>
                      </a:lnTo>
                      <a:lnTo>
                        <a:pt x="168" y="396"/>
                      </a:lnTo>
                      <a:lnTo>
                        <a:pt x="194" y="359"/>
                      </a:lnTo>
                      <a:lnTo>
                        <a:pt x="224" y="321"/>
                      </a:lnTo>
                      <a:lnTo>
                        <a:pt x="254" y="286"/>
                      </a:lnTo>
                      <a:lnTo>
                        <a:pt x="287" y="253"/>
                      </a:lnTo>
                      <a:lnTo>
                        <a:pt x="321" y="221"/>
                      </a:lnTo>
                      <a:lnTo>
                        <a:pt x="357" y="192"/>
                      </a:lnTo>
                      <a:lnTo>
                        <a:pt x="396" y="165"/>
                      </a:lnTo>
                      <a:lnTo>
                        <a:pt x="436" y="140"/>
                      </a:lnTo>
                      <a:lnTo>
                        <a:pt x="478" y="115"/>
                      </a:lnTo>
                      <a:lnTo>
                        <a:pt x="522" y="95"/>
                      </a:lnTo>
                      <a:lnTo>
                        <a:pt x="568" y="75"/>
                      </a:lnTo>
                      <a:lnTo>
                        <a:pt x="616" y="58"/>
                      </a:lnTo>
                      <a:lnTo>
                        <a:pt x="665" y="43"/>
                      </a:lnTo>
                      <a:lnTo>
                        <a:pt x="717" y="31"/>
                      </a:lnTo>
                      <a:lnTo>
                        <a:pt x="770" y="19"/>
                      </a:lnTo>
                      <a:lnTo>
                        <a:pt x="825" y="12"/>
                      </a:lnTo>
                      <a:lnTo>
                        <a:pt x="883" y="5"/>
                      </a:lnTo>
                      <a:lnTo>
                        <a:pt x="942" y="1"/>
                      </a:lnTo>
                      <a:lnTo>
                        <a:pt x="1002" y="0"/>
                      </a:lnTo>
                      <a:lnTo>
                        <a:pt x="1052" y="1"/>
                      </a:lnTo>
                      <a:lnTo>
                        <a:pt x="1099" y="3"/>
                      </a:lnTo>
                      <a:lnTo>
                        <a:pt x="1145" y="8"/>
                      </a:lnTo>
                      <a:lnTo>
                        <a:pt x="1191" y="13"/>
                      </a:lnTo>
                      <a:lnTo>
                        <a:pt x="1235" y="20"/>
                      </a:lnTo>
                      <a:lnTo>
                        <a:pt x="1277" y="28"/>
                      </a:lnTo>
                      <a:lnTo>
                        <a:pt x="1318" y="38"/>
                      </a:lnTo>
                      <a:lnTo>
                        <a:pt x="1358" y="49"/>
                      </a:lnTo>
                      <a:lnTo>
                        <a:pt x="1396" y="63"/>
                      </a:lnTo>
                      <a:lnTo>
                        <a:pt x="1431" y="78"/>
                      </a:lnTo>
                      <a:lnTo>
                        <a:pt x="1466" y="93"/>
                      </a:lnTo>
                      <a:lnTo>
                        <a:pt x="1500" y="111"/>
                      </a:lnTo>
                      <a:lnTo>
                        <a:pt x="1532" y="131"/>
                      </a:lnTo>
                      <a:lnTo>
                        <a:pt x="1563" y="152"/>
                      </a:lnTo>
                      <a:lnTo>
                        <a:pt x="1591" y="174"/>
                      </a:lnTo>
                      <a:lnTo>
                        <a:pt x="1618" y="198"/>
                      </a:lnTo>
                      <a:lnTo>
                        <a:pt x="1644" y="224"/>
                      </a:lnTo>
                      <a:lnTo>
                        <a:pt x="1668" y="252"/>
                      </a:lnTo>
                      <a:lnTo>
                        <a:pt x="1691" y="280"/>
                      </a:lnTo>
                      <a:lnTo>
                        <a:pt x="1712" y="310"/>
                      </a:lnTo>
                      <a:lnTo>
                        <a:pt x="1731" y="342"/>
                      </a:lnTo>
                      <a:lnTo>
                        <a:pt x="1749" y="375"/>
                      </a:lnTo>
                      <a:lnTo>
                        <a:pt x="1766" y="411"/>
                      </a:lnTo>
                      <a:lnTo>
                        <a:pt x="1779" y="448"/>
                      </a:lnTo>
                      <a:lnTo>
                        <a:pt x="1793" y="485"/>
                      </a:lnTo>
                      <a:lnTo>
                        <a:pt x="1803" y="526"/>
                      </a:lnTo>
                      <a:lnTo>
                        <a:pt x="1813" y="567"/>
                      </a:lnTo>
                      <a:lnTo>
                        <a:pt x="1821" y="610"/>
                      </a:lnTo>
                      <a:lnTo>
                        <a:pt x="1827" y="655"/>
                      </a:lnTo>
                      <a:lnTo>
                        <a:pt x="1831" y="701"/>
                      </a:lnTo>
                      <a:lnTo>
                        <a:pt x="1834" y="750"/>
                      </a:lnTo>
                      <a:lnTo>
                        <a:pt x="1835" y="799"/>
                      </a:lnTo>
                      <a:lnTo>
                        <a:pt x="1292"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3" name="Freeform 8"/>
                <p:cNvSpPr>
                  <a:spLocks noEditPoints="1"/>
                </p:cNvSpPr>
                <p:nvPr userDrawn="1"/>
              </p:nvSpPr>
              <p:spPr bwMode="auto">
                <a:xfrm>
                  <a:off x="1782763" y="2555875"/>
                  <a:ext cx="255587" cy="330200"/>
                </a:xfrm>
                <a:custGeom>
                  <a:avLst/>
                  <a:gdLst/>
                  <a:ahLst/>
                  <a:cxnLst>
                    <a:cxn ang="0">
                      <a:pos x="1767" y="788"/>
                    </a:cxn>
                    <a:cxn ang="0">
                      <a:pos x="1742" y="607"/>
                    </a:cxn>
                    <a:cxn ang="0">
                      <a:pos x="1690" y="445"/>
                    </a:cxn>
                    <a:cxn ang="0">
                      <a:pos x="1612" y="305"/>
                    </a:cxn>
                    <a:cxn ang="0">
                      <a:pos x="1508" y="189"/>
                    </a:cxn>
                    <a:cxn ang="0">
                      <a:pos x="1378" y="99"/>
                    </a:cxn>
                    <a:cxn ang="0">
                      <a:pos x="1222" y="37"/>
                    </a:cxn>
                    <a:cxn ang="0">
                      <a:pos x="1040" y="4"/>
                    </a:cxn>
                    <a:cxn ang="0">
                      <a:pos x="820" y="5"/>
                    </a:cxn>
                    <a:cxn ang="0">
                      <a:pos x="609" y="42"/>
                    </a:cxn>
                    <a:cxn ang="0">
                      <a:pos x="431" y="114"/>
                    </a:cxn>
                    <a:cxn ang="0">
                      <a:pos x="285" y="218"/>
                    </a:cxn>
                    <a:cxn ang="0">
                      <a:pos x="171" y="353"/>
                    </a:cxn>
                    <a:cxn ang="0">
                      <a:pos x="87" y="516"/>
                    </a:cxn>
                    <a:cxn ang="0">
                      <a:pos x="31" y="703"/>
                    </a:cxn>
                    <a:cxn ang="0">
                      <a:pos x="3" y="914"/>
                    </a:cxn>
                    <a:cxn ang="0">
                      <a:pos x="3" y="1161"/>
                    </a:cxn>
                    <a:cxn ang="0">
                      <a:pos x="35" y="1412"/>
                    </a:cxn>
                    <a:cxn ang="0">
                      <a:pos x="99" y="1639"/>
                    </a:cxn>
                    <a:cxn ang="0">
                      <a:pos x="198" y="1839"/>
                    </a:cxn>
                    <a:cxn ang="0">
                      <a:pos x="332" y="2006"/>
                    </a:cxn>
                    <a:cxn ang="0">
                      <a:pos x="504" y="2138"/>
                    </a:cxn>
                    <a:cxn ang="0">
                      <a:pos x="713" y="2231"/>
                    </a:cxn>
                    <a:cxn ang="0">
                      <a:pos x="963" y="2279"/>
                    </a:cxn>
                    <a:cxn ang="0">
                      <a:pos x="1182" y="2284"/>
                    </a:cxn>
                    <a:cxn ang="0">
                      <a:pos x="1336" y="2275"/>
                    </a:cxn>
                    <a:cxn ang="0">
                      <a:pos x="1490" y="2254"/>
                    </a:cxn>
                    <a:cxn ang="0">
                      <a:pos x="1641" y="2220"/>
                    </a:cxn>
                    <a:cxn ang="0">
                      <a:pos x="1666" y="1862"/>
                    </a:cxn>
                    <a:cxn ang="0">
                      <a:pos x="1484" y="1909"/>
                    </a:cxn>
                    <a:cxn ang="0">
                      <a:pos x="1376" y="1923"/>
                    </a:cxn>
                    <a:cxn ang="0">
                      <a:pos x="1251" y="1926"/>
                    </a:cxn>
                    <a:cxn ang="0">
                      <a:pos x="1078" y="1896"/>
                    </a:cxn>
                    <a:cxn ang="0">
                      <a:pos x="922" y="1829"/>
                    </a:cxn>
                    <a:cxn ang="0">
                      <a:pos x="787" y="1733"/>
                    </a:cxn>
                    <a:cxn ang="0">
                      <a:pos x="673" y="1609"/>
                    </a:cxn>
                    <a:cxn ang="0">
                      <a:pos x="584" y="1466"/>
                    </a:cxn>
                    <a:cxn ang="0">
                      <a:pos x="520" y="1308"/>
                    </a:cxn>
                    <a:cxn ang="0">
                      <a:pos x="483" y="1139"/>
                    </a:cxn>
                    <a:cxn ang="0">
                      <a:pos x="1771" y="1009"/>
                    </a:cxn>
                    <a:cxn ang="0">
                      <a:pos x="493" y="662"/>
                    </a:cxn>
                    <a:cxn ang="0">
                      <a:pos x="515" y="586"/>
                    </a:cxn>
                    <a:cxn ang="0">
                      <a:pos x="549" y="518"/>
                    </a:cxn>
                    <a:cxn ang="0">
                      <a:pos x="594" y="458"/>
                    </a:cxn>
                    <a:cxn ang="0">
                      <a:pos x="649" y="408"/>
                    </a:cxn>
                    <a:cxn ang="0">
                      <a:pos x="712" y="369"/>
                    </a:cxn>
                    <a:cxn ang="0">
                      <a:pos x="783" y="342"/>
                    </a:cxn>
                    <a:cxn ang="0">
                      <a:pos x="861" y="328"/>
                    </a:cxn>
                    <a:cxn ang="0">
                      <a:pos x="944" y="328"/>
                    </a:cxn>
                    <a:cxn ang="0">
                      <a:pos x="1024" y="341"/>
                    </a:cxn>
                    <a:cxn ang="0">
                      <a:pos x="1096" y="366"/>
                    </a:cxn>
                    <a:cxn ang="0">
                      <a:pos x="1157" y="404"/>
                    </a:cxn>
                    <a:cxn ang="0">
                      <a:pos x="1207" y="452"/>
                    </a:cxn>
                    <a:cxn ang="0">
                      <a:pos x="1246" y="512"/>
                    </a:cxn>
                    <a:cxn ang="0">
                      <a:pos x="1272" y="581"/>
                    </a:cxn>
                    <a:cxn ang="0">
                      <a:pos x="1286" y="659"/>
                    </a:cxn>
                  </a:cxnLst>
                  <a:rect l="0" t="0" r="r" b="b"/>
                  <a:pathLst>
                    <a:path w="1771" h="2285">
                      <a:moveTo>
                        <a:pt x="1771" y="1009"/>
                      </a:moveTo>
                      <a:lnTo>
                        <a:pt x="1771" y="886"/>
                      </a:lnTo>
                      <a:lnTo>
                        <a:pt x="1771" y="837"/>
                      </a:lnTo>
                      <a:lnTo>
                        <a:pt x="1767" y="788"/>
                      </a:lnTo>
                      <a:lnTo>
                        <a:pt x="1764" y="741"/>
                      </a:lnTo>
                      <a:lnTo>
                        <a:pt x="1758" y="695"/>
                      </a:lnTo>
                      <a:lnTo>
                        <a:pt x="1751" y="650"/>
                      </a:lnTo>
                      <a:lnTo>
                        <a:pt x="1742" y="607"/>
                      </a:lnTo>
                      <a:lnTo>
                        <a:pt x="1732" y="564"/>
                      </a:lnTo>
                      <a:lnTo>
                        <a:pt x="1719" y="523"/>
                      </a:lnTo>
                      <a:lnTo>
                        <a:pt x="1705" y="483"/>
                      </a:lnTo>
                      <a:lnTo>
                        <a:pt x="1690" y="445"/>
                      </a:lnTo>
                      <a:lnTo>
                        <a:pt x="1673" y="408"/>
                      </a:lnTo>
                      <a:lnTo>
                        <a:pt x="1654" y="372"/>
                      </a:lnTo>
                      <a:lnTo>
                        <a:pt x="1634" y="338"/>
                      </a:lnTo>
                      <a:lnTo>
                        <a:pt x="1612" y="305"/>
                      </a:lnTo>
                      <a:lnTo>
                        <a:pt x="1589" y="274"/>
                      </a:lnTo>
                      <a:lnTo>
                        <a:pt x="1563" y="243"/>
                      </a:lnTo>
                      <a:lnTo>
                        <a:pt x="1537" y="215"/>
                      </a:lnTo>
                      <a:lnTo>
                        <a:pt x="1508" y="189"/>
                      </a:lnTo>
                      <a:lnTo>
                        <a:pt x="1478" y="164"/>
                      </a:lnTo>
                      <a:lnTo>
                        <a:pt x="1447" y="141"/>
                      </a:lnTo>
                      <a:lnTo>
                        <a:pt x="1413" y="119"/>
                      </a:lnTo>
                      <a:lnTo>
                        <a:pt x="1378" y="99"/>
                      </a:lnTo>
                      <a:lnTo>
                        <a:pt x="1342" y="81"/>
                      </a:lnTo>
                      <a:lnTo>
                        <a:pt x="1304" y="64"/>
                      </a:lnTo>
                      <a:lnTo>
                        <a:pt x="1264" y="49"/>
                      </a:lnTo>
                      <a:lnTo>
                        <a:pt x="1222" y="37"/>
                      </a:lnTo>
                      <a:lnTo>
                        <a:pt x="1179" y="25"/>
                      </a:lnTo>
                      <a:lnTo>
                        <a:pt x="1133" y="17"/>
                      </a:lnTo>
                      <a:lnTo>
                        <a:pt x="1087" y="10"/>
                      </a:lnTo>
                      <a:lnTo>
                        <a:pt x="1040" y="4"/>
                      </a:lnTo>
                      <a:lnTo>
                        <a:pt x="989" y="1"/>
                      </a:lnTo>
                      <a:lnTo>
                        <a:pt x="938" y="0"/>
                      </a:lnTo>
                      <a:lnTo>
                        <a:pt x="878" y="1"/>
                      </a:lnTo>
                      <a:lnTo>
                        <a:pt x="820" y="5"/>
                      </a:lnTo>
                      <a:lnTo>
                        <a:pt x="765" y="11"/>
                      </a:lnTo>
                      <a:lnTo>
                        <a:pt x="711" y="19"/>
                      </a:lnTo>
                      <a:lnTo>
                        <a:pt x="658" y="30"/>
                      </a:lnTo>
                      <a:lnTo>
                        <a:pt x="609" y="42"/>
                      </a:lnTo>
                      <a:lnTo>
                        <a:pt x="562" y="57"/>
                      </a:lnTo>
                      <a:lnTo>
                        <a:pt x="516" y="74"/>
                      </a:lnTo>
                      <a:lnTo>
                        <a:pt x="472" y="93"/>
                      </a:lnTo>
                      <a:lnTo>
                        <a:pt x="431" y="114"/>
                      </a:lnTo>
                      <a:lnTo>
                        <a:pt x="391" y="137"/>
                      </a:lnTo>
                      <a:lnTo>
                        <a:pt x="355" y="163"/>
                      </a:lnTo>
                      <a:lnTo>
                        <a:pt x="319" y="190"/>
                      </a:lnTo>
                      <a:lnTo>
                        <a:pt x="285" y="218"/>
                      </a:lnTo>
                      <a:lnTo>
                        <a:pt x="254" y="250"/>
                      </a:lnTo>
                      <a:lnTo>
                        <a:pt x="224" y="282"/>
                      </a:lnTo>
                      <a:lnTo>
                        <a:pt x="197" y="317"/>
                      </a:lnTo>
                      <a:lnTo>
                        <a:pt x="171" y="353"/>
                      </a:lnTo>
                      <a:lnTo>
                        <a:pt x="146" y="391"/>
                      </a:lnTo>
                      <a:lnTo>
                        <a:pt x="124" y="431"/>
                      </a:lnTo>
                      <a:lnTo>
                        <a:pt x="104" y="473"/>
                      </a:lnTo>
                      <a:lnTo>
                        <a:pt x="87" y="516"/>
                      </a:lnTo>
                      <a:lnTo>
                        <a:pt x="70" y="560"/>
                      </a:lnTo>
                      <a:lnTo>
                        <a:pt x="55" y="606"/>
                      </a:lnTo>
                      <a:lnTo>
                        <a:pt x="41" y="654"/>
                      </a:lnTo>
                      <a:lnTo>
                        <a:pt x="31" y="703"/>
                      </a:lnTo>
                      <a:lnTo>
                        <a:pt x="21" y="754"/>
                      </a:lnTo>
                      <a:lnTo>
                        <a:pt x="14" y="806"/>
                      </a:lnTo>
                      <a:lnTo>
                        <a:pt x="8" y="860"/>
                      </a:lnTo>
                      <a:lnTo>
                        <a:pt x="3" y="914"/>
                      </a:lnTo>
                      <a:lnTo>
                        <a:pt x="0" y="971"/>
                      </a:lnTo>
                      <a:lnTo>
                        <a:pt x="0" y="1028"/>
                      </a:lnTo>
                      <a:lnTo>
                        <a:pt x="1" y="1095"/>
                      </a:lnTo>
                      <a:lnTo>
                        <a:pt x="3" y="1161"/>
                      </a:lnTo>
                      <a:lnTo>
                        <a:pt x="9" y="1225"/>
                      </a:lnTo>
                      <a:lnTo>
                        <a:pt x="15" y="1289"/>
                      </a:lnTo>
                      <a:lnTo>
                        <a:pt x="24" y="1351"/>
                      </a:lnTo>
                      <a:lnTo>
                        <a:pt x="35" y="1412"/>
                      </a:lnTo>
                      <a:lnTo>
                        <a:pt x="48" y="1471"/>
                      </a:lnTo>
                      <a:lnTo>
                        <a:pt x="63" y="1528"/>
                      </a:lnTo>
                      <a:lnTo>
                        <a:pt x="80" y="1585"/>
                      </a:lnTo>
                      <a:lnTo>
                        <a:pt x="99" y="1639"/>
                      </a:lnTo>
                      <a:lnTo>
                        <a:pt x="121" y="1692"/>
                      </a:lnTo>
                      <a:lnTo>
                        <a:pt x="144" y="1742"/>
                      </a:lnTo>
                      <a:lnTo>
                        <a:pt x="170" y="1791"/>
                      </a:lnTo>
                      <a:lnTo>
                        <a:pt x="198" y="1839"/>
                      </a:lnTo>
                      <a:lnTo>
                        <a:pt x="228" y="1884"/>
                      </a:lnTo>
                      <a:lnTo>
                        <a:pt x="261" y="1927"/>
                      </a:lnTo>
                      <a:lnTo>
                        <a:pt x="295" y="1967"/>
                      </a:lnTo>
                      <a:lnTo>
                        <a:pt x="332" y="2006"/>
                      </a:lnTo>
                      <a:lnTo>
                        <a:pt x="371" y="2043"/>
                      </a:lnTo>
                      <a:lnTo>
                        <a:pt x="413" y="2077"/>
                      </a:lnTo>
                      <a:lnTo>
                        <a:pt x="458" y="2109"/>
                      </a:lnTo>
                      <a:lnTo>
                        <a:pt x="504" y="2138"/>
                      </a:lnTo>
                      <a:lnTo>
                        <a:pt x="552" y="2166"/>
                      </a:lnTo>
                      <a:lnTo>
                        <a:pt x="604" y="2190"/>
                      </a:lnTo>
                      <a:lnTo>
                        <a:pt x="657" y="2212"/>
                      </a:lnTo>
                      <a:lnTo>
                        <a:pt x="713" y="2231"/>
                      </a:lnTo>
                      <a:lnTo>
                        <a:pt x="772" y="2247"/>
                      </a:lnTo>
                      <a:lnTo>
                        <a:pt x="834" y="2261"/>
                      </a:lnTo>
                      <a:lnTo>
                        <a:pt x="897" y="2271"/>
                      </a:lnTo>
                      <a:lnTo>
                        <a:pt x="963" y="2279"/>
                      </a:lnTo>
                      <a:lnTo>
                        <a:pt x="1033" y="2284"/>
                      </a:lnTo>
                      <a:lnTo>
                        <a:pt x="1104" y="2285"/>
                      </a:lnTo>
                      <a:lnTo>
                        <a:pt x="1143" y="2285"/>
                      </a:lnTo>
                      <a:lnTo>
                        <a:pt x="1182" y="2284"/>
                      </a:lnTo>
                      <a:lnTo>
                        <a:pt x="1221" y="2283"/>
                      </a:lnTo>
                      <a:lnTo>
                        <a:pt x="1260" y="2281"/>
                      </a:lnTo>
                      <a:lnTo>
                        <a:pt x="1297" y="2278"/>
                      </a:lnTo>
                      <a:lnTo>
                        <a:pt x="1336" y="2275"/>
                      </a:lnTo>
                      <a:lnTo>
                        <a:pt x="1375" y="2270"/>
                      </a:lnTo>
                      <a:lnTo>
                        <a:pt x="1413" y="2265"/>
                      </a:lnTo>
                      <a:lnTo>
                        <a:pt x="1452" y="2260"/>
                      </a:lnTo>
                      <a:lnTo>
                        <a:pt x="1490" y="2254"/>
                      </a:lnTo>
                      <a:lnTo>
                        <a:pt x="1528" y="2246"/>
                      </a:lnTo>
                      <a:lnTo>
                        <a:pt x="1566" y="2239"/>
                      </a:lnTo>
                      <a:lnTo>
                        <a:pt x="1603" y="2229"/>
                      </a:lnTo>
                      <a:lnTo>
                        <a:pt x="1641" y="2220"/>
                      </a:lnTo>
                      <a:lnTo>
                        <a:pt x="1679" y="2210"/>
                      </a:lnTo>
                      <a:lnTo>
                        <a:pt x="1716" y="2198"/>
                      </a:lnTo>
                      <a:lnTo>
                        <a:pt x="1716" y="1845"/>
                      </a:lnTo>
                      <a:lnTo>
                        <a:pt x="1666" y="1862"/>
                      </a:lnTo>
                      <a:lnTo>
                        <a:pt x="1616" y="1877"/>
                      </a:lnTo>
                      <a:lnTo>
                        <a:pt x="1563" y="1891"/>
                      </a:lnTo>
                      <a:lnTo>
                        <a:pt x="1510" y="1904"/>
                      </a:lnTo>
                      <a:lnTo>
                        <a:pt x="1484" y="1909"/>
                      </a:lnTo>
                      <a:lnTo>
                        <a:pt x="1456" y="1913"/>
                      </a:lnTo>
                      <a:lnTo>
                        <a:pt x="1430" y="1917"/>
                      </a:lnTo>
                      <a:lnTo>
                        <a:pt x="1403" y="1920"/>
                      </a:lnTo>
                      <a:lnTo>
                        <a:pt x="1376" y="1923"/>
                      </a:lnTo>
                      <a:lnTo>
                        <a:pt x="1350" y="1926"/>
                      </a:lnTo>
                      <a:lnTo>
                        <a:pt x="1324" y="1927"/>
                      </a:lnTo>
                      <a:lnTo>
                        <a:pt x="1297" y="1928"/>
                      </a:lnTo>
                      <a:lnTo>
                        <a:pt x="1251" y="1926"/>
                      </a:lnTo>
                      <a:lnTo>
                        <a:pt x="1206" y="1922"/>
                      </a:lnTo>
                      <a:lnTo>
                        <a:pt x="1162" y="1916"/>
                      </a:lnTo>
                      <a:lnTo>
                        <a:pt x="1120" y="1907"/>
                      </a:lnTo>
                      <a:lnTo>
                        <a:pt x="1078" y="1896"/>
                      </a:lnTo>
                      <a:lnTo>
                        <a:pt x="1037" y="1883"/>
                      </a:lnTo>
                      <a:lnTo>
                        <a:pt x="997" y="1867"/>
                      </a:lnTo>
                      <a:lnTo>
                        <a:pt x="959" y="1849"/>
                      </a:lnTo>
                      <a:lnTo>
                        <a:pt x="922" y="1829"/>
                      </a:lnTo>
                      <a:lnTo>
                        <a:pt x="886" y="1808"/>
                      </a:lnTo>
                      <a:lnTo>
                        <a:pt x="852" y="1784"/>
                      </a:lnTo>
                      <a:lnTo>
                        <a:pt x="818" y="1759"/>
                      </a:lnTo>
                      <a:lnTo>
                        <a:pt x="787" y="1733"/>
                      </a:lnTo>
                      <a:lnTo>
                        <a:pt x="756" y="1703"/>
                      </a:lnTo>
                      <a:lnTo>
                        <a:pt x="727" y="1674"/>
                      </a:lnTo>
                      <a:lnTo>
                        <a:pt x="699" y="1643"/>
                      </a:lnTo>
                      <a:lnTo>
                        <a:pt x="673" y="1609"/>
                      </a:lnTo>
                      <a:lnTo>
                        <a:pt x="648" y="1575"/>
                      </a:lnTo>
                      <a:lnTo>
                        <a:pt x="625" y="1540"/>
                      </a:lnTo>
                      <a:lnTo>
                        <a:pt x="604" y="1504"/>
                      </a:lnTo>
                      <a:lnTo>
                        <a:pt x="584" y="1466"/>
                      </a:lnTo>
                      <a:lnTo>
                        <a:pt x="565" y="1428"/>
                      </a:lnTo>
                      <a:lnTo>
                        <a:pt x="548" y="1389"/>
                      </a:lnTo>
                      <a:lnTo>
                        <a:pt x="533" y="1349"/>
                      </a:lnTo>
                      <a:lnTo>
                        <a:pt x="520" y="1308"/>
                      </a:lnTo>
                      <a:lnTo>
                        <a:pt x="507" y="1266"/>
                      </a:lnTo>
                      <a:lnTo>
                        <a:pt x="498" y="1224"/>
                      </a:lnTo>
                      <a:lnTo>
                        <a:pt x="489" y="1182"/>
                      </a:lnTo>
                      <a:lnTo>
                        <a:pt x="483" y="1139"/>
                      </a:lnTo>
                      <a:lnTo>
                        <a:pt x="478" y="1096"/>
                      </a:lnTo>
                      <a:lnTo>
                        <a:pt x="475" y="1054"/>
                      </a:lnTo>
                      <a:lnTo>
                        <a:pt x="474" y="1009"/>
                      </a:lnTo>
                      <a:lnTo>
                        <a:pt x="1771" y="1009"/>
                      </a:lnTo>
                      <a:close/>
                      <a:moveTo>
                        <a:pt x="1288" y="702"/>
                      </a:moveTo>
                      <a:lnTo>
                        <a:pt x="488" y="702"/>
                      </a:lnTo>
                      <a:lnTo>
                        <a:pt x="490" y="681"/>
                      </a:lnTo>
                      <a:lnTo>
                        <a:pt x="493" y="662"/>
                      </a:lnTo>
                      <a:lnTo>
                        <a:pt x="498" y="643"/>
                      </a:lnTo>
                      <a:lnTo>
                        <a:pt x="503" y="623"/>
                      </a:lnTo>
                      <a:lnTo>
                        <a:pt x="509" y="604"/>
                      </a:lnTo>
                      <a:lnTo>
                        <a:pt x="515" y="586"/>
                      </a:lnTo>
                      <a:lnTo>
                        <a:pt x="523" y="568"/>
                      </a:lnTo>
                      <a:lnTo>
                        <a:pt x="531" y="550"/>
                      </a:lnTo>
                      <a:lnTo>
                        <a:pt x="540" y="534"/>
                      </a:lnTo>
                      <a:lnTo>
                        <a:pt x="549" y="518"/>
                      </a:lnTo>
                      <a:lnTo>
                        <a:pt x="560" y="502"/>
                      </a:lnTo>
                      <a:lnTo>
                        <a:pt x="570" y="487"/>
                      </a:lnTo>
                      <a:lnTo>
                        <a:pt x="582" y="472"/>
                      </a:lnTo>
                      <a:lnTo>
                        <a:pt x="594" y="458"/>
                      </a:lnTo>
                      <a:lnTo>
                        <a:pt x="607" y="445"/>
                      </a:lnTo>
                      <a:lnTo>
                        <a:pt x="621" y="432"/>
                      </a:lnTo>
                      <a:lnTo>
                        <a:pt x="634" y="419"/>
                      </a:lnTo>
                      <a:lnTo>
                        <a:pt x="649" y="408"/>
                      </a:lnTo>
                      <a:lnTo>
                        <a:pt x="664" y="397"/>
                      </a:lnTo>
                      <a:lnTo>
                        <a:pt x="679" y="387"/>
                      </a:lnTo>
                      <a:lnTo>
                        <a:pt x="696" y="378"/>
                      </a:lnTo>
                      <a:lnTo>
                        <a:pt x="712" y="369"/>
                      </a:lnTo>
                      <a:lnTo>
                        <a:pt x="730" y="362"/>
                      </a:lnTo>
                      <a:lnTo>
                        <a:pt x="747" y="354"/>
                      </a:lnTo>
                      <a:lnTo>
                        <a:pt x="765" y="348"/>
                      </a:lnTo>
                      <a:lnTo>
                        <a:pt x="783" y="342"/>
                      </a:lnTo>
                      <a:lnTo>
                        <a:pt x="802" y="338"/>
                      </a:lnTo>
                      <a:lnTo>
                        <a:pt x="821" y="333"/>
                      </a:lnTo>
                      <a:lnTo>
                        <a:pt x="841" y="330"/>
                      </a:lnTo>
                      <a:lnTo>
                        <a:pt x="861" y="328"/>
                      </a:lnTo>
                      <a:lnTo>
                        <a:pt x="881" y="327"/>
                      </a:lnTo>
                      <a:lnTo>
                        <a:pt x="901" y="326"/>
                      </a:lnTo>
                      <a:lnTo>
                        <a:pt x="923" y="326"/>
                      </a:lnTo>
                      <a:lnTo>
                        <a:pt x="944" y="328"/>
                      </a:lnTo>
                      <a:lnTo>
                        <a:pt x="965" y="330"/>
                      </a:lnTo>
                      <a:lnTo>
                        <a:pt x="985" y="332"/>
                      </a:lnTo>
                      <a:lnTo>
                        <a:pt x="1005" y="337"/>
                      </a:lnTo>
                      <a:lnTo>
                        <a:pt x="1024" y="341"/>
                      </a:lnTo>
                      <a:lnTo>
                        <a:pt x="1043" y="346"/>
                      </a:lnTo>
                      <a:lnTo>
                        <a:pt x="1061" y="352"/>
                      </a:lnTo>
                      <a:lnTo>
                        <a:pt x="1079" y="359"/>
                      </a:lnTo>
                      <a:lnTo>
                        <a:pt x="1096" y="366"/>
                      </a:lnTo>
                      <a:lnTo>
                        <a:pt x="1111" y="374"/>
                      </a:lnTo>
                      <a:lnTo>
                        <a:pt x="1127" y="384"/>
                      </a:lnTo>
                      <a:lnTo>
                        <a:pt x="1142" y="393"/>
                      </a:lnTo>
                      <a:lnTo>
                        <a:pt x="1157" y="404"/>
                      </a:lnTo>
                      <a:lnTo>
                        <a:pt x="1170" y="415"/>
                      </a:lnTo>
                      <a:lnTo>
                        <a:pt x="1183" y="427"/>
                      </a:lnTo>
                      <a:lnTo>
                        <a:pt x="1196" y="439"/>
                      </a:lnTo>
                      <a:lnTo>
                        <a:pt x="1207" y="452"/>
                      </a:lnTo>
                      <a:lnTo>
                        <a:pt x="1218" y="467"/>
                      </a:lnTo>
                      <a:lnTo>
                        <a:pt x="1228" y="480"/>
                      </a:lnTo>
                      <a:lnTo>
                        <a:pt x="1238" y="496"/>
                      </a:lnTo>
                      <a:lnTo>
                        <a:pt x="1246" y="512"/>
                      </a:lnTo>
                      <a:lnTo>
                        <a:pt x="1253" y="528"/>
                      </a:lnTo>
                      <a:lnTo>
                        <a:pt x="1261" y="545"/>
                      </a:lnTo>
                      <a:lnTo>
                        <a:pt x="1267" y="563"/>
                      </a:lnTo>
                      <a:lnTo>
                        <a:pt x="1272" y="581"/>
                      </a:lnTo>
                      <a:lnTo>
                        <a:pt x="1278" y="600"/>
                      </a:lnTo>
                      <a:lnTo>
                        <a:pt x="1281" y="619"/>
                      </a:lnTo>
                      <a:lnTo>
                        <a:pt x="1284" y="640"/>
                      </a:lnTo>
                      <a:lnTo>
                        <a:pt x="1286" y="659"/>
                      </a:lnTo>
                      <a:lnTo>
                        <a:pt x="1288" y="680"/>
                      </a:lnTo>
                      <a:lnTo>
                        <a:pt x="1288"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4" name="Freeform 9"/>
                <p:cNvSpPr>
                  <a:spLocks/>
                </p:cNvSpPr>
                <p:nvPr userDrawn="1"/>
              </p:nvSpPr>
              <p:spPr bwMode="auto">
                <a:xfrm>
                  <a:off x="2076450" y="2555875"/>
                  <a:ext cx="254000" cy="322263"/>
                </a:xfrm>
                <a:custGeom>
                  <a:avLst/>
                  <a:gdLst/>
                  <a:ahLst/>
                  <a:cxnLst>
                    <a:cxn ang="0">
                      <a:pos x="1252" y="940"/>
                    </a:cxn>
                    <a:cxn ang="0">
                      <a:pos x="1250" y="815"/>
                    </a:cxn>
                    <a:cxn ang="0">
                      <a:pos x="1242" y="710"/>
                    </a:cxn>
                    <a:cxn ang="0">
                      <a:pos x="1223" y="612"/>
                    </a:cxn>
                    <a:cxn ang="0">
                      <a:pos x="1208" y="570"/>
                    </a:cxn>
                    <a:cxn ang="0">
                      <a:pos x="1188" y="537"/>
                    </a:cxn>
                    <a:cxn ang="0">
                      <a:pos x="1166" y="513"/>
                    </a:cxn>
                    <a:cxn ang="0">
                      <a:pos x="1142" y="497"/>
                    </a:cxn>
                    <a:cxn ang="0">
                      <a:pos x="1115" y="487"/>
                    </a:cxn>
                    <a:cxn ang="0">
                      <a:pos x="1065" y="479"/>
                    </a:cxn>
                    <a:cxn ang="0">
                      <a:pos x="993" y="479"/>
                    </a:cxn>
                    <a:cxn ang="0">
                      <a:pos x="898" y="500"/>
                    </a:cxn>
                    <a:cxn ang="0">
                      <a:pos x="816" y="544"/>
                    </a:cxn>
                    <a:cxn ang="0">
                      <a:pos x="744" y="607"/>
                    </a:cxn>
                    <a:cxn ang="0">
                      <a:pos x="683" y="685"/>
                    </a:cxn>
                    <a:cxn ang="0">
                      <a:pos x="631" y="774"/>
                    </a:cxn>
                    <a:cxn ang="0">
                      <a:pos x="589" y="870"/>
                    </a:cxn>
                    <a:cxn ang="0">
                      <a:pos x="556" y="972"/>
                    </a:cxn>
                    <a:cxn ang="0">
                      <a:pos x="533" y="1072"/>
                    </a:cxn>
                    <a:cxn ang="0">
                      <a:pos x="519" y="1171"/>
                    </a:cxn>
                    <a:cxn ang="0">
                      <a:pos x="511" y="1262"/>
                    </a:cxn>
                    <a:cxn ang="0">
                      <a:pos x="0" y="2235"/>
                    </a:cxn>
                    <a:cxn ang="0">
                      <a:pos x="511" y="459"/>
                    </a:cxn>
                    <a:cxn ang="0">
                      <a:pos x="543" y="408"/>
                    </a:cxn>
                    <a:cxn ang="0">
                      <a:pos x="582" y="336"/>
                    </a:cxn>
                    <a:cxn ang="0">
                      <a:pos x="626" y="270"/>
                    </a:cxn>
                    <a:cxn ang="0">
                      <a:pos x="676" y="210"/>
                    </a:cxn>
                    <a:cxn ang="0">
                      <a:pos x="731" y="156"/>
                    </a:cxn>
                    <a:cxn ang="0">
                      <a:pos x="791" y="110"/>
                    </a:cxn>
                    <a:cxn ang="0">
                      <a:pos x="856" y="71"/>
                    </a:cxn>
                    <a:cxn ang="0">
                      <a:pos x="927" y="41"/>
                    </a:cxn>
                    <a:cxn ang="0">
                      <a:pos x="1003" y="19"/>
                    </a:cxn>
                    <a:cxn ang="0">
                      <a:pos x="1083" y="5"/>
                    </a:cxn>
                    <a:cxn ang="0">
                      <a:pos x="1169" y="0"/>
                    </a:cxn>
                    <a:cxn ang="0">
                      <a:pos x="1281" y="10"/>
                    </a:cxn>
                    <a:cxn ang="0">
                      <a:pos x="1379" y="35"/>
                    </a:cxn>
                    <a:cxn ang="0">
                      <a:pos x="1466" y="76"/>
                    </a:cxn>
                    <a:cxn ang="0">
                      <a:pos x="1540" y="129"/>
                    </a:cxn>
                    <a:cxn ang="0">
                      <a:pos x="1603" y="195"/>
                    </a:cxn>
                    <a:cxn ang="0">
                      <a:pos x="1656" y="272"/>
                    </a:cxn>
                    <a:cxn ang="0">
                      <a:pos x="1697" y="357"/>
                    </a:cxn>
                    <a:cxn ang="0">
                      <a:pos x="1728" y="450"/>
                    </a:cxn>
                    <a:cxn ang="0">
                      <a:pos x="1748" y="548"/>
                    </a:cxn>
                    <a:cxn ang="0">
                      <a:pos x="1760" y="651"/>
                    </a:cxn>
                    <a:cxn ang="0">
                      <a:pos x="1762" y="2235"/>
                    </a:cxn>
                  </a:cxnLst>
                  <a:rect l="0" t="0" r="r" b="b"/>
                  <a:pathLst>
                    <a:path w="1762" h="2235">
                      <a:moveTo>
                        <a:pt x="1252" y="2235"/>
                      </a:moveTo>
                      <a:lnTo>
                        <a:pt x="1252" y="986"/>
                      </a:lnTo>
                      <a:lnTo>
                        <a:pt x="1252" y="940"/>
                      </a:lnTo>
                      <a:lnTo>
                        <a:pt x="1252" y="881"/>
                      </a:lnTo>
                      <a:lnTo>
                        <a:pt x="1251" y="848"/>
                      </a:lnTo>
                      <a:lnTo>
                        <a:pt x="1250" y="815"/>
                      </a:lnTo>
                      <a:lnTo>
                        <a:pt x="1248" y="779"/>
                      </a:lnTo>
                      <a:lnTo>
                        <a:pt x="1245" y="744"/>
                      </a:lnTo>
                      <a:lnTo>
                        <a:pt x="1242" y="710"/>
                      </a:lnTo>
                      <a:lnTo>
                        <a:pt x="1237" y="675"/>
                      </a:lnTo>
                      <a:lnTo>
                        <a:pt x="1230" y="643"/>
                      </a:lnTo>
                      <a:lnTo>
                        <a:pt x="1223" y="612"/>
                      </a:lnTo>
                      <a:lnTo>
                        <a:pt x="1218" y="598"/>
                      </a:lnTo>
                      <a:lnTo>
                        <a:pt x="1213" y="584"/>
                      </a:lnTo>
                      <a:lnTo>
                        <a:pt x="1208" y="570"/>
                      </a:lnTo>
                      <a:lnTo>
                        <a:pt x="1202" y="559"/>
                      </a:lnTo>
                      <a:lnTo>
                        <a:pt x="1196" y="547"/>
                      </a:lnTo>
                      <a:lnTo>
                        <a:pt x="1188" y="537"/>
                      </a:lnTo>
                      <a:lnTo>
                        <a:pt x="1181" y="527"/>
                      </a:lnTo>
                      <a:lnTo>
                        <a:pt x="1173" y="519"/>
                      </a:lnTo>
                      <a:lnTo>
                        <a:pt x="1166" y="513"/>
                      </a:lnTo>
                      <a:lnTo>
                        <a:pt x="1159" y="506"/>
                      </a:lnTo>
                      <a:lnTo>
                        <a:pt x="1150" y="501"/>
                      </a:lnTo>
                      <a:lnTo>
                        <a:pt x="1142" y="497"/>
                      </a:lnTo>
                      <a:lnTo>
                        <a:pt x="1133" y="493"/>
                      </a:lnTo>
                      <a:lnTo>
                        <a:pt x="1124" y="490"/>
                      </a:lnTo>
                      <a:lnTo>
                        <a:pt x="1115" y="487"/>
                      </a:lnTo>
                      <a:lnTo>
                        <a:pt x="1105" y="484"/>
                      </a:lnTo>
                      <a:lnTo>
                        <a:pt x="1085" y="481"/>
                      </a:lnTo>
                      <a:lnTo>
                        <a:pt x="1065" y="479"/>
                      </a:lnTo>
                      <a:lnTo>
                        <a:pt x="1045" y="478"/>
                      </a:lnTo>
                      <a:lnTo>
                        <a:pt x="1026" y="478"/>
                      </a:lnTo>
                      <a:lnTo>
                        <a:pt x="993" y="479"/>
                      </a:lnTo>
                      <a:lnTo>
                        <a:pt x="960" y="483"/>
                      </a:lnTo>
                      <a:lnTo>
                        <a:pt x="929" y="491"/>
                      </a:lnTo>
                      <a:lnTo>
                        <a:pt x="898" y="500"/>
                      </a:lnTo>
                      <a:lnTo>
                        <a:pt x="870" y="513"/>
                      </a:lnTo>
                      <a:lnTo>
                        <a:pt x="842" y="527"/>
                      </a:lnTo>
                      <a:lnTo>
                        <a:pt x="816" y="544"/>
                      </a:lnTo>
                      <a:lnTo>
                        <a:pt x="791" y="563"/>
                      </a:lnTo>
                      <a:lnTo>
                        <a:pt x="767" y="584"/>
                      </a:lnTo>
                      <a:lnTo>
                        <a:pt x="744" y="607"/>
                      </a:lnTo>
                      <a:lnTo>
                        <a:pt x="721" y="631"/>
                      </a:lnTo>
                      <a:lnTo>
                        <a:pt x="701" y="657"/>
                      </a:lnTo>
                      <a:lnTo>
                        <a:pt x="683" y="685"/>
                      </a:lnTo>
                      <a:lnTo>
                        <a:pt x="664" y="713"/>
                      </a:lnTo>
                      <a:lnTo>
                        <a:pt x="647" y="743"/>
                      </a:lnTo>
                      <a:lnTo>
                        <a:pt x="631" y="774"/>
                      </a:lnTo>
                      <a:lnTo>
                        <a:pt x="615" y="805"/>
                      </a:lnTo>
                      <a:lnTo>
                        <a:pt x="602" y="838"/>
                      </a:lnTo>
                      <a:lnTo>
                        <a:pt x="589" y="870"/>
                      </a:lnTo>
                      <a:lnTo>
                        <a:pt x="577" y="904"/>
                      </a:lnTo>
                      <a:lnTo>
                        <a:pt x="566" y="937"/>
                      </a:lnTo>
                      <a:lnTo>
                        <a:pt x="556" y="972"/>
                      </a:lnTo>
                      <a:lnTo>
                        <a:pt x="548" y="1005"/>
                      </a:lnTo>
                      <a:lnTo>
                        <a:pt x="540" y="1039"/>
                      </a:lnTo>
                      <a:lnTo>
                        <a:pt x="533" y="1072"/>
                      </a:lnTo>
                      <a:lnTo>
                        <a:pt x="527" y="1106"/>
                      </a:lnTo>
                      <a:lnTo>
                        <a:pt x="522" y="1138"/>
                      </a:lnTo>
                      <a:lnTo>
                        <a:pt x="519" y="1171"/>
                      </a:lnTo>
                      <a:lnTo>
                        <a:pt x="515" y="1202"/>
                      </a:lnTo>
                      <a:lnTo>
                        <a:pt x="513" y="1233"/>
                      </a:lnTo>
                      <a:lnTo>
                        <a:pt x="511" y="1262"/>
                      </a:lnTo>
                      <a:lnTo>
                        <a:pt x="511" y="1290"/>
                      </a:lnTo>
                      <a:lnTo>
                        <a:pt x="511" y="2235"/>
                      </a:lnTo>
                      <a:lnTo>
                        <a:pt x="0" y="2235"/>
                      </a:lnTo>
                      <a:lnTo>
                        <a:pt x="0" y="52"/>
                      </a:lnTo>
                      <a:lnTo>
                        <a:pt x="511" y="52"/>
                      </a:lnTo>
                      <a:lnTo>
                        <a:pt x="511" y="459"/>
                      </a:lnTo>
                      <a:lnTo>
                        <a:pt x="521" y="459"/>
                      </a:lnTo>
                      <a:lnTo>
                        <a:pt x="531" y="433"/>
                      </a:lnTo>
                      <a:lnTo>
                        <a:pt x="543" y="408"/>
                      </a:lnTo>
                      <a:lnTo>
                        <a:pt x="555" y="384"/>
                      </a:lnTo>
                      <a:lnTo>
                        <a:pt x="568" y="360"/>
                      </a:lnTo>
                      <a:lnTo>
                        <a:pt x="582" y="336"/>
                      </a:lnTo>
                      <a:lnTo>
                        <a:pt x="596" y="314"/>
                      </a:lnTo>
                      <a:lnTo>
                        <a:pt x="611" y="292"/>
                      </a:lnTo>
                      <a:lnTo>
                        <a:pt x="626" y="270"/>
                      </a:lnTo>
                      <a:lnTo>
                        <a:pt x="642" y="249"/>
                      </a:lnTo>
                      <a:lnTo>
                        <a:pt x="658" y="229"/>
                      </a:lnTo>
                      <a:lnTo>
                        <a:pt x="676" y="210"/>
                      </a:lnTo>
                      <a:lnTo>
                        <a:pt x="693" y="191"/>
                      </a:lnTo>
                      <a:lnTo>
                        <a:pt x="712" y="173"/>
                      </a:lnTo>
                      <a:lnTo>
                        <a:pt x="731" y="156"/>
                      </a:lnTo>
                      <a:lnTo>
                        <a:pt x="750" y="141"/>
                      </a:lnTo>
                      <a:lnTo>
                        <a:pt x="771" y="125"/>
                      </a:lnTo>
                      <a:lnTo>
                        <a:pt x="791" y="110"/>
                      </a:lnTo>
                      <a:lnTo>
                        <a:pt x="812" y="97"/>
                      </a:lnTo>
                      <a:lnTo>
                        <a:pt x="834" y="84"/>
                      </a:lnTo>
                      <a:lnTo>
                        <a:pt x="856" y="71"/>
                      </a:lnTo>
                      <a:lnTo>
                        <a:pt x="879" y="61"/>
                      </a:lnTo>
                      <a:lnTo>
                        <a:pt x="903" y="51"/>
                      </a:lnTo>
                      <a:lnTo>
                        <a:pt x="927" y="41"/>
                      </a:lnTo>
                      <a:lnTo>
                        <a:pt x="952" y="33"/>
                      </a:lnTo>
                      <a:lnTo>
                        <a:pt x="977" y="25"/>
                      </a:lnTo>
                      <a:lnTo>
                        <a:pt x="1003" y="19"/>
                      </a:lnTo>
                      <a:lnTo>
                        <a:pt x="1029" y="14"/>
                      </a:lnTo>
                      <a:lnTo>
                        <a:pt x="1056" y="9"/>
                      </a:lnTo>
                      <a:lnTo>
                        <a:pt x="1083" y="5"/>
                      </a:lnTo>
                      <a:lnTo>
                        <a:pt x="1111" y="2"/>
                      </a:lnTo>
                      <a:lnTo>
                        <a:pt x="1140" y="1"/>
                      </a:lnTo>
                      <a:lnTo>
                        <a:pt x="1169" y="0"/>
                      </a:lnTo>
                      <a:lnTo>
                        <a:pt x="1207" y="1"/>
                      </a:lnTo>
                      <a:lnTo>
                        <a:pt x="1245" y="4"/>
                      </a:lnTo>
                      <a:lnTo>
                        <a:pt x="1281" y="10"/>
                      </a:lnTo>
                      <a:lnTo>
                        <a:pt x="1314" y="16"/>
                      </a:lnTo>
                      <a:lnTo>
                        <a:pt x="1348" y="24"/>
                      </a:lnTo>
                      <a:lnTo>
                        <a:pt x="1379" y="35"/>
                      </a:lnTo>
                      <a:lnTo>
                        <a:pt x="1409" y="46"/>
                      </a:lnTo>
                      <a:lnTo>
                        <a:pt x="1438" y="60"/>
                      </a:lnTo>
                      <a:lnTo>
                        <a:pt x="1466" y="76"/>
                      </a:lnTo>
                      <a:lnTo>
                        <a:pt x="1492" y="91"/>
                      </a:lnTo>
                      <a:lnTo>
                        <a:pt x="1517" y="110"/>
                      </a:lnTo>
                      <a:lnTo>
                        <a:pt x="1540" y="129"/>
                      </a:lnTo>
                      <a:lnTo>
                        <a:pt x="1562" y="150"/>
                      </a:lnTo>
                      <a:lnTo>
                        <a:pt x="1583" y="172"/>
                      </a:lnTo>
                      <a:lnTo>
                        <a:pt x="1603" y="195"/>
                      </a:lnTo>
                      <a:lnTo>
                        <a:pt x="1622" y="219"/>
                      </a:lnTo>
                      <a:lnTo>
                        <a:pt x="1640" y="245"/>
                      </a:lnTo>
                      <a:lnTo>
                        <a:pt x="1656" y="272"/>
                      </a:lnTo>
                      <a:lnTo>
                        <a:pt x="1671" y="299"/>
                      </a:lnTo>
                      <a:lnTo>
                        <a:pt x="1684" y="327"/>
                      </a:lnTo>
                      <a:lnTo>
                        <a:pt x="1697" y="357"/>
                      </a:lnTo>
                      <a:lnTo>
                        <a:pt x="1708" y="387"/>
                      </a:lnTo>
                      <a:lnTo>
                        <a:pt x="1719" y="418"/>
                      </a:lnTo>
                      <a:lnTo>
                        <a:pt x="1728" y="450"/>
                      </a:lnTo>
                      <a:lnTo>
                        <a:pt x="1736" y="482"/>
                      </a:lnTo>
                      <a:lnTo>
                        <a:pt x="1743" y="515"/>
                      </a:lnTo>
                      <a:lnTo>
                        <a:pt x="1748" y="548"/>
                      </a:lnTo>
                      <a:lnTo>
                        <a:pt x="1754" y="582"/>
                      </a:lnTo>
                      <a:lnTo>
                        <a:pt x="1757" y="616"/>
                      </a:lnTo>
                      <a:lnTo>
                        <a:pt x="1760" y="651"/>
                      </a:lnTo>
                      <a:lnTo>
                        <a:pt x="1761" y="686"/>
                      </a:lnTo>
                      <a:lnTo>
                        <a:pt x="1762" y="721"/>
                      </a:lnTo>
                      <a:lnTo>
                        <a:pt x="1762" y="2235"/>
                      </a:lnTo>
                      <a:lnTo>
                        <a:pt x="1252" y="2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5" name="Freeform 10"/>
                <p:cNvSpPr>
                  <a:spLocks/>
                </p:cNvSpPr>
                <p:nvPr userDrawn="1"/>
              </p:nvSpPr>
              <p:spPr bwMode="auto">
                <a:xfrm>
                  <a:off x="2349500" y="2459038"/>
                  <a:ext cx="228600" cy="427038"/>
                </a:xfrm>
                <a:custGeom>
                  <a:avLst/>
                  <a:gdLst/>
                  <a:ahLst/>
                  <a:cxnLst>
                    <a:cxn ang="0">
                      <a:pos x="939" y="2110"/>
                    </a:cxn>
                    <a:cxn ang="0">
                      <a:pos x="941" y="2205"/>
                    </a:cxn>
                    <a:cxn ang="0">
                      <a:pos x="948" y="2296"/>
                    </a:cxn>
                    <a:cxn ang="0">
                      <a:pos x="956" y="2339"/>
                    </a:cxn>
                    <a:cxn ang="0">
                      <a:pos x="964" y="2378"/>
                    </a:cxn>
                    <a:cxn ang="0">
                      <a:pos x="977" y="2417"/>
                    </a:cxn>
                    <a:cxn ang="0">
                      <a:pos x="992" y="2452"/>
                    </a:cxn>
                    <a:cxn ang="0">
                      <a:pos x="1012" y="2484"/>
                    </a:cxn>
                    <a:cxn ang="0">
                      <a:pos x="1036" y="2514"/>
                    </a:cxn>
                    <a:cxn ang="0">
                      <a:pos x="1063" y="2539"/>
                    </a:cxn>
                    <a:cxn ang="0">
                      <a:pos x="1097" y="2561"/>
                    </a:cxn>
                    <a:cxn ang="0">
                      <a:pos x="1134" y="2578"/>
                    </a:cxn>
                    <a:cxn ang="0">
                      <a:pos x="1179" y="2591"/>
                    </a:cxn>
                    <a:cxn ang="0">
                      <a:pos x="1228" y="2598"/>
                    </a:cxn>
                    <a:cxn ang="0">
                      <a:pos x="1285" y="2602"/>
                    </a:cxn>
                    <a:cxn ang="0">
                      <a:pos x="1343" y="2598"/>
                    </a:cxn>
                    <a:cxn ang="0">
                      <a:pos x="1401" y="2590"/>
                    </a:cxn>
                    <a:cxn ang="0">
                      <a:pos x="1460" y="2578"/>
                    </a:cxn>
                    <a:cxn ang="0">
                      <a:pos x="1519" y="2565"/>
                    </a:cxn>
                    <a:cxn ang="0">
                      <a:pos x="1467" y="2931"/>
                    </a:cxn>
                    <a:cxn ang="0">
                      <a:pos x="1361" y="2944"/>
                    </a:cxn>
                    <a:cxn ang="0">
                      <a:pos x="1256" y="2954"/>
                    </a:cxn>
                    <a:cxn ang="0">
                      <a:pos x="1152" y="2958"/>
                    </a:cxn>
                    <a:cxn ang="0">
                      <a:pos x="1059" y="2959"/>
                    </a:cxn>
                    <a:cxn ang="0">
                      <a:pos x="981" y="2955"/>
                    </a:cxn>
                    <a:cxn ang="0">
                      <a:pos x="907" y="2947"/>
                    </a:cxn>
                    <a:cxn ang="0">
                      <a:pos x="839" y="2936"/>
                    </a:cxn>
                    <a:cxn ang="0">
                      <a:pos x="776" y="2920"/>
                    </a:cxn>
                    <a:cxn ang="0">
                      <a:pos x="718" y="2900"/>
                    </a:cxn>
                    <a:cxn ang="0">
                      <a:pos x="666" y="2875"/>
                    </a:cxn>
                    <a:cxn ang="0">
                      <a:pos x="618" y="2846"/>
                    </a:cxn>
                    <a:cxn ang="0">
                      <a:pos x="576" y="2810"/>
                    </a:cxn>
                    <a:cxn ang="0">
                      <a:pos x="539" y="2770"/>
                    </a:cxn>
                    <a:cxn ang="0">
                      <a:pos x="508" y="2724"/>
                    </a:cxn>
                    <a:cxn ang="0">
                      <a:pos x="482" y="2672"/>
                    </a:cxn>
                    <a:cxn ang="0">
                      <a:pos x="461" y="2614"/>
                    </a:cxn>
                    <a:cxn ang="0">
                      <a:pos x="445" y="2549"/>
                    </a:cxn>
                    <a:cxn ang="0">
                      <a:pos x="434" y="2478"/>
                    </a:cxn>
                    <a:cxn ang="0">
                      <a:pos x="429" y="2400"/>
                    </a:cxn>
                    <a:cxn ang="0">
                      <a:pos x="428" y="1079"/>
                    </a:cxn>
                    <a:cxn ang="0">
                      <a:pos x="0" y="726"/>
                    </a:cxn>
                    <a:cxn ang="0">
                      <a:pos x="428" y="207"/>
                    </a:cxn>
                    <a:cxn ang="0">
                      <a:pos x="939" y="726"/>
                    </a:cxn>
                    <a:cxn ang="0">
                      <a:pos x="1587" y="1079"/>
                    </a:cxn>
                  </a:cxnLst>
                  <a:rect l="0" t="0" r="r" b="b"/>
                  <a:pathLst>
                    <a:path w="1587" h="2959">
                      <a:moveTo>
                        <a:pt x="939" y="1079"/>
                      </a:moveTo>
                      <a:lnTo>
                        <a:pt x="939" y="2110"/>
                      </a:lnTo>
                      <a:lnTo>
                        <a:pt x="940" y="2158"/>
                      </a:lnTo>
                      <a:lnTo>
                        <a:pt x="941" y="2205"/>
                      </a:lnTo>
                      <a:lnTo>
                        <a:pt x="944" y="2252"/>
                      </a:lnTo>
                      <a:lnTo>
                        <a:pt x="948" y="2296"/>
                      </a:lnTo>
                      <a:lnTo>
                        <a:pt x="951" y="2317"/>
                      </a:lnTo>
                      <a:lnTo>
                        <a:pt x="956" y="2339"/>
                      </a:lnTo>
                      <a:lnTo>
                        <a:pt x="960" y="2358"/>
                      </a:lnTo>
                      <a:lnTo>
                        <a:pt x="964" y="2378"/>
                      </a:lnTo>
                      <a:lnTo>
                        <a:pt x="970" y="2398"/>
                      </a:lnTo>
                      <a:lnTo>
                        <a:pt x="977" y="2417"/>
                      </a:lnTo>
                      <a:lnTo>
                        <a:pt x="984" y="2435"/>
                      </a:lnTo>
                      <a:lnTo>
                        <a:pt x="992" y="2452"/>
                      </a:lnTo>
                      <a:lnTo>
                        <a:pt x="1002" y="2469"/>
                      </a:lnTo>
                      <a:lnTo>
                        <a:pt x="1012" y="2484"/>
                      </a:lnTo>
                      <a:lnTo>
                        <a:pt x="1023" y="2500"/>
                      </a:lnTo>
                      <a:lnTo>
                        <a:pt x="1036" y="2514"/>
                      </a:lnTo>
                      <a:lnTo>
                        <a:pt x="1049" y="2527"/>
                      </a:lnTo>
                      <a:lnTo>
                        <a:pt x="1063" y="2539"/>
                      </a:lnTo>
                      <a:lnTo>
                        <a:pt x="1079" y="2550"/>
                      </a:lnTo>
                      <a:lnTo>
                        <a:pt x="1097" y="2561"/>
                      </a:lnTo>
                      <a:lnTo>
                        <a:pt x="1114" y="2570"/>
                      </a:lnTo>
                      <a:lnTo>
                        <a:pt x="1134" y="2578"/>
                      </a:lnTo>
                      <a:lnTo>
                        <a:pt x="1155" y="2585"/>
                      </a:lnTo>
                      <a:lnTo>
                        <a:pt x="1179" y="2591"/>
                      </a:lnTo>
                      <a:lnTo>
                        <a:pt x="1203" y="2595"/>
                      </a:lnTo>
                      <a:lnTo>
                        <a:pt x="1228" y="2598"/>
                      </a:lnTo>
                      <a:lnTo>
                        <a:pt x="1255" y="2601"/>
                      </a:lnTo>
                      <a:lnTo>
                        <a:pt x="1285" y="2602"/>
                      </a:lnTo>
                      <a:lnTo>
                        <a:pt x="1313" y="2601"/>
                      </a:lnTo>
                      <a:lnTo>
                        <a:pt x="1343" y="2598"/>
                      </a:lnTo>
                      <a:lnTo>
                        <a:pt x="1372" y="2594"/>
                      </a:lnTo>
                      <a:lnTo>
                        <a:pt x="1401" y="2590"/>
                      </a:lnTo>
                      <a:lnTo>
                        <a:pt x="1431" y="2584"/>
                      </a:lnTo>
                      <a:lnTo>
                        <a:pt x="1460" y="2578"/>
                      </a:lnTo>
                      <a:lnTo>
                        <a:pt x="1490" y="2571"/>
                      </a:lnTo>
                      <a:lnTo>
                        <a:pt x="1519" y="2565"/>
                      </a:lnTo>
                      <a:lnTo>
                        <a:pt x="1519" y="2922"/>
                      </a:lnTo>
                      <a:lnTo>
                        <a:pt x="1467" y="2931"/>
                      </a:lnTo>
                      <a:lnTo>
                        <a:pt x="1414" y="2938"/>
                      </a:lnTo>
                      <a:lnTo>
                        <a:pt x="1361" y="2944"/>
                      </a:lnTo>
                      <a:lnTo>
                        <a:pt x="1309" y="2950"/>
                      </a:lnTo>
                      <a:lnTo>
                        <a:pt x="1256" y="2954"/>
                      </a:lnTo>
                      <a:lnTo>
                        <a:pt x="1205" y="2957"/>
                      </a:lnTo>
                      <a:lnTo>
                        <a:pt x="1152" y="2958"/>
                      </a:lnTo>
                      <a:lnTo>
                        <a:pt x="1101" y="2959"/>
                      </a:lnTo>
                      <a:lnTo>
                        <a:pt x="1059" y="2959"/>
                      </a:lnTo>
                      <a:lnTo>
                        <a:pt x="1019" y="2957"/>
                      </a:lnTo>
                      <a:lnTo>
                        <a:pt x="981" y="2955"/>
                      </a:lnTo>
                      <a:lnTo>
                        <a:pt x="943" y="2952"/>
                      </a:lnTo>
                      <a:lnTo>
                        <a:pt x="907" y="2947"/>
                      </a:lnTo>
                      <a:lnTo>
                        <a:pt x="873" y="2942"/>
                      </a:lnTo>
                      <a:lnTo>
                        <a:pt x="839" y="2936"/>
                      </a:lnTo>
                      <a:lnTo>
                        <a:pt x="806" y="2929"/>
                      </a:lnTo>
                      <a:lnTo>
                        <a:pt x="776" y="2920"/>
                      </a:lnTo>
                      <a:lnTo>
                        <a:pt x="746" y="2911"/>
                      </a:lnTo>
                      <a:lnTo>
                        <a:pt x="718" y="2900"/>
                      </a:lnTo>
                      <a:lnTo>
                        <a:pt x="692" y="2889"/>
                      </a:lnTo>
                      <a:lnTo>
                        <a:pt x="666" y="2875"/>
                      </a:lnTo>
                      <a:lnTo>
                        <a:pt x="641" y="2862"/>
                      </a:lnTo>
                      <a:lnTo>
                        <a:pt x="618" y="2846"/>
                      </a:lnTo>
                      <a:lnTo>
                        <a:pt x="597" y="2829"/>
                      </a:lnTo>
                      <a:lnTo>
                        <a:pt x="576" y="2810"/>
                      </a:lnTo>
                      <a:lnTo>
                        <a:pt x="557" y="2791"/>
                      </a:lnTo>
                      <a:lnTo>
                        <a:pt x="539" y="2770"/>
                      </a:lnTo>
                      <a:lnTo>
                        <a:pt x="524" y="2748"/>
                      </a:lnTo>
                      <a:lnTo>
                        <a:pt x="508" y="2724"/>
                      </a:lnTo>
                      <a:lnTo>
                        <a:pt x="494" y="2699"/>
                      </a:lnTo>
                      <a:lnTo>
                        <a:pt x="482" y="2672"/>
                      </a:lnTo>
                      <a:lnTo>
                        <a:pt x="470" y="2644"/>
                      </a:lnTo>
                      <a:lnTo>
                        <a:pt x="461" y="2614"/>
                      </a:lnTo>
                      <a:lnTo>
                        <a:pt x="452" y="2583"/>
                      </a:lnTo>
                      <a:lnTo>
                        <a:pt x="445" y="2549"/>
                      </a:lnTo>
                      <a:lnTo>
                        <a:pt x="438" y="2515"/>
                      </a:lnTo>
                      <a:lnTo>
                        <a:pt x="434" y="2478"/>
                      </a:lnTo>
                      <a:lnTo>
                        <a:pt x="431" y="2440"/>
                      </a:lnTo>
                      <a:lnTo>
                        <a:pt x="429" y="2400"/>
                      </a:lnTo>
                      <a:lnTo>
                        <a:pt x="428" y="2358"/>
                      </a:lnTo>
                      <a:lnTo>
                        <a:pt x="428" y="1079"/>
                      </a:lnTo>
                      <a:lnTo>
                        <a:pt x="0" y="1079"/>
                      </a:lnTo>
                      <a:lnTo>
                        <a:pt x="0" y="726"/>
                      </a:lnTo>
                      <a:lnTo>
                        <a:pt x="428" y="726"/>
                      </a:lnTo>
                      <a:lnTo>
                        <a:pt x="428" y="207"/>
                      </a:lnTo>
                      <a:lnTo>
                        <a:pt x="939" y="0"/>
                      </a:lnTo>
                      <a:lnTo>
                        <a:pt x="939" y="726"/>
                      </a:lnTo>
                      <a:lnTo>
                        <a:pt x="1587" y="726"/>
                      </a:lnTo>
                      <a:lnTo>
                        <a:pt x="1587" y="1079"/>
                      </a:lnTo>
                      <a:lnTo>
                        <a:pt x="939" y="10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6" name="Freeform 11"/>
                <p:cNvSpPr>
                  <a:spLocks/>
                </p:cNvSpPr>
                <p:nvPr userDrawn="1"/>
              </p:nvSpPr>
              <p:spPr bwMode="auto">
                <a:xfrm>
                  <a:off x="2609850" y="2563813"/>
                  <a:ext cx="255587" cy="322263"/>
                </a:xfrm>
                <a:custGeom>
                  <a:avLst/>
                  <a:gdLst/>
                  <a:ahLst/>
                  <a:cxnLst>
                    <a:cxn ang="0">
                      <a:pos x="1243" y="1774"/>
                    </a:cxn>
                    <a:cxn ang="0">
                      <a:pos x="1208" y="1849"/>
                    </a:cxn>
                    <a:cxn ang="0">
                      <a:pos x="1167" y="1919"/>
                    </a:cxn>
                    <a:cxn ang="0">
                      <a:pos x="1120" y="1983"/>
                    </a:cxn>
                    <a:cxn ang="0">
                      <a:pos x="1068" y="2040"/>
                    </a:cxn>
                    <a:cxn ang="0">
                      <a:pos x="1012" y="2092"/>
                    </a:cxn>
                    <a:cxn ang="0">
                      <a:pos x="949" y="2136"/>
                    </a:cxn>
                    <a:cxn ang="0">
                      <a:pos x="881" y="2172"/>
                    </a:cxn>
                    <a:cxn ang="0">
                      <a:pos x="810" y="2201"/>
                    </a:cxn>
                    <a:cxn ang="0">
                      <a:pos x="733" y="2220"/>
                    </a:cxn>
                    <a:cxn ang="0">
                      <a:pos x="651" y="2231"/>
                    </a:cxn>
                    <a:cxn ang="0">
                      <a:pos x="555" y="2232"/>
                    </a:cxn>
                    <a:cxn ang="0">
                      <a:pos x="448" y="2217"/>
                    </a:cxn>
                    <a:cxn ang="0">
                      <a:pos x="354" y="2187"/>
                    </a:cxn>
                    <a:cxn ang="0">
                      <a:pos x="271" y="2142"/>
                    </a:cxn>
                    <a:cxn ang="0">
                      <a:pos x="200" y="2084"/>
                    </a:cxn>
                    <a:cxn ang="0">
                      <a:pos x="140" y="2014"/>
                    </a:cxn>
                    <a:cxn ang="0">
                      <a:pos x="92" y="1934"/>
                    </a:cxn>
                    <a:cxn ang="0">
                      <a:pos x="54" y="1846"/>
                    </a:cxn>
                    <a:cxn ang="0">
                      <a:pos x="27" y="1752"/>
                    </a:cxn>
                    <a:cxn ang="0">
                      <a:pos x="9" y="1651"/>
                    </a:cxn>
                    <a:cxn ang="0">
                      <a:pos x="1" y="1548"/>
                    </a:cxn>
                    <a:cxn ang="0">
                      <a:pos x="511" y="0"/>
                    </a:cxn>
                    <a:cxn ang="0">
                      <a:pos x="511" y="1353"/>
                    </a:cxn>
                    <a:cxn ang="0">
                      <a:pos x="516" y="1454"/>
                    </a:cxn>
                    <a:cxn ang="0">
                      <a:pos x="526" y="1558"/>
                    </a:cxn>
                    <a:cxn ang="0">
                      <a:pos x="545" y="1637"/>
                    </a:cxn>
                    <a:cxn ang="0">
                      <a:pos x="561" y="1675"/>
                    </a:cxn>
                    <a:cxn ang="0">
                      <a:pos x="582" y="1707"/>
                    </a:cxn>
                    <a:cxn ang="0">
                      <a:pos x="605" y="1727"/>
                    </a:cxn>
                    <a:cxn ang="0">
                      <a:pos x="630" y="1740"/>
                    </a:cxn>
                    <a:cxn ang="0">
                      <a:pos x="658" y="1749"/>
                    </a:cxn>
                    <a:cxn ang="0">
                      <a:pos x="717" y="1755"/>
                    </a:cxn>
                    <a:cxn ang="0">
                      <a:pos x="804" y="1750"/>
                    </a:cxn>
                    <a:cxn ang="0">
                      <a:pos x="894" y="1720"/>
                    </a:cxn>
                    <a:cxn ang="0">
                      <a:pos x="973" y="1670"/>
                    </a:cxn>
                    <a:cxn ang="0">
                      <a:pos x="1041" y="1602"/>
                    </a:cxn>
                    <a:cxn ang="0">
                      <a:pos x="1099" y="1520"/>
                    </a:cxn>
                    <a:cxn ang="0">
                      <a:pos x="1147" y="1428"/>
                    </a:cxn>
                    <a:cxn ang="0">
                      <a:pos x="1186" y="1330"/>
                    </a:cxn>
                    <a:cxn ang="0">
                      <a:pos x="1216" y="1229"/>
                    </a:cxn>
                    <a:cxn ang="0">
                      <a:pos x="1236" y="1128"/>
                    </a:cxn>
                    <a:cxn ang="0">
                      <a:pos x="1248" y="1032"/>
                    </a:cxn>
                    <a:cxn ang="0">
                      <a:pos x="1252" y="944"/>
                    </a:cxn>
                    <a:cxn ang="0">
                      <a:pos x="1762" y="2183"/>
                    </a:cxn>
                  </a:cxnLst>
                  <a:rect l="0" t="0" r="r" b="b"/>
                  <a:pathLst>
                    <a:path w="1762" h="2233">
                      <a:moveTo>
                        <a:pt x="1252" y="2183"/>
                      </a:moveTo>
                      <a:lnTo>
                        <a:pt x="1252" y="1774"/>
                      </a:lnTo>
                      <a:lnTo>
                        <a:pt x="1243" y="1774"/>
                      </a:lnTo>
                      <a:lnTo>
                        <a:pt x="1232" y="1800"/>
                      </a:lnTo>
                      <a:lnTo>
                        <a:pt x="1220" y="1825"/>
                      </a:lnTo>
                      <a:lnTo>
                        <a:pt x="1208" y="1849"/>
                      </a:lnTo>
                      <a:lnTo>
                        <a:pt x="1195" y="1874"/>
                      </a:lnTo>
                      <a:lnTo>
                        <a:pt x="1181" y="1897"/>
                      </a:lnTo>
                      <a:lnTo>
                        <a:pt x="1167" y="1919"/>
                      </a:lnTo>
                      <a:lnTo>
                        <a:pt x="1151" y="1941"/>
                      </a:lnTo>
                      <a:lnTo>
                        <a:pt x="1137" y="1963"/>
                      </a:lnTo>
                      <a:lnTo>
                        <a:pt x="1120" y="1983"/>
                      </a:lnTo>
                      <a:lnTo>
                        <a:pt x="1103" y="2002"/>
                      </a:lnTo>
                      <a:lnTo>
                        <a:pt x="1086" y="2022"/>
                      </a:lnTo>
                      <a:lnTo>
                        <a:pt x="1068" y="2040"/>
                      </a:lnTo>
                      <a:lnTo>
                        <a:pt x="1050" y="2058"/>
                      </a:lnTo>
                      <a:lnTo>
                        <a:pt x="1031" y="2075"/>
                      </a:lnTo>
                      <a:lnTo>
                        <a:pt x="1012" y="2092"/>
                      </a:lnTo>
                      <a:lnTo>
                        <a:pt x="991" y="2107"/>
                      </a:lnTo>
                      <a:lnTo>
                        <a:pt x="971" y="2122"/>
                      </a:lnTo>
                      <a:lnTo>
                        <a:pt x="949" y="2136"/>
                      </a:lnTo>
                      <a:lnTo>
                        <a:pt x="928" y="2148"/>
                      </a:lnTo>
                      <a:lnTo>
                        <a:pt x="904" y="2161"/>
                      </a:lnTo>
                      <a:lnTo>
                        <a:pt x="881" y="2172"/>
                      </a:lnTo>
                      <a:lnTo>
                        <a:pt x="858" y="2182"/>
                      </a:lnTo>
                      <a:lnTo>
                        <a:pt x="834" y="2191"/>
                      </a:lnTo>
                      <a:lnTo>
                        <a:pt x="810" y="2201"/>
                      </a:lnTo>
                      <a:lnTo>
                        <a:pt x="785" y="2208"/>
                      </a:lnTo>
                      <a:lnTo>
                        <a:pt x="758" y="2214"/>
                      </a:lnTo>
                      <a:lnTo>
                        <a:pt x="733" y="2220"/>
                      </a:lnTo>
                      <a:lnTo>
                        <a:pt x="706" y="2225"/>
                      </a:lnTo>
                      <a:lnTo>
                        <a:pt x="678" y="2229"/>
                      </a:lnTo>
                      <a:lnTo>
                        <a:pt x="651" y="2231"/>
                      </a:lnTo>
                      <a:lnTo>
                        <a:pt x="623" y="2233"/>
                      </a:lnTo>
                      <a:lnTo>
                        <a:pt x="594" y="2233"/>
                      </a:lnTo>
                      <a:lnTo>
                        <a:pt x="555" y="2232"/>
                      </a:lnTo>
                      <a:lnTo>
                        <a:pt x="519" y="2229"/>
                      </a:lnTo>
                      <a:lnTo>
                        <a:pt x="483" y="2225"/>
                      </a:lnTo>
                      <a:lnTo>
                        <a:pt x="448" y="2217"/>
                      </a:lnTo>
                      <a:lnTo>
                        <a:pt x="416" y="2209"/>
                      </a:lnTo>
                      <a:lnTo>
                        <a:pt x="384" y="2198"/>
                      </a:lnTo>
                      <a:lnTo>
                        <a:pt x="354" y="2187"/>
                      </a:lnTo>
                      <a:lnTo>
                        <a:pt x="325" y="2173"/>
                      </a:lnTo>
                      <a:lnTo>
                        <a:pt x="297" y="2159"/>
                      </a:lnTo>
                      <a:lnTo>
                        <a:pt x="271" y="2142"/>
                      </a:lnTo>
                      <a:lnTo>
                        <a:pt x="246" y="2124"/>
                      </a:lnTo>
                      <a:lnTo>
                        <a:pt x="222" y="2104"/>
                      </a:lnTo>
                      <a:lnTo>
                        <a:pt x="200" y="2084"/>
                      </a:lnTo>
                      <a:lnTo>
                        <a:pt x="179" y="2062"/>
                      </a:lnTo>
                      <a:lnTo>
                        <a:pt x="159" y="2038"/>
                      </a:lnTo>
                      <a:lnTo>
                        <a:pt x="140" y="2014"/>
                      </a:lnTo>
                      <a:lnTo>
                        <a:pt x="123" y="1989"/>
                      </a:lnTo>
                      <a:lnTo>
                        <a:pt x="107" y="1962"/>
                      </a:lnTo>
                      <a:lnTo>
                        <a:pt x="92" y="1934"/>
                      </a:lnTo>
                      <a:lnTo>
                        <a:pt x="78" y="1906"/>
                      </a:lnTo>
                      <a:lnTo>
                        <a:pt x="66" y="1877"/>
                      </a:lnTo>
                      <a:lnTo>
                        <a:pt x="54" y="1846"/>
                      </a:lnTo>
                      <a:lnTo>
                        <a:pt x="44" y="1816"/>
                      </a:lnTo>
                      <a:lnTo>
                        <a:pt x="35" y="1784"/>
                      </a:lnTo>
                      <a:lnTo>
                        <a:pt x="27" y="1752"/>
                      </a:lnTo>
                      <a:lnTo>
                        <a:pt x="19" y="1719"/>
                      </a:lnTo>
                      <a:lnTo>
                        <a:pt x="14" y="1686"/>
                      </a:lnTo>
                      <a:lnTo>
                        <a:pt x="9" y="1651"/>
                      </a:lnTo>
                      <a:lnTo>
                        <a:pt x="6" y="1618"/>
                      </a:lnTo>
                      <a:lnTo>
                        <a:pt x="3" y="1583"/>
                      </a:lnTo>
                      <a:lnTo>
                        <a:pt x="1" y="1548"/>
                      </a:lnTo>
                      <a:lnTo>
                        <a:pt x="0" y="1513"/>
                      </a:lnTo>
                      <a:lnTo>
                        <a:pt x="0" y="0"/>
                      </a:lnTo>
                      <a:lnTo>
                        <a:pt x="511" y="0"/>
                      </a:lnTo>
                      <a:lnTo>
                        <a:pt x="511" y="1247"/>
                      </a:lnTo>
                      <a:lnTo>
                        <a:pt x="511" y="1294"/>
                      </a:lnTo>
                      <a:lnTo>
                        <a:pt x="511" y="1353"/>
                      </a:lnTo>
                      <a:lnTo>
                        <a:pt x="512" y="1385"/>
                      </a:lnTo>
                      <a:lnTo>
                        <a:pt x="513" y="1420"/>
                      </a:lnTo>
                      <a:lnTo>
                        <a:pt x="516" y="1454"/>
                      </a:lnTo>
                      <a:lnTo>
                        <a:pt x="518" y="1489"/>
                      </a:lnTo>
                      <a:lnTo>
                        <a:pt x="522" y="1525"/>
                      </a:lnTo>
                      <a:lnTo>
                        <a:pt x="526" y="1558"/>
                      </a:lnTo>
                      <a:lnTo>
                        <a:pt x="532" y="1591"/>
                      </a:lnTo>
                      <a:lnTo>
                        <a:pt x="541" y="1622"/>
                      </a:lnTo>
                      <a:lnTo>
                        <a:pt x="545" y="1637"/>
                      </a:lnTo>
                      <a:lnTo>
                        <a:pt x="550" y="1650"/>
                      </a:lnTo>
                      <a:lnTo>
                        <a:pt x="555" y="1663"/>
                      </a:lnTo>
                      <a:lnTo>
                        <a:pt x="561" y="1675"/>
                      </a:lnTo>
                      <a:lnTo>
                        <a:pt x="567" y="1687"/>
                      </a:lnTo>
                      <a:lnTo>
                        <a:pt x="574" y="1697"/>
                      </a:lnTo>
                      <a:lnTo>
                        <a:pt x="582" y="1707"/>
                      </a:lnTo>
                      <a:lnTo>
                        <a:pt x="589" y="1714"/>
                      </a:lnTo>
                      <a:lnTo>
                        <a:pt x="596" y="1722"/>
                      </a:lnTo>
                      <a:lnTo>
                        <a:pt x="605" y="1727"/>
                      </a:lnTo>
                      <a:lnTo>
                        <a:pt x="612" y="1732"/>
                      </a:lnTo>
                      <a:lnTo>
                        <a:pt x="621" y="1736"/>
                      </a:lnTo>
                      <a:lnTo>
                        <a:pt x="630" y="1740"/>
                      </a:lnTo>
                      <a:lnTo>
                        <a:pt x="640" y="1744"/>
                      </a:lnTo>
                      <a:lnTo>
                        <a:pt x="649" y="1747"/>
                      </a:lnTo>
                      <a:lnTo>
                        <a:pt x="658" y="1749"/>
                      </a:lnTo>
                      <a:lnTo>
                        <a:pt x="677" y="1752"/>
                      </a:lnTo>
                      <a:lnTo>
                        <a:pt x="697" y="1754"/>
                      </a:lnTo>
                      <a:lnTo>
                        <a:pt x="717" y="1755"/>
                      </a:lnTo>
                      <a:lnTo>
                        <a:pt x="737" y="1756"/>
                      </a:lnTo>
                      <a:lnTo>
                        <a:pt x="771" y="1754"/>
                      </a:lnTo>
                      <a:lnTo>
                        <a:pt x="804" y="1750"/>
                      </a:lnTo>
                      <a:lnTo>
                        <a:pt x="835" y="1743"/>
                      </a:lnTo>
                      <a:lnTo>
                        <a:pt x="865" y="1733"/>
                      </a:lnTo>
                      <a:lnTo>
                        <a:pt x="894" y="1720"/>
                      </a:lnTo>
                      <a:lnTo>
                        <a:pt x="921" y="1706"/>
                      </a:lnTo>
                      <a:lnTo>
                        <a:pt x="948" y="1689"/>
                      </a:lnTo>
                      <a:lnTo>
                        <a:pt x="973" y="1670"/>
                      </a:lnTo>
                      <a:lnTo>
                        <a:pt x="997" y="1649"/>
                      </a:lnTo>
                      <a:lnTo>
                        <a:pt x="1019" y="1627"/>
                      </a:lnTo>
                      <a:lnTo>
                        <a:pt x="1041" y="1602"/>
                      </a:lnTo>
                      <a:lnTo>
                        <a:pt x="1061" y="1577"/>
                      </a:lnTo>
                      <a:lnTo>
                        <a:pt x="1081" y="1550"/>
                      </a:lnTo>
                      <a:lnTo>
                        <a:pt x="1099" y="1520"/>
                      </a:lnTo>
                      <a:lnTo>
                        <a:pt x="1117" y="1491"/>
                      </a:lnTo>
                      <a:lnTo>
                        <a:pt x="1133" y="1461"/>
                      </a:lnTo>
                      <a:lnTo>
                        <a:pt x="1147" y="1428"/>
                      </a:lnTo>
                      <a:lnTo>
                        <a:pt x="1161" y="1397"/>
                      </a:lnTo>
                      <a:lnTo>
                        <a:pt x="1175" y="1363"/>
                      </a:lnTo>
                      <a:lnTo>
                        <a:pt x="1186" y="1330"/>
                      </a:lnTo>
                      <a:lnTo>
                        <a:pt x="1197" y="1296"/>
                      </a:lnTo>
                      <a:lnTo>
                        <a:pt x="1207" y="1262"/>
                      </a:lnTo>
                      <a:lnTo>
                        <a:pt x="1216" y="1229"/>
                      </a:lnTo>
                      <a:lnTo>
                        <a:pt x="1223" y="1195"/>
                      </a:lnTo>
                      <a:lnTo>
                        <a:pt x="1230" y="1162"/>
                      </a:lnTo>
                      <a:lnTo>
                        <a:pt x="1236" y="1128"/>
                      </a:lnTo>
                      <a:lnTo>
                        <a:pt x="1241" y="1096"/>
                      </a:lnTo>
                      <a:lnTo>
                        <a:pt x="1245" y="1063"/>
                      </a:lnTo>
                      <a:lnTo>
                        <a:pt x="1248" y="1032"/>
                      </a:lnTo>
                      <a:lnTo>
                        <a:pt x="1250" y="1002"/>
                      </a:lnTo>
                      <a:lnTo>
                        <a:pt x="1251" y="972"/>
                      </a:lnTo>
                      <a:lnTo>
                        <a:pt x="1252" y="944"/>
                      </a:lnTo>
                      <a:lnTo>
                        <a:pt x="1252" y="0"/>
                      </a:lnTo>
                      <a:lnTo>
                        <a:pt x="1762" y="0"/>
                      </a:lnTo>
                      <a:lnTo>
                        <a:pt x="1762" y="2183"/>
                      </a:lnTo>
                      <a:lnTo>
                        <a:pt x="1252" y="2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7" name="Freeform 12"/>
                <p:cNvSpPr>
                  <a:spLocks/>
                </p:cNvSpPr>
                <p:nvPr userDrawn="1"/>
              </p:nvSpPr>
              <p:spPr bwMode="auto">
                <a:xfrm>
                  <a:off x="2911475" y="2555875"/>
                  <a:ext cx="177800" cy="322263"/>
                </a:xfrm>
                <a:custGeom>
                  <a:avLst/>
                  <a:gdLst/>
                  <a:ahLst/>
                  <a:cxnLst>
                    <a:cxn ang="0">
                      <a:pos x="511" y="2235"/>
                    </a:cxn>
                    <a:cxn ang="0">
                      <a:pos x="0" y="52"/>
                    </a:cxn>
                    <a:cxn ang="0">
                      <a:pos x="511" y="455"/>
                    </a:cxn>
                    <a:cxn ang="0">
                      <a:pos x="536" y="427"/>
                    </a:cxn>
                    <a:cxn ang="0">
                      <a:pos x="568" y="373"/>
                    </a:cxn>
                    <a:cxn ang="0">
                      <a:pos x="600" y="324"/>
                    </a:cxn>
                    <a:cxn ang="0">
                      <a:pos x="634" y="278"/>
                    </a:cxn>
                    <a:cxn ang="0">
                      <a:pos x="667" y="235"/>
                    </a:cxn>
                    <a:cxn ang="0">
                      <a:pos x="703" y="196"/>
                    </a:cxn>
                    <a:cxn ang="0">
                      <a:pos x="740" y="161"/>
                    </a:cxn>
                    <a:cxn ang="0">
                      <a:pos x="779" y="129"/>
                    </a:cxn>
                    <a:cxn ang="0">
                      <a:pos x="821" y="101"/>
                    </a:cxn>
                    <a:cxn ang="0">
                      <a:pos x="864" y="76"/>
                    </a:cxn>
                    <a:cxn ang="0">
                      <a:pos x="910" y="55"/>
                    </a:cxn>
                    <a:cxn ang="0">
                      <a:pos x="960" y="37"/>
                    </a:cxn>
                    <a:cxn ang="0">
                      <a:pos x="1013" y="22"/>
                    </a:cxn>
                    <a:cxn ang="0">
                      <a:pos x="1069" y="12"/>
                    </a:cxn>
                    <a:cxn ang="0">
                      <a:pos x="1130" y="4"/>
                    </a:cxn>
                    <a:cxn ang="0">
                      <a:pos x="1194" y="1"/>
                    </a:cxn>
                    <a:cxn ang="0">
                      <a:pos x="1228" y="533"/>
                    </a:cxn>
                    <a:cxn ang="0">
                      <a:pos x="1134" y="536"/>
                    </a:cxn>
                    <a:cxn ang="0">
                      <a:pos x="1047" y="543"/>
                    </a:cxn>
                    <a:cxn ang="0">
                      <a:pos x="967" y="558"/>
                    </a:cxn>
                    <a:cxn ang="0">
                      <a:pos x="895" y="577"/>
                    </a:cxn>
                    <a:cxn ang="0">
                      <a:pos x="829" y="602"/>
                    </a:cxn>
                    <a:cxn ang="0">
                      <a:pos x="770" y="632"/>
                    </a:cxn>
                    <a:cxn ang="0">
                      <a:pos x="719" y="669"/>
                    </a:cxn>
                    <a:cxn ang="0">
                      <a:pos x="673" y="712"/>
                    </a:cxn>
                    <a:cxn ang="0">
                      <a:pos x="633" y="760"/>
                    </a:cxn>
                    <a:cxn ang="0">
                      <a:pos x="599" y="815"/>
                    </a:cxn>
                    <a:cxn ang="0">
                      <a:pos x="572" y="875"/>
                    </a:cxn>
                    <a:cxn ang="0">
                      <a:pos x="549" y="943"/>
                    </a:cxn>
                    <a:cxn ang="0">
                      <a:pos x="532" y="1017"/>
                    </a:cxn>
                    <a:cxn ang="0">
                      <a:pos x="520" y="1096"/>
                    </a:cxn>
                    <a:cxn ang="0">
                      <a:pos x="513" y="1182"/>
                    </a:cxn>
                    <a:cxn ang="0">
                      <a:pos x="511" y="1276"/>
                    </a:cxn>
                  </a:cxnLst>
                  <a:rect l="0" t="0" r="r" b="b"/>
                  <a:pathLst>
                    <a:path w="1228" h="2235">
                      <a:moveTo>
                        <a:pt x="511" y="1276"/>
                      </a:moveTo>
                      <a:lnTo>
                        <a:pt x="511" y="2235"/>
                      </a:lnTo>
                      <a:lnTo>
                        <a:pt x="0" y="2235"/>
                      </a:lnTo>
                      <a:lnTo>
                        <a:pt x="0" y="52"/>
                      </a:lnTo>
                      <a:lnTo>
                        <a:pt x="511" y="52"/>
                      </a:lnTo>
                      <a:lnTo>
                        <a:pt x="511" y="455"/>
                      </a:lnTo>
                      <a:lnTo>
                        <a:pt x="519" y="455"/>
                      </a:lnTo>
                      <a:lnTo>
                        <a:pt x="536" y="427"/>
                      </a:lnTo>
                      <a:lnTo>
                        <a:pt x="552" y="400"/>
                      </a:lnTo>
                      <a:lnTo>
                        <a:pt x="568" y="373"/>
                      </a:lnTo>
                      <a:lnTo>
                        <a:pt x="583" y="348"/>
                      </a:lnTo>
                      <a:lnTo>
                        <a:pt x="600" y="324"/>
                      </a:lnTo>
                      <a:lnTo>
                        <a:pt x="617" y="301"/>
                      </a:lnTo>
                      <a:lnTo>
                        <a:pt x="634" y="278"/>
                      </a:lnTo>
                      <a:lnTo>
                        <a:pt x="651" y="256"/>
                      </a:lnTo>
                      <a:lnTo>
                        <a:pt x="667" y="235"/>
                      </a:lnTo>
                      <a:lnTo>
                        <a:pt x="685" y="215"/>
                      </a:lnTo>
                      <a:lnTo>
                        <a:pt x="703" y="196"/>
                      </a:lnTo>
                      <a:lnTo>
                        <a:pt x="721" y="178"/>
                      </a:lnTo>
                      <a:lnTo>
                        <a:pt x="740" y="161"/>
                      </a:lnTo>
                      <a:lnTo>
                        <a:pt x="760" y="145"/>
                      </a:lnTo>
                      <a:lnTo>
                        <a:pt x="779" y="129"/>
                      </a:lnTo>
                      <a:lnTo>
                        <a:pt x="800" y="114"/>
                      </a:lnTo>
                      <a:lnTo>
                        <a:pt x="821" y="101"/>
                      </a:lnTo>
                      <a:lnTo>
                        <a:pt x="842" y="87"/>
                      </a:lnTo>
                      <a:lnTo>
                        <a:pt x="864" y="76"/>
                      </a:lnTo>
                      <a:lnTo>
                        <a:pt x="887" y="64"/>
                      </a:lnTo>
                      <a:lnTo>
                        <a:pt x="910" y="55"/>
                      </a:lnTo>
                      <a:lnTo>
                        <a:pt x="936" y="45"/>
                      </a:lnTo>
                      <a:lnTo>
                        <a:pt x="960" y="37"/>
                      </a:lnTo>
                      <a:lnTo>
                        <a:pt x="986" y="28"/>
                      </a:lnTo>
                      <a:lnTo>
                        <a:pt x="1013" y="22"/>
                      </a:lnTo>
                      <a:lnTo>
                        <a:pt x="1041" y="17"/>
                      </a:lnTo>
                      <a:lnTo>
                        <a:pt x="1069" y="12"/>
                      </a:lnTo>
                      <a:lnTo>
                        <a:pt x="1099" y="8"/>
                      </a:lnTo>
                      <a:lnTo>
                        <a:pt x="1130" y="4"/>
                      </a:lnTo>
                      <a:lnTo>
                        <a:pt x="1162" y="2"/>
                      </a:lnTo>
                      <a:lnTo>
                        <a:pt x="1194" y="1"/>
                      </a:lnTo>
                      <a:lnTo>
                        <a:pt x="1228" y="0"/>
                      </a:lnTo>
                      <a:lnTo>
                        <a:pt x="1228" y="533"/>
                      </a:lnTo>
                      <a:lnTo>
                        <a:pt x="1180" y="534"/>
                      </a:lnTo>
                      <a:lnTo>
                        <a:pt x="1134" y="536"/>
                      </a:lnTo>
                      <a:lnTo>
                        <a:pt x="1089" y="539"/>
                      </a:lnTo>
                      <a:lnTo>
                        <a:pt x="1047" y="543"/>
                      </a:lnTo>
                      <a:lnTo>
                        <a:pt x="1006" y="549"/>
                      </a:lnTo>
                      <a:lnTo>
                        <a:pt x="967" y="558"/>
                      </a:lnTo>
                      <a:lnTo>
                        <a:pt x="930" y="566"/>
                      </a:lnTo>
                      <a:lnTo>
                        <a:pt x="895" y="577"/>
                      </a:lnTo>
                      <a:lnTo>
                        <a:pt x="861" y="588"/>
                      </a:lnTo>
                      <a:lnTo>
                        <a:pt x="829" y="602"/>
                      </a:lnTo>
                      <a:lnTo>
                        <a:pt x="799" y="616"/>
                      </a:lnTo>
                      <a:lnTo>
                        <a:pt x="770" y="632"/>
                      </a:lnTo>
                      <a:lnTo>
                        <a:pt x="744" y="650"/>
                      </a:lnTo>
                      <a:lnTo>
                        <a:pt x="719" y="669"/>
                      </a:lnTo>
                      <a:lnTo>
                        <a:pt x="695" y="690"/>
                      </a:lnTo>
                      <a:lnTo>
                        <a:pt x="673" y="712"/>
                      </a:lnTo>
                      <a:lnTo>
                        <a:pt x="652" y="735"/>
                      </a:lnTo>
                      <a:lnTo>
                        <a:pt x="633" y="760"/>
                      </a:lnTo>
                      <a:lnTo>
                        <a:pt x="616" y="787"/>
                      </a:lnTo>
                      <a:lnTo>
                        <a:pt x="599" y="815"/>
                      </a:lnTo>
                      <a:lnTo>
                        <a:pt x="584" y="845"/>
                      </a:lnTo>
                      <a:lnTo>
                        <a:pt x="572" y="875"/>
                      </a:lnTo>
                      <a:lnTo>
                        <a:pt x="559" y="909"/>
                      </a:lnTo>
                      <a:lnTo>
                        <a:pt x="549" y="943"/>
                      </a:lnTo>
                      <a:lnTo>
                        <a:pt x="539" y="979"/>
                      </a:lnTo>
                      <a:lnTo>
                        <a:pt x="532" y="1017"/>
                      </a:lnTo>
                      <a:lnTo>
                        <a:pt x="526" y="1056"/>
                      </a:lnTo>
                      <a:lnTo>
                        <a:pt x="520" y="1096"/>
                      </a:lnTo>
                      <a:lnTo>
                        <a:pt x="516" y="1138"/>
                      </a:lnTo>
                      <a:lnTo>
                        <a:pt x="513" y="1182"/>
                      </a:lnTo>
                      <a:lnTo>
                        <a:pt x="511" y="1229"/>
                      </a:lnTo>
                      <a:lnTo>
                        <a:pt x="511" y="1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8" name="Freeform 13"/>
                <p:cNvSpPr>
                  <a:spLocks noEditPoints="1"/>
                </p:cNvSpPr>
                <p:nvPr userDrawn="1"/>
              </p:nvSpPr>
              <p:spPr bwMode="auto">
                <a:xfrm>
                  <a:off x="3103563" y="2555875"/>
                  <a:ext cx="255587" cy="330200"/>
                </a:xfrm>
                <a:custGeom>
                  <a:avLst/>
                  <a:gdLst/>
                  <a:ahLst/>
                  <a:cxnLst>
                    <a:cxn ang="0">
                      <a:pos x="1768" y="788"/>
                    </a:cxn>
                    <a:cxn ang="0">
                      <a:pos x="1742" y="607"/>
                    </a:cxn>
                    <a:cxn ang="0">
                      <a:pos x="1690" y="445"/>
                    </a:cxn>
                    <a:cxn ang="0">
                      <a:pos x="1612" y="305"/>
                    </a:cxn>
                    <a:cxn ang="0">
                      <a:pos x="1508" y="189"/>
                    </a:cxn>
                    <a:cxn ang="0">
                      <a:pos x="1378" y="99"/>
                    </a:cxn>
                    <a:cxn ang="0">
                      <a:pos x="1222" y="37"/>
                    </a:cxn>
                    <a:cxn ang="0">
                      <a:pos x="1039" y="4"/>
                    </a:cxn>
                    <a:cxn ang="0">
                      <a:pos x="821" y="5"/>
                    </a:cxn>
                    <a:cxn ang="0">
                      <a:pos x="609" y="42"/>
                    </a:cxn>
                    <a:cxn ang="0">
                      <a:pos x="432" y="114"/>
                    </a:cxn>
                    <a:cxn ang="0">
                      <a:pos x="286" y="218"/>
                    </a:cxn>
                    <a:cxn ang="0">
                      <a:pos x="171" y="353"/>
                    </a:cxn>
                    <a:cxn ang="0">
                      <a:pos x="86" y="516"/>
                    </a:cxn>
                    <a:cxn ang="0">
                      <a:pos x="30" y="703"/>
                    </a:cxn>
                    <a:cxn ang="0">
                      <a:pos x="3" y="914"/>
                    </a:cxn>
                    <a:cxn ang="0">
                      <a:pos x="4" y="1161"/>
                    </a:cxn>
                    <a:cxn ang="0">
                      <a:pos x="35" y="1412"/>
                    </a:cxn>
                    <a:cxn ang="0">
                      <a:pos x="100" y="1639"/>
                    </a:cxn>
                    <a:cxn ang="0">
                      <a:pos x="197" y="1839"/>
                    </a:cxn>
                    <a:cxn ang="0">
                      <a:pos x="332" y="2006"/>
                    </a:cxn>
                    <a:cxn ang="0">
                      <a:pos x="503" y="2138"/>
                    </a:cxn>
                    <a:cxn ang="0">
                      <a:pos x="714" y="2231"/>
                    </a:cxn>
                    <a:cxn ang="0">
                      <a:pos x="964" y="2279"/>
                    </a:cxn>
                    <a:cxn ang="0">
                      <a:pos x="1181" y="2284"/>
                    </a:cxn>
                    <a:cxn ang="0">
                      <a:pos x="1337" y="2275"/>
                    </a:cxn>
                    <a:cxn ang="0">
                      <a:pos x="1490" y="2254"/>
                    </a:cxn>
                    <a:cxn ang="0">
                      <a:pos x="1642" y="2220"/>
                    </a:cxn>
                    <a:cxn ang="0">
                      <a:pos x="1667" y="1862"/>
                    </a:cxn>
                    <a:cxn ang="0">
                      <a:pos x="1483" y="1909"/>
                    </a:cxn>
                    <a:cxn ang="0">
                      <a:pos x="1376" y="1923"/>
                    </a:cxn>
                    <a:cxn ang="0">
                      <a:pos x="1252" y="1926"/>
                    </a:cxn>
                    <a:cxn ang="0">
                      <a:pos x="1077" y="1896"/>
                    </a:cxn>
                    <a:cxn ang="0">
                      <a:pos x="922" y="1829"/>
                    </a:cxn>
                    <a:cxn ang="0">
                      <a:pos x="787" y="1733"/>
                    </a:cxn>
                    <a:cxn ang="0">
                      <a:pos x="674" y="1609"/>
                    </a:cxn>
                    <a:cxn ang="0">
                      <a:pos x="583" y="1466"/>
                    </a:cxn>
                    <a:cxn ang="0">
                      <a:pos x="519" y="1308"/>
                    </a:cxn>
                    <a:cxn ang="0">
                      <a:pos x="482" y="1139"/>
                    </a:cxn>
                    <a:cxn ang="0">
                      <a:pos x="1771" y="1009"/>
                    </a:cxn>
                    <a:cxn ang="0">
                      <a:pos x="494" y="662"/>
                    </a:cxn>
                    <a:cxn ang="0">
                      <a:pos x="515" y="586"/>
                    </a:cxn>
                    <a:cxn ang="0">
                      <a:pos x="550" y="518"/>
                    </a:cxn>
                    <a:cxn ang="0">
                      <a:pos x="594" y="458"/>
                    </a:cxn>
                    <a:cxn ang="0">
                      <a:pos x="648" y="408"/>
                    </a:cxn>
                    <a:cxn ang="0">
                      <a:pos x="712" y="369"/>
                    </a:cxn>
                    <a:cxn ang="0">
                      <a:pos x="783" y="342"/>
                    </a:cxn>
                    <a:cxn ang="0">
                      <a:pos x="861" y="328"/>
                    </a:cxn>
                    <a:cxn ang="0">
                      <a:pos x="945" y="328"/>
                    </a:cxn>
                    <a:cxn ang="0">
                      <a:pos x="1025" y="341"/>
                    </a:cxn>
                    <a:cxn ang="0">
                      <a:pos x="1095" y="366"/>
                    </a:cxn>
                    <a:cxn ang="0">
                      <a:pos x="1156" y="404"/>
                    </a:cxn>
                    <a:cxn ang="0">
                      <a:pos x="1207" y="452"/>
                    </a:cxn>
                    <a:cxn ang="0">
                      <a:pos x="1245" y="512"/>
                    </a:cxn>
                    <a:cxn ang="0">
                      <a:pos x="1273" y="581"/>
                    </a:cxn>
                    <a:cxn ang="0">
                      <a:pos x="1286" y="659"/>
                    </a:cxn>
                  </a:cxnLst>
                  <a:rect l="0" t="0" r="r" b="b"/>
                  <a:pathLst>
                    <a:path w="1771" h="2285">
                      <a:moveTo>
                        <a:pt x="1771" y="1009"/>
                      </a:moveTo>
                      <a:lnTo>
                        <a:pt x="1771" y="886"/>
                      </a:lnTo>
                      <a:lnTo>
                        <a:pt x="1770" y="837"/>
                      </a:lnTo>
                      <a:lnTo>
                        <a:pt x="1768" y="788"/>
                      </a:lnTo>
                      <a:lnTo>
                        <a:pt x="1764" y="741"/>
                      </a:lnTo>
                      <a:lnTo>
                        <a:pt x="1758" y="695"/>
                      </a:lnTo>
                      <a:lnTo>
                        <a:pt x="1751" y="650"/>
                      </a:lnTo>
                      <a:lnTo>
                        <a:pt x="1742" y="607"/>
                      </a:lnTo>
                      <a:lnTo>
                        <a:pt x="1731" y="564"/>
                      </a:lnTo>
                      <a:lnTo>
                        <a:pt x="1719" y="523"/>
                      </a:lnTo>
                      <a:lnTo>
                        <a:pt x="1706" y="483"/>
                      </a:lnTo>
                      <a:lnTo>
                        <a:pt x="1690" y="445"/>
                      </a:lnTo>
                      <a:lnTo>
                        <a:pt x="1673" y="408"/>
                      </a:lnTo>
                      <a:lnTo>
                        <a:pt x="1654" y="372"/>
                      </a:lnTo>
                      <a:lnTo>
                        <a:pt x="1634" y="338"/>
                      </a:lnTo>
                      <a:lnTo>
                        <a:pt x="1612" y="305"/>
                      </a:lnTo>
                      <a:lnTo>
                        <a:pt x="1588" y="274"/>
                      </a:lnTo>
                      <a:lnTo>
                        <a:pt x="1564" y="243"/>
                      </a:lnTo>
                      <a:lnTo>
                        <a:pt x="1537" y="215"/>
                      </a:lnTo>
                      <a:lnTo>
                        <a:pt x="1508" y="189"/>
                      </a:lnTo>
                      <a:lnTo>
                        <a:pt x="1478" y="164"/>
                      </a:lnTo>
                      <a:lnTo>
                        <a:pt x="1446" y="141"/>
                      </a:lnTo>
                      <a:lnTo>
                        <a:pt x="1413" y="119"/>
                      </a:lnTo>
                      <a:lnTo>
                        <a:pt x="1378" y="99"/>
                      </a:lnTo>
                      <a:lnTo>
                        <a:pt x="1341" y="81"/>
                      </a:lnTo>
                      <a:lnTo>
                        <a:pt x="1303" y="64"/>
                      </a:lnTo>
                      <a:lnTo>
                        <a:pt x="1263" y="49"/>
                      </a:lnTo>
                      <a:lnTo>
                        <a:pt x="1222" y="37"/>
                      </a:lnTo>
                      <a:lnTo>
                        <a:pt x="1179" y="25"/>
                      </a:lnTo>
                      <a:lnTo>
                        <a:pt x="1134" y="17"/>
                      </a:lnTo>
                      <a:lnTo>
                        <a:pt x="1088" y="10"/>
                      </a:lnTo>
                      <a:lnTo>
                        <a:pt x="1039" y="4"/>
                      </a:lnTo>
                      <a:lnTo>
                        <a:pt x="990" y="1"/>
                      </a:lnTo>
                      <a:lnTo>
                        <a:pt x="938" y="0"/>
                      </a:lnTo>
                      <a:lnTo>
                        <a:pt x="879" y="1"/>
                      </a:lnTo>
                      <a:lnTo>
                        <a:pt x="821" y="5"/>
                      </a:lnTo>
                      <a:lnTo>
                        <a:pt x="764" y="11"/>
                      </a:lnTo>
                      <a:lnTo>
                        <a:pt x="710" y="19"/>
                      </a:lnTo>
                      <a:lnTo>
                        <a:pt x="659" y="30"/>
                      </a:lnTo>
                      <a:lnTo>
                        <a:pt x="609" y="42"/>
                      </a:lnTo>
                      <a:lnTo>
                        <a:pt x="562" y="57"/>
                      </a:lnTo>
                      <a:lnTo>
                        <a:pt x="516" y="74"/>
                      </a:lnTo>
                      <a:lnTo>
                        <a:pt x="473" y="93"/>
                      </a:lnTo>
                      <a:lnTo>
                        <a:pt x="432" y="114"/>
                      </a:lnTo>
                      <a:lnTo>
                        <a:pt x="392" y="137"/>
                      </a:lnTo>
                      <a:lnTo>
                        <a:pt x="354" y="163"/>
                      </a:lnTo>
                      <a:lnTo>
                        <a:pt x="319" y="190"/>
                      </a:lnTo>
                      <a:lnTo>
                        <a:pt x="286" y="218"/>
                      </a:lnTo>
                      <a:lnTo>
                        <a:pt x="254" y="250"/>
                      </a:lnTo>
                      <a:lnTo>
                        <a:pt x="225" y="282"/>
                      </a:lnTo>
                      <a:lnTo>
                        <a:pt x="196" y="317"/>
                      </a:lnTo>
                      <a:lnTo>
                        <a:pt x="171" y="353"/>
                      </a:lnTo>
                      <a:lnTo>
                        <a:pt x="147" y="391"/>
                      </a:lnTo>
                      <a:lnTo>
                        <a:pt x="125" y="431"/>
                      </a:lnTo>
                      <a:lnTo>
                        <a:pt x="104" y="473"/>
                      </a:lnTo>
                      <a:lnTo>
                        <a:pt x="86" y="516"/>
                      </a:lnTo>
                      <a:lnTo>
                        <a:pt x="69" y="560"/>
                      </a:lnTo>
                      <a:lnTo>
                        <a:pt x="54" y="606"/>
                      </a:lnTo>
                      <a:lnTo>
                        <a:pt x="42" y="654"/>
                      </a:lnTo>
                      <a:lnTo>
                        <a:pt x="30" y="703"/>
                      </a:lnTo>
                      <a:lnTo>
                        <a:pt x="21" y="754"/>
                      </a:lnTo>
                      <a:lnTo>
                        <a:pt x="13" y="806"/>
                      </a:lnTo>
                      <a:lnTo>
                        <a:pt x="7" y="860"/>
                      </a:lnTo>
                      <a:lnTo>
                        <a:pt x="3" y="914"/>
                      </a:lnTo>
                      <a:lnTo>
                        <a:pt x="1" y="971"/>
                      </a:lnTo>
                      <a:lnTo>
                        <a:pt x="0" y="1028"/>
                      </a:lnTo>
                      <a:lnTo>
                        <a:pt x="1" y="1095"/>
                      </a:lnTo>
                      <a:lnTo>
                        <a:pt x="4" y="1161"/>
                      </a:lnTo>
                      <a:lnTo>
                        <a:pt x="8" y="1225"/>
                      </a:lnTo>
                      <a:lnTo>
                        <a:pt x="16" y="1289"/>
                      </a:lnTo>
                      <a:lnTo>
                        <a:pt x="24" y="1351"/>
                      </a:lnTo>
                      <a:lnTo>
                        <a:pt x="35" y="1412"/>
                      </a:lnTo>
                      <a:lnTo>
                        <a:pt x="48" y="1471"/>
                      </a:lnTo>
                      <a:lnTo>
                        <a:pt x="63" y="1528"/>
                      </a:lnTo>
                      <a:lnTo>
                        <a:pt x="80" y="1585"/>
                      </a:lnTo>
                      <a:lnTo>
                        <a:pt x="100" y="1639"/>
                      </a:lnTo>
                      <a:lnTo>
                        <a:pt x="121" y="1692"/>
                      </a:lnTo>
                      <a:lnTo>
                        <a:pt x="144" y="1742"/>
                      </a:lnTo>
                      <a:lnTo>
                        <a:pt x="170" y="1791"/>
                      </a:lnTo>
                      <a:lnTo>
                        <a:pt x="197" y="1839"/>
                      </a:lnTo>
                      <a:lnTo>
                        <a:pt x="228" y="1884"/>
                      </a:lnTo>
                      <a:lnTo>
                        <a:pt x="260" y="1927"/>
                      </a:lnTo>
                      <a:lnTo>
                        <a:pt x="295" y="1967"/>
                      </a:lnTo>
                      <a:lnTo>
                        <a:pt x="332" y="2006"/>
                      </a:lnTo>
                      <a:lnTo>
                        <a:pt x="372" y="2043"/>
                      </a:lnTo>
                      <a:lnTo>
                        <a:pt x="413" y="2077"/>
                      </a:lnTo>
                      <a:lnTo>
                        <a:pt x="457" y="2109"/>
                      </a:lnTo>
                      <a:lnTo>
                        <a:pt x="503" y="2138"/>
                      </a:lnTo>
                      <a:lnTo>
                        <a:pt x="553" y="2166"/>
                      </a:lnTo>
                      <a:lnTo>
                        <a:pt x="603" y="2190"/>
                      </a:lnTo>
                      <a:lnTo>
                        <a:pt x="657" y="2212"/>
                      </a:lnTo>
                      <a:lnTo>
                        <a:pt x="714" y="2231"/>
                      </a:lnTo>
                      <a:lnTo>
                        <a:pt x="772" y="2247"/>
                      </a:lnTo>
                      <a:lnTo>
                        <a:pt x="833" y="2261"/>
                      </a:lnTo>
                      <a:lnTo>
                        <a:pt x="897" y="2271"/>
                      </a:lnTo>
                      <a:lnTo>
                        <a:pt x="964" y="2279"/>
                      </a:lnTo>
                      <a:lnTo>
                        <a:pt x="1032" y="2284"/>
                      </a:lnTo>
                      <a:lnTo>
                        <a:pt x="1105" y="2285"/>
                      </a:lnTo>
                      <a:lnTo>
                        <a:pt x="1142" y="2285"/>
                      </a:lnTo>
                      <a:lnTo>
                        <a:pt x="1181" y="2284"/>
                      </a:lnTo>
                      <a:lnTo>
                        <a:pt x="1220" y="2283"/>
                      </a:lnTo>
                      <a:lnTo>
                        <a:pt x="1259" y="2281"/>
                      </a:lnTo>
                      <a:lnTo>
                        <a:pt x="1298" y="2278"/>
                      </a:lnTo>
                      <a:lnTo>
                        <a:pt x="1337" y="2275"/>
                      </a:lnTo>
                      <a:lnTo>
                        <a:pt x="1375" y="2270"/>
                      </a:lnTo>
                      <a:lnTo>
                        <a:pt x="1414" y="2265"/>
                      </a:lnTo>
                      <a:lnTo>
                        <a:pt x="1451" y="2260"/>
                      </a:lnTo>
                      <a:lnTo>
                        <a:pt x="1490" y="2254"/>
                      </a:lnTo>
                      <a:lnTo>
                        <a:pt x="1528" y="2246"/>
                      </a:lnTo>
                      <a:lnTo>
                        <a:pt x="1566" y="2239"/>
                      </a:lnTo>
                      <a:lnTo>
                        <a:pt x="1604" y="2229"/>
                      </a:lnTo>
                      <a:lnTo>
                        <a:pt x="1642" y="2220"/>
                      </a:lnTo>
                      <a:lnTo>
                        <a:pt x="1678" y="2210"/>
                      </a:lnTo>
                      <a:lnTo>
                        <a:pt x="1715" y="2198"/>
                      </a:lnTo>
                      <a:lnTo>
                        <a:pt x="1715" y="1845"/>
                      </a:lnTo>
                      <a:lnTo>
                        <a:pt x="1667" y="1862"/>
                      </a:lnTo>
                      <a:lnTo>
                        <a:pt x="1615" y="1877"/>
                      </a:lnTo>
                      <a:lnTo>
                        <a:pt x="1563" y="1891"/>
                      </a:lnTo>
                      <a:lnTo>
                        <a:pt x="1510" y="1904"/>
                      </a:lnTo>
                      <a:lnTo>
                        <a:pt x="1483" y="1909"/>
                      </a:lnTo>
                      <a:lnTo>
                        <a:pt x="1457" y="1913"/>
                      </a:lnTo>
                      <a:lnTo>
                        <a:pt x="1429" y="1917"/>
                      </a:lnTo>
                      <a:lnTo>
                        <a:pt x="1403" y="1920"/>
                      </a:lnTo>
                      <a:lnTo>
                        <a:pt x="1376" y="1923"/>
                      </a:lnTo>
                      <a:lnTo>
                        <a:pt x="1349" y="1926"/>
                      </a:lnTo>
                      <a:lnTo>
                        <a:pt x="1323" y="1927"/>
                      </a:lnTo>
                      <a:lnTo>
                        <a:pt x="1298" y="1928"/>
                      </a:lnTo>
                      <a:lnTo>
                        <a:pt x="1252" y="1926"/>
                      </a:lnTo>
                      <a:lnTo>
                        <a:pt x="1207" y="1922"/>
                      </a:lnTo>
                      <a:lnTo>
                        <a:pt x="1162" y="1916"/>
                      </a:lnTo>
                      <a:lnTo>
                        <a:pt x="1119" y="1907"/>
                      </a:lnTo>
                      <a:lnTo>
                        <a:pt x="1077" y="1896"/>
                      </a:lnTo>
                      <a:lnTo>
                        <a:pt x="1037" y="1883"/>
                      </a:lnTo>
                      <a:lnTo>
                        <a:pt x="997" y="1867"/>
                      </a:lnTo>
                      <a:lnTo>
                        <a:pt x="959" y="1849"/>
                      </a:lnTo>
                      <a:lnTo>
                        <a:pt x="922" y="1829"/>
                      </a:lnTo>
                      <a:lnTo>
                        <a:pt x="886" y="1808"/>
                      </a:lnTo>
                      <a:lnTo>
                        <a:pt x="851" y="1784"/>
                      </a:lnTo>
                      <a:lnTo>
                        <a:pt x="819" y="1759"/>
                      </a:lnTo>
                      <a:lnTo>
                        <a:pt x="787" y="1733"/>
                      </a:lnTo>
                      <a:lnTo>
                        <a:pt x="757" y="1703"/>
                      </a:lnTo>
                      <a:lnTo>
                        <a:pt x="727" y="1674"/>
                      </a:lnTo>
                      <a:lnTo>
                        <a:pt x="700" y="1643"/>
                      </a:lnTo>
                      <a:lnTo>
                        <a:pt x="674" y="1609"/>
                      </a:lnTo>
                      <a:lnTo>
                        <a:pt x="648" y="1575"/>
                      </a:lnTo>
                      <a:lnTo>
                        <a:pt x="625" y="1540"/>
                      </a:lnTo>
                      <a:lnTo>
                        <a:pt x="603" y="1504"/>
                      </a:lnTo>
                      <a:lnTo>
                        <a:pt x="583" y="1466"/>
                      </a:lnTo>
                      <a:lnTo>
                        <a:pt x="565" y="1428"/>
                      </a:lnTo>
                      <a:lnTo>
                        <a:pt x="548" y="1389"/>
                      </a:lnTo>
                      <a:lnTo>
                        <a:pt x="533" y="1349"/>
                      </a:lnTo>
                      <a:lnTo>
                        <a:pt x="519" y="1308"/>
                      </a:lnTo>
                      <a:lnTo>
                        <a:pt x="507" y="1266"/>
                      </a:lnTo>
                      <a:lnTo>
                        <a:pt x="497" y="1224"/>
                      </a:lnTo>
                      <a:lnTo>
                        <a:pt x="489" y="1182"/>
                      </a:lnTo>
                      <a:lnTo>
                        <a:pt x="482" y="1139"/>
                      </a:lnTo>
                      <a:lnTo>
                        <a:pt x="478" y="1096"/>
                      </a:lnTo>
                      <a:lnTo>
                        <a:pt x="475" y="1054"/>
                      </a:lnTo>
                      <a:lnTo>
                        <a:pt x="474" y="1009"/>
                      </a:lnTo>
                      <a:lnTo>
                        <a:pt x="1771" y="1009"/>
                      </a:lnTo>
                      <a:close/>
                      <a:moveTo>
                        <a:pt x="1289" y="702"/>
                      </a:moveTo>
                      <a:lnTo>
                        <a:pt x="488" y="702"/>
                      </a:lnTo>
                      <a:lnTo>
                        <a:pt x="490" y="681"/>
                      </a:lnTo>
                      <a:lnTo>
                        <a:pt x="494" y="662"/>
                      </a:lnTo>
                      <a:lnTo>
                        <a:pt x="498" y="643"/>
                      </a:lnTo>
                      <a:lnTo>
                        <a:pt x="503" y="623"/>
                      </a:lnTo>
                      <a:lnTo>
                        <a:pt x="509" y="604"/>
                      </a:lnTo>
                      <a:lnTo>
                        <a:pt x="515" y="586"/>
                      </a:lnTo>
                      <a:lnTo>
                        <a:pt x="522" y="568"/>
                      </a:lnTo>
                      <a:lnTo>
                        <a:pt x="531" y="550"/>
                      </a:lnTo>
                      <a:lnTo>
                        <a:pt x="540" y="534"/>
                      </a:lnTo>
                      <a:lnTo>
                        <a:pt x="550" y="518"/>
                      </a:lnTo>
                      <a:lnTo>
                        <a:pt x="559" y="502"/>
                      </a:lnTo>
                      <a:lnTo>
                        <a:pt x="571" y="487"/>
                      </a:lnTo>
                      <a:lnTo>
                        <a:pt x="582" y="472"/>
                      </a:lnTo>
                      <a:lnTo>
                        <a:pt x="594" y="458"/>
                      </a:lnTo>
                      <a:lnTo>
                        <a:pt x="607" y="445"/>
                      </a:lnTo>
                      <a:lnTo>
                        <a:pt x="620" y="432"/>
                      </a:lnTo>
                      <a:lnTo>
                        <a:pt x="635" y="419"/>
                      </a:lnTo>
                      <a:lnTo>
                        <a:pt x="648" y="408"/>
                      </a:lnTo>
                      <a:lnTo>
                        <a:pt x="664" y="397"/>
                      </a:lnTo>
                      <a:lnTo>
                        <a:pt x="680" y="387"/>
                      </a:lnTo>
                      <a:lnTo>
                        <a:pt x="696" y="378"/>
                      </a:lnTo>
                      <a:lnTo>
                        <a:pt x="712" y="369"/>
                      </a:lnTo>
                      <a:lnTo>
                        <a:pt x="729" y="362"/>
                      </a:lnTo>
                      <a:lnTo>
                        <a:pt x="747" y="354"/>
                      </a:lnTo>
                      <a:lnTo>
                        <a:pt x="765" y="348"/>
                      </a:lnTo>
                      <a:lnTo>
                        <a:pt x="783" y="342"/>
                      </a:lnTo>
                      <a:lnTo>
                        <a:pt x="802" y="338"/>
                      </a:lnTo>
                      <a:lnTo>
                        <a:pt x="821" y="333"/>
                      </a:lnTo>
                      <a:lnTo>
                        <a:pt x="841" y="330"/>
                      </a:lnTo>
                      <a:lnTo>
                        <a:pt x="861" y="328"/>
                      </a:lnTo>
                      <a:lnTo>
                        <a:pt x="881" y="327"/>
                      </a:lnTo>
                      <a:lnTo>
                        <a:pt x="902" y="326"/>
                      </a:lnTo>
                      <a:lnTo>
                        <a:pt x="923" y="326"/>
                      </a:lnTo>
                      <a:lnTo>
                        <a:pt x="945" y="328"/>
                      </a:lnTo>
                      <a:lnTo>
                        <a:pt x="965" y="330"/>
                      </a:lnTo>
                      <a:lnTo>
                        <a:pt x="986" y="332"/>
                      </a:lnTo>
                      <a:lnTo>
                        <a:pt x="1005" y="337"/>
                      </a:lnTo>
                      <a:lnTo>
                        <a:pt x="1025" y="341"/>
                      </a:lnTo>
                      <a:lnTo>
                        <a:pt x="1043" y="346"/>
                      </a:lnTo>
                      <a:lnTo>
                        <a:pt x="1061" y="352"/>
                      </a:lnTo>
                      <a:lnTo>
                        <a:pt x="1078" y="359"/>
                      </a:lnTo>
                      <a:lnTo>
                        <a:pt x="1095" y="366"/>
                      </a:lnTo>
                      <a:lnTo>
                        <a:pt x="1111" y="374"/>
                      </a:lnTo>
                      <a:lnTo>
                        <a:pt x="1127" y="384"/>
                      </a:lnTo>
                      <a:lnTo>
                        <a:pt x="1142" y="393"/>
                      </a:lnTo>
                      <a:lnTo>
                        <a:pt x="1156" y="404"/>
                      </a:lnTo>
                      <a:lnTo>
                        <a:pt x="1170" y="415"/>
                      </a:lnTo>
                      <a:lnTo>
                        <a:pt x="1182" y="427"/>
                      </a:lnTo>
                      <a:lnTo>
                        <a:pt x="1195" y="439"/>
                      </a:lnTo>
                      <a:lnTo>
                        <a:pt x="1207" y="452"/>
                      </a:lnTo>
                      <a:lnTo>
                        <a:pt x="1217" y="467"/>
                      </a:lnTo>
                      <a:lnTo>
                        <a:pt x="1228" y="480"/>
                      </a:lnTo>
                      <a:lnTo>
                        <a:pt x="1237" y="496"/>
                      </a:lnTo>
                      <a:lnTo>
                        <a:pt x="1245" y="512"/>
                      </a:lnTo>
                      <a:lnTo>
                        <a:pt x="1254" y="528"/>
                      </a:lnTo>
                      <a:lnTo>
                        <a:pt x="1261" y="545"/>
                      </a:lnTo>
                      <a:lnTo>
                        <a:pt x="1267" y="563"/>
                      </a:lnTo>
                      <a:lnTo>
                        <a:pt x="1273" y="581"/>
                      </a:lnTo>
                      <a:lnTo>
                        <a:pt x="1277" y="600"/>
                      </a:lnTo>
                      <a:lnTo>
                        <a:pt x="1281" y="619"/>
                      </a:lnTo>
                      <a:lnTo>
                        <a:pt x="1284" y="640"/>
                      </a:lnTo>
                      <a:lnTo>
                        <a:pt x="1286" y="659"/>
                      </a:lnTo>
                      <a:lnTo>
                        <a:pt x="1287" y="680"/>
                      </a:lnTo>
                      <a:lnTo>
                        <a:pt x="1289"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grpSp>
      </p:grpSp>
      <p:sp>
        <p:nvSpPr>
          <p:cNvPr id="69" name="Freeform 5"/>
          <p:cNvSpPr>
            <a:spLocks noChangeAspect="1" noEditPoints="1"/>
          </p:cNvSpPr>
          <p:nvPr userDrawn="1"/>
        </p:nvSpPr>
        <p:spPr bwMode="auto">
          <a:xfrm>
            <a:off x="5095815" y="845968"/>
            <a:ext cx="3618831" cy="188723"/>
          </a:xfrm>
          <a:custGeom>
            <a:avLst/>
            <a:gdLst>
              <a:gd name="T0" fmla="*/ 140 w 13706"/>
              <a:gd name="T1" fmla="*/ 64 h 628"/>
              <a:gd name="T2" fmla="*/ 13662 w 13706"/>
              <a:gd name="T3" fmla="*/ 399 h 628"/>
              <a:gd name="T4" fmla="*/ 13634 w 13706"/>
              <a:gd name="T5" fmla="*/ 304 h 628"/>
              <a:gd name="T6" fmla="*/ 13214 w 13706"/>
              <a:gd name="T7" fmla="*/ 479 h 628"/>
              <a:gd name="T8" fmla="*/ 13011 w 13706"/>
              <a:gd name="T9" fmla="*/ 199 h 628"/>
              <a:gd name="T10" fmla="*/ 12760 w 13706"/>
              <a:gd name="T11" fmla="*/ 169 h 628"/>
              <a:gd name="T12" fmla="*/ 12653 w 13706"/>
              <a:gd name="T13" fmla="*/ 486 h 628"/>
              <a:gd name="T14" fmla="*/ 12694 w 13706"/>
              <a:gd name="T15" fmla="*/ 206 h 628"/>
              <a:gd name="T16" fmla="*/ 12403 w 13706"/>
              <a:gd name="T17" fmla="*/ 338 h 628"/>
              <a:gd name="T18" fmla="*/ 12281 w 13706"/>
              <a:gd name="T19" fmla="*/ 248 h 628"/>
              <a:gd name="T20" fmla="*/ 12096 w 13706"/>
              <a:gd name="T21" fmla="*/ 229 h 628"/>
              <a:gd name="T22" fmla="*/ 11969 w 13706"/>
              <a:gd name="T23" fmla="*/ 477 h 628"/>
              <a:gd name="T24" fmla="*/ 11969 w 13706"/>
              <a:gd name="T25" fmla="*/ 477 h 628"/>
              <a:gd name="T26" fmla="*/ 11505 w 13706"/>
              <a:gd name="T27" fmla="*/ 221 h 628"/>
              <a:gd name="T28" fmla="*/ 11116 w 13706"/>
              <a:gd name="T29" fmla="*/ 253 h 628"/>
              <a:gd name="T30" fmla="*/ 10813 w 13706"/>
              <a:gd name="T31" fmla="*/ 0 h 628"/>
              <a:gd name="T32" fmla="*/ 10560 w 13706"/>
              <a:gd name="T33" fmla="*/ 169 h 628"/>
              <a:gd name="T34" fmla="*/ 10112 w 13706"/>
              <a:gd name="T35" fmla="*/ 479 h 628"/>
              <a:gd name="T36" fmla="*/ 10024 w 13706"/>
              <a:gd name="T37" fmla="*/ 559 h 628"/>
              <a:gd name="T38" fmla="*/ 9827 w 13706"/>
              <a:gd name="T39" fmla="*/ 161 h 628"/>
              <a:gd name="T40" fmla="*/ 9369 w 13706"/>
              <a:gd name="T41" fmla="*/ 199 h 628"/>
              <a:gd name="T42" fmla="*/ 9123 w 13706"/>
              <a:gd name="T43" fmla="*/ 307 h 628"/>
              <a:gd name="T44" fmla="*/ 9167 w 13706"/>
              <a:gd name="T45" fmla="*/ 257 h 628"/>
              <a:gd name="T46" fmla="*/ 8669 w 13706"/>
              <a:gd name="T47" fmla="*/ 29 h 628"/>
              <a:gd name="T48" fmla="*/ 8458 w 13706"/>
              <a:gd name="T49" fmla="*/ 161 h 628"/>
              <a:gd name="T50" fmla="*/ 8103 w 13706"/>
              <a:gd name="T51" fmla="*/ 257 h 628"/>
              <a:gd name="T52" fmla="*/ 8210 w 13706"/>
              <a:gd name="T53" fmla="*/ 449 h 628"/>
              <a:gd name="T54" fmla="*/ 7930 w 13706"/>
              <a:gd name="T55" fmla="*/ 479 h 628"/>
              <a:gd name="T56" fmla="*/ 7250 w 13706"/>
              <a:gd name="T57" fmla="*/ 479 h 628"/>
              <a:gd name="T58" fmla="*/ 7061 w 13706"/>
              <a:gd name="T59" fmla="*/ 438 h 628"/>
              <a:gd name="T60" fmla="*/ 7105 w 13706"/>
              <a:gd name="T61" fmla="*/ 479 h 628"/>
              <a:gd name="T62" fmla="*/ 6762 w 13706"/>
              <a:gd name="T63" fmla="*/ 68 h 628"/>
              <a:gd name="T64" fmla="*/ 6549 w 13706"/>
              <a:gd name="T65" fmla="*/ 169 h 628"/>
              <a:gd name="T66" fmla="*/ 6330 w 13706"/>
              <a:gd name="T67" fmla="*/ 199 h 628"/>
              <a:gd name="T68" fmla="*/ 6403 w 13706"/>
              <a:gd name="T69" fmla="*/ 219 h 628"/>
              <a:gd name="T70" fmla="*/ 6091 w 13706"/>
              <a:gd name="T71" fmla="*/ 479 h 628"/>
              <a:gd name="T72" fmla="*/ 5808 w 13706"/>
              <a:gd name="T73" fmla="*/ 437 h 628"/>
              <a:gd name="T74" fmla="*/ 5823 w 13706"/>
              <a:gd name="T75" fmla="*/ 29 h 628"/>
              <a:gd name="T76" fmla="*/ 5107 w 13706"/>
              <a:gd name="T77" fmla="*/ 318 h 628"/>
              <a:gd name="T78" fmla="*/ 5105 w 13706"/>
              <a:gd name="T79" fmla="*/ 219 h 628"/>
              <a:gd name="T80" fmla="*/ 5107 w 13706"/>
              <a:gd name="T81" fmla="*/ 420 h 628"/>
              <a:gd name="T82" fmla="*/ 4667 w 13706"/>
              <a:gd name="T83" fmla="*/ 240 h 628"/>
              <a:gd name="T84" fmla="*/ 4467 w 13706"/>
              <a:gd name="T85" fmla="*/ 88 h 628"/>
              <a:gd name="T86" fmla="*/ 4230 w 13706"/>
              <a:gd name="T87" fmla="*/ 169 h 628"/>
              <a:gd name="T88" fmla="*/ 4406 w 13706"/>
              <a:gd name="T89" fmla="*/ 443 h 628"/>
              <a:gd name="T90" fmla="*/ 3866 w 13706"/>
              <a:gd name="T91" fmla="*/ 486 h 628"/>
              <a:gd name="T92" fmla="*/ 3964 w 13706"/>
              <a:gd name="T93" fmla="*/ 479 h 628"/>
              <a:gd name="T94" fmla="*/ 3634 w 13706"/>
              <a:gd name="T95" fmla="*/ 199 h 628"/>
              <a:gd name="T96" fmla="*/ 3367 w 13706"/>
              <a:gd name="T97" fmla="*/ 206 h 628"/>
              <a:gd name="T98" fmla="*/ 3457 w 13706"/>
              <a:gd name="T99" fmla="*/ 479 h 628"/>
              <a:gd name="T100" fmla="*/ 3031 w 13706"/>
              <a:gd name="T101" fmla="*/ 486 h 628"/>
              <a:gd name="T102" fmla="*/ 2749 w 13706"/>
              <a:gd name="T103" fmla="*/ 444 h 628"/>
              <a:gd name="T104" fmla="*/ 1793 w 13706"/>
              <a:gd name="T105" fmla="*/ 169 h 628"/>
              <a:gd name="T106" fmla="*/ 1562 w 13706"/>
              <a:gd name="T107" fmla="*/ 326 h 628"/>
              <a:gd name="T108" fmla="*/ 1699 w 13706"/>
              <a:gd name="T109" fmla="*/ 169 h 628"/>
              <a:gd name="T110" fmla="*/ 1349 w 13706"/>
              <a:gd name="T111" fmla="*/ 199 h 628"/>
              <a:gd name="T112" fmla="*/ 1281 w 13706"/>
              <a:gd name="T113" fmla="*/ 313 h 628"/>
              <a:gd name="T114" fmla="*/ 1061 w 13706"/>
              <a:gd name="T115" fmla="*/ 169 h 628"/>
              <a:gd name="T116" fmla="*/ 1187 w 13706"/>
              <a:gd name="T117" fmla="*/ 483 h 628"/>
              <a:gd name="T118" fmla="*/ 803 w 13706"/>
              <a:gd name="T119" fmla="*/ 486 h 628"/>
              <a:gd name="T120" fmla="*/ 899 w 13706"/>
              <a:gd name="T121" fmla="*/ 479 h 628"/>
              <a:gd name="T122" fmla="*/ 545 w 13706"/>
              <a:gd name="T123" fmla="*/ 479 h 628"/>
              <a:gd name="T124" fmla="*/ 400 w 13706"/>
              <a:gd name="T125" fmla="*/ 1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6" h="628">
                <a:moveTo>
                  <a:pt x="5" y="420"/>
                </a:moveTo>
                <a:cubicBezTo>
                  <a:pt x="40" y="435"/>
                  <a:pt x="76" y="444"/>
                  <a:pt x="115" y="444"/>
                </a:cubicBezTo>
                <a:cubicBezTo>
                  <a:pt x="163" y="444"/>
                  <a:pt x="212" y="422"/>
                  <a:pt x="212" y="367"/>
                </a:cubicBezTo>
                <a:cubicBezTo>
                  <a:pt x="212" y="317"/>
                  <a:pt x="176" y="299"/>
                  <a:pt x="137" y="276"/>
                </a:cubicBezTo>
                <a:lnTo>
                  <a:pt x="97" y="254"/>
                </a:lnTo>
                <a:cubicBezTo>
                  <a:pt x="48" y="227"/>
                  <a:pt x="0" y="203"/>
                  <a:pt x="0" y="137"/>
                </a:cubicBezTo>
                <a:cubicBezTo>
                  <a:pt x="0" y="53"/>
                  <a:pt x="72" y="22"/>
                  <a:pt x="145" y="22"/>
                </a:cubicBezTo>
                <a:cubicBezTo>
                  <a:pt x="177" y="22"/>
                  <a:pt x="208" y="28"/>
                  <a:pt x="239" y="34"/>
                </a:cubicBezTo>
                <a:lnTo>
                  <a:pt x="239" y="84"/>
                </a:lnTo>
                <a:cubicBezTo>
                  <a:pt x="208" y="71"/>
                  <a:pt x="174" y="64"/>
                  <a:pt x="140" y="64"/>
                </a:cubicBezTo>
                <a:cubicBezTo>
                  <a:pt x="97" y="64"/>
                  <a:pt x="56" y="84"/>
                  <a:pt x="56" y="133"/>
                </a:cubicBezTo>
                <a:cubicBezTo>
                  <a:pt x="56" y="174"/>
                  <a:pt x="99" y="195"/>
                  <a:pt x="131" y="213"/>
                </a:cubicBezTo>
                <a:lnTo>
                  <a:pt x="172" y="236"/>
                </a:lnTo>
                <a:cubicBezTo>
                  <a:pt x="225" y="266"/>
                  <a:pt x="268" y="292"/>
                  <a:pt x="268" y="360"/>
                </a:cubicBezTo>
                <a:cubicBezTo>
                  <a:pt x="268" y="454"/>
                  <a:pt x="191" y="486"/>
                  <a:pt x="109" y="486"/>
                </a:cubicBezTo>
                <a:cubicBezTo>
                  <a:pt x="73" y="486"/>
                  <a:pt x="39" y="481"/>
                  <a:pt x="5" y="473"/>
                </a:cubicBezTo>
                <a:lnTo>
                  <a:pt x="5" y="420"/>
                </a:lnTo>
                <a:close/>
                <a:moveTo>
                  <a:pt x="13506" y="433"/>
                </a:moveTo>
                <a:cubicBezTo>
                  <a:pt x="13532" y="441"/>
                  <a:pt x="13558" y="449"/>
                  <a:pt x="13586" y="449"/>
                </a:cubicBezTo>
                <a:cubicBezTo>
                  <a:pt x="13619" y="449"/>
                  <a:pt x="13662" y="440"/>
                  <a:pt x="13662" y="399"/>
                </a:cubicBezTo>
                <a:cubicBezTo>
                  <a:pt x="13662" y="368"/>
                  <a:pt x="13628" y="355"/>
                  <a:pt x="13606" y="343"/>
                </a:cubicBezTo>
                <a:lnTo>
                  <a:pt x="13577" y="328"/>
                </a:lnTo>
                <a:cubicBezTo>
                  <a:pt x="13541" y="309"/>
                  <a:pt x="13507" y="291"/>
                  <a:pt x="13507" y="244"/>
                </a:cubicBezTo>
                <a:cubicBezTo>
                  <a:pt x="13507" y="183"/>
                  <a:pt x="13560" y="161"/>
                  <a:pt x="13613" y="161"/>
                </a:cubicBezTo>
                <a:cubicBezTo>
                  <a:pt x="13639" y="161"/>
                  <a:pt x="13662" y="166"/>
                  <a:pt x="13686" y="172"/>
                </a:cubicBezTo>
                <a:lnTo>
                  <a:pt x="13686" y="213"/>
                </a:lnTo>
                <a:cubicBezTo>
                  <a:pt x="13664" y="205"/>
                  <a:pt x="13637" y="199"/>
                  <a:pt x="13614" y="199"/>
                </a:cubicBezTo>
                <a:cubicBezTo>
                  <a:pt x="13590" y="199"/>
                  <a:pt x="13551" y="209"/>
                  <a:pt x="13551" y="239"/>
                </a:cubicBezTo>
                <a:cubicBezTo>
                  <a:pt x="13551" y="265"/>
                  <a:pt x="13589" y="277"/>
                  <a:pt x="13607" y="288"/>
                </a:cubicBezTo>
                <a:lnTo>
                  <a:pt x="13634" y="304"/>
                </a:lnTo>
                <a:cubicBezTo>
                  <a:pt x="13672" y="326"/>
                  <a:pt x="13706" y="342"/>
                  <a:pt x="13706" y="392"/>
                </a:cubicBezTo>
                <a:cubicBezTo>
                  <a:pt x="13706" y="462"/>
                  <a:pt x="13652" y="486"/>
                  <a:pt x="13590" y="486"/>
                </a:cubicBezTo>
                <a:cubicBezTo>
                  <a:pt x="13562" y="486"/>
                  <a:pt x="13534" y="482"/>
                  <a:pt x="13506" y="473"/>
                </a:cubicBezTo>
                <a:lnTo>
                  <a:pt x="13506" y="433"/>
                </a:lnTo>
                <a:close/>
                <a:moveTo>
                  <a:pt x="13392" y="479"/>
                </a:moveTo>
                <a:lnTo>
                  <a:pt x="13392" y="307"/>
                </a:lnTo>
                <a:cubicBezTo>
                  <a:pt x="13392" y="272"/>
                  <a:pt x="13398" y="206"/>
                  <a:pt x="13346" y="206"/>
                </a:cubicBezTo>
                <a:cubicBezTo>
                  <a:pt x="13284" y="206"/>
                  <a:pt x="13258" y="303"/>
                  <a:pt x="13258" y="351"/>
                </a:cubicBezTo>
                <a:lnTo>
                  <a:pt x="13258" y="479"/>
                </a:lnTo>
                <a:lnTo>
                  <a:pt x="13214" y="479"/>
                </a:lnTo>
                <a:lnTo>
                  <a:pt x="13214" y="169"/>
                </a:lnTo>
                <a:lnTo>
                  <a:pt x="13258" y="169"/>
                </a:lnTo>
                <a:lnTo>
                  <a:pt x="13258" y="240"/>
                </a:lnTo>
                <a:lnTo>
                  <a:pt x="13260" y="240"/>
                </a:lnTo>
                <a:cubicBezTo>
                  <a:pt x="13275" y="192"/>
                  <a:pt x="13303" y="161"/>
                  <a:pt x="13357" y="161"/>
                </a:cubicBezTo>
                <a:cubicBezTo>
                  <a:pt x="13411" y="161"/>
                  <a:pt x="13436" y="208"/>
                  <a:pt x="13436" y="257"/>
                </a:cubicBezTo>
                <a:lnTo>
                  <a:pt x="13436" y="479"/>
                </a:lnTo>
                <a:lnTo>
                  <a:pt x="13392" y="479"/>
                </a:lnTo>
                <a:close/>
                <a:moveTo>
                  <a:pt x="13088" y="324"/>
                </a:moveTo>
                <a:cubicBezTo>
                  <a:pt x="13088" y="274"/>
                  <a:pt x="13076" y="199"/>
                  <a:pt x="13011" y="199"/>
                </a:cubicBezTo>
                <a:cubicBezTo>
                  <a:pt x="12946" y="199"/>
                  <a:pt x="12935" y="274"/>
                  <a:pt x="12935" y="324"/>
                </a:cubicBezTo>
                <a:cubicBezTo>
                  <a:pt x="12935" y="373"/>
                  <a:pt x="12946" y="449"/>
                  <a:pt x="13011" y="449"/>
                </a:cubicBezTo>
                <a:cubicBezTo>
                  <a:pt x="13076" y="449"/>
                  <a:pt x="13088" y="374"/>
                  <a:pt x="13088" y="324"/>
                </a:cubicBezTo>
                <a:close/>
                <a:moveTo>
                  <a:pt x="12884" y="325"/>
                </a:moveTo>
                <a:cubicBezTo>
                  <a:pt x="12884" y="241"/>
                  <a:pt x="12914" y="161"/>
                  <a:pt x="13011" y="161"/>
                </a:cubicBezTo>
                <a:cubicBezTo>
                  <a:pt x="13108" y="161"/>
                  <a:pt x="13139" y="241"/>
                  <a:pt x="13139" y="325"/>
                </a:cubicBezTo>
                <a:cubicBezTo>
                  <a:pt x="13139" y="409"/>
                  <a:pt x="13108" y="486"/>
                  <a:pt x="13011" y="486"/>
                </a:cubicBezTo>
                <a:cubicBezTo>
                  <a:pt x="12914" y="486"/>
                  <a:pt x="12884" y="409"/>
                  <a:pt x="12884" y="325"/>
                </a:cubicBezTo>
                <a:close/>
                <a:moveTo>
                  <a:pt x="12760" y="479"/>
                </a:moveTo>
                <a:lnTo>
                  <a:pt x="12760" y="169"/>
                </a:lnTo>
                <a:lnTo>
                  <a:pt x="12804" y="169"/>
                </a:lnTo>
                <a:lnTo>
                  <a:pt x="12804" y="479"/>
                </a:lnTo>
                <a:lnTo>
                  <a:pt x="12760" y="479"/>
                </a:lnTo>
                <a:close/>
                <a:moveTo>
                  <a:pt x="12752" y="88"/>
                </a:moveTo>
                <a:lnTo>
                  <a:pt x="12752" y="29"/>
                </a:lnTo>
                <a:lnTo>
                  <a:pt x="12811" y="29"/>
                </a:lnTo>
                <a:lnTo>
                  <a:pt x="12811" y="88"/>
                </a:lnTo>
                <a:lnTo>
                  <a:pt x="12752" y="88"/>
                </a:lnTo>
                <a:close/>
                <a:moveTo>
                  <a:pt x="12692" y="483"/>
                </a:moveTo>
                <a:cubicBezTo>
                  <a:pt x="12679" y="485"/>
                  <a:pt x="12666" y="486"/>
                  <a:pt x="12653" y="486"/>
                </a:cubicBezTo>
                <a:cubicBezTo>
                  <a:pt x="12594" y="486"/>
                  <a:pt x="12567" y="467"/>
                  <a:pt x="12567" y="406"/>
                </a:cubicBezTo>
                <a:lnTo>
                  <a:pt x="12567" y="206"/>
                </a:lnTo>
                <a:lnTo>
                  <a:pt x="12516" y="206"/>
                </a:lnTo>
                <a:lnTo>
                  <a:pt x="12516" y="169"/>
                </a:lnTo>
                <a:lnTo>
                  <a:pt x="12567" y="169"/>
                </a:lnTo>
                <a:lnTo>
                  <a:pt x="12567" y="96"/>
                </a:lnTo>
                <a:lnTo>
                  <a:pt x="12611" y="68"/>
                </a:lnTo>
                <a:lnTo>
                  <a:pt x="12611" y="169"/>
                </a:lnTo>
                <a:lnTo>
                  <a:pt x="12694" y="169"/>
                </a:lnTo>
                <a:lnTo>
                  <a:pt x="12694" y="206"/>
                </a:lnTo>
                <a:lnTo>
                  <a:pt x="12611" y="206"/>
                </a:lnTo>
                <a:lnTo>
                  <a:pt x="12611" y="397"/>
                </a:lnTo>
                <a:cubicBezTo>
                  <a:pt x="12611" y="430"/>
                  <a:pt x="12626" y="449"/>
                  <a:pt x="12662" y="449"/>
                </a:cubicBezTo>
                <a:cubicBezTo>
                  <a:pt x="12674" y="449"/>
                  <a:pt x="12681" y="448"/>
                  <a:pt x="12692" y="443"/>
                </a:cubicBezTo>
                <a:lnTo>
                  <a:pt x="12692" y="483"/>
                </a:lnTo>
                <a:close/>
                <a:moveTo>
                  <a:pt x="12377" y="338"/>
                </a:moveTo>
                <a:cubicBezTo>
                  <a:pt x="12338" y="338"/>
                  <a:pt x="12276" y="355"/>
                  <a:pt x="12276" y="404"/>
                </a:cubicBezTo>
                <a:cubicBezTo>
                  <a:pt x="12276" y="430"/>
                  <a:pt x="12293" y="449"/>
                  <a:pt x="12319" y="449"/>
                </a:cubicBezTo>
                <a:cubicBezTo>
                  <a:pt x="12349" y="449"/>
                  <a:pt x="12379" y="429"/>
                  <a:pt x="12392" y="401"/>
                </a:cubicBezTo>
                <a:cubicBezTo>
                  <a:pt x="12402" y="378"/>
                  <a:pt x="12403" y="364"/>
                  <a:pt x="12403" y="338"/>
                </a:cubicBezTo>
                <a:lnTo>
                  <a:pt x="12377" y="338"/>
                </a:lnTo>
                <a:close/>
                <a:moveTo>
                  <a:pt x="12405" y="479"/>
                </a:moveTo>
                <a:lnTo>
                  <a:pt x="12405" y="438"/>
                </a:lnTo>
                <a:lnTo>
                  <a:pt x="12403" y="438"/>
                </a:lnTo>
                <a:cubicBezTo>
                  <a:pt x="12386" y="471"/>
                  <a:pt x="12343" y="486"/>
                  <a:pt x="12308" y="486"/>
                </a:cubicBezTo>
                <a:cubicBezTo>
                  <a:pt x="12254" y="486"/>
                  <a:pt x="12225" y="452"/>
                  <a:pt x="12225" y="400"/>
                </a:cubicBezTo>
                <a:cubicBezTo>
                  <a:pt x="12225" y="330"/>
                  <a:pt x="12305" y="301"/>
                  <a:pt x="12403" y="301"/>
                </a:cubicBezTo>
                <a:lnTo>
                  <a:pt x="12403" y="295"/>
                </a:lnTo>
                <a:cubicBezTo>
                  <a:pt x="12403" y="248"/>
                  <a:pt x="12406" y="199"/>
                  <a:pt x="12345" y="199"/>
                </a:cubicBezTo>
                <a:cubicBezTo>
                  <a:pt x="12307" y="199"/>
                  <a:pt x="12287" y="211"/>
                  <a:pt x="12281" y="248"/>
                </a:cubicBezTo>
                <a:lnTo>
                  <a:pt x="12232" y="248"/>
                </a:lnTo>
                <a:cubicBezTo>
                  <a:pt x="12234" y="186"/>
                  <a:pt x="12287" y="161"/>
                  <a:pt x="12343" y="161"/>
                </a:cubicBezTo>
                <a:cubicBezTo>
                  <a:pt x="12414" y="161"/>
                  <a:pt x="12448" y="191"/>
                  <a:pt x="12448" y="261"/>
                </a:cubicBezTo>
                <a:lnTo>
                  <a:pt x="12448" y="479"/>
                </a:lnTo>
                <a:lnTo>
                  <a:pt x="12405" y="479"/>
                </a:lnTo>
                <a:close/>
                <a:moveTo>
                  <a:pt x="12050" y="479"/>
                </a:moveTo>
                <a:lnTo>
                  <a:pt x="12050" y="169"/>
                </a:lnTo>
                <a:lnTo>
                  <a:pt x="12095" y="169"/>
                </a:lnTo>
                <a:lnTo>
                  <a:pt x="12095" y="229"/>
                </a:lnTo>
                <a:lnTo>
                  <a:pt x="12096" y="229"/>
                </a:lnTo>
                <a:cubicBezTo>
                  <a:pt x="12116" y="184"/>
                  <a:pt x="12150" y="161"/>
                  <a:pt x="12200" y="161"/>
                </a:cubicBezTo>
                <a:lnTo>
                  <a:pt x="12200" y="209"/>
                </a:lnTo>
                <a:cubicBezTo>
                  <a:pt x="12119" y="209"/>
                  <a:pt x="12095" y="283"/>
                  <a:pt x="12095" y="351"/>
                </a:cubicBezTo>
                <a:lnTo>
                  <a:pt x="12095" y="479"/>
                </a:lnTo>
                <a:lnTo>
                  <a:pt x="12050" y="479"/>
                </a:lnTo>
                <a:close/>
                <a:moveTo>
                  <a:pt x="11925" y="257"/>
                </a:moveTo>
                <a:cubicBezTo>
                  <a:pt x="11925" y="223"/>
                  <a:pt x="11900" y="199"/>
                  <a:pt x="11866" y="199"/>
                </a:cubicBezTo>
                <a:cubicBezTo>
                  <a:pt x="11828" y="199"/>
                  <a:pt x="11808" y="223"/>
                  <a:pt x="11800" y="257"/>
                </a:cubicBezTo>
                <a:lnTo>
                  <a:pt x="11925" y="257"/>
                </a:lnTo>
                <a:close/>
                <a:moveTo>
                  <a:pt x="11969" y="477"/>
                </a:moveTo>
                <a:cubicBezTo>
                  <a:pt x="11946" y="484"/>
                  <a:pt x="11922" y="486"/>
                  <a:pt x="11898" y="486"/>
                </a:cubicBezTo>
                <a:cubicBezTo>
                  <a:pt x="11790" y="486"/>
                  <a:pt x="11746" y="415"/>
                  <a:pt x="11746" y="313"/>
                </a:cubicBezTo>
                <a:cubicBezTo>
                  <a:pt x="11746" y="233"/>
                  <a:pt x="11776" y="161"/>
                  <a:pt x="11868" y="161"/>
                </a:cubicBezTo>
                <a:cubicBezTo>
                  <a:pt x="11939" y="161"/>
                  <a:pt x="11976" y="210"/>
                  <a:pt x="11976" y="280"/>
                </a:cubicBezTo>
                <a:lnTo>
                  <a:pt x="11976" y="295"/>
                </a:lnTo>
                <a:lnTo>
                  <a:pt x="11797" y="295"/>
                </a:lnTo>
                <a:lnTo>
                  <a:pt x="11797" y="313"/>
                </a:lnTo>
                <a:cubicBezTo>
                  <a:pt x="11797" y="381"/>
                  <a:pt x="11831" y="449"/>
                  <a:pt x="11907" y="449"/>
                </a:cubicBezTo>
                <a:cubicBezTo>
                  <a:pt x="11929" y="449"/>
                  <a:pt x="11948" y="446"/>
                  <a:pt x="11969" y="441"/>
                </a:cubicBezTo>
                <a:lnTo>
                  <a:pt x="11969" y="477"/>
                </a:lnTo>
                <a:close/>
                <a:moveTo>
                  <a:pt x="11642" y="313"/>
                </a:moveTo>
                <a:cubicBezTo>
                  <a:pt x="11642" y="270"/>
                  <a:pt x="11634" y="199"/>
                  <a:pt x="11577" y="199"/>
                </a:cubicBezTo>
                <a:cubicBezTo>
                  <a:pt x="11520" y="199"/>
                  <a:pt x="11504" y="279"/>
                  <a:pt x="11504" y="323"/>
                </a:cubicBezTo>
                <a:cubicBezTo>
                  <a:pt x="11504" y="366"/>
                  <a:pt x="11517" y="449"/>
                  <a:pt x="11576" y="449"/>
                </a:cubicBezTo>
                <a:cubicBezTo>
                  <a:pt x="11637" y="449"/>
                  <a:pt x="11642" y="356"/>
                  <a:pt x="11642" y="313"/>
                </a:cubicBezTo>
                <a:close/>
                <a:moveTo>
                  <a:pt x="11460" y="619"/>
                </a:moveTo>
                <a:lnTo>
                  <a:pt x="11460" y="169"/>
                </a:lnTo>
                <a:lnTo>
                  <a:pt x="11504" y="169"/>
                </a:lnTo>
                <a:lnTo>
                  <a:pt x="11504" y="221"/>
                </a:lnTo>
                <a:lnTo>
                  <a:pt x="11505" y="221"/>
                </a:lnTo>
                <a:cubicBezTo>
                  <a:pt x="11516" y="185"/>
                  <a:pt x="11548" y="161"/>
                  <a:pt x="11586" y="161"/>
                </a:cubicBezTo>
                <a:cubicBezTo>
                  <a:pt x="11676" y="161"/>
                  <a:pt x="11693" y="249"/>
                  <a:pt x="11693" y="321"/>
                </a:cubicBezTo>
                <a:cubicBezTo>
                  <a:pt x="11693" y="388"/>
                  <a:pt x="11672" y="486"/>
                  <a:pt x="11587" y="486"/>
                </a:cubicBezTo>
                <a:cubicBezTo>
                  <a:pt x="11547" y="486"/>
                  <a:pt x="11518" y="467"/>
                  <a:pt x="11505" y="428"/>
                </a:cubicBezTo>
                <a:lnTo>
                  <a:pt x="11504" y="428"/>
                </a:lnTo>
                <a:lnTo>
                  <a:pt x="11504" y="619"/>
                </a:lnTo>
                <a:lnTo>
                  <a:pt x="11460" y="619"/>
                </a:lnTo>
                <a:close/>
                <a:moveTo>
                  <a:pt x="11325" y="253"/>
                </a:moveTo>
                <a:cubicBezTo>
                  <a:pt x="11325" y="182"/>
                  <a:pt x="11315" y="64"/>
                  <a:pt x="11221" y="64"/>
                </a:cubicBezTo>
                <a:cubicBezTo>
                  <a:pt x="11126" y="64"/>
                  <a:pt x="11116" y="182"/>
                  <a:pt x="11116" y="253"/>
                </a:cubicBezTo>
                <a:cubicBezTo>
                  <a:pt x="11116" y="324"/>
                  <a:pt x="11126" y="444"/>
                  <a:pt x="11221" y="444"/>
                </a:cubicBezTo>
                <a:cubicBezTo>
                  <a:pt x="11315" y="444"/>
                  <a:pt x="11325" y="323"/>
                  <a:pt x="11325" y="253"/>
                </a:cubicBezTo>
                <a:close/>
                <a:moveTo>
                  <a:pt x="11060" y="253"/>
                </a:moveTo>
                <a:cubicBezTo>
                  <a:pt x="11060" y="144"/>
                  <a:pt x="11088" y="22"/>
                  <a:pt x="11221" y="22"/>
                </a:cubicBezTo>
                <a:cubicBezTo>
                  <a:pt x="11353" y="22"/>
                  <a:pt x="11381" y="146"/>
                  <a:pt x="11381" y="253"/>
                </a:cubicBezTo>
                <a:cubicBezTo>
                  <a:pt x="11381" y="360"/>
                  <a:pt x="11353" y="486"/>
                  <a:pt x="11221" y="486"/>
                </a:cubicBezTo>
                <a:cubicBezTo>
                  <a:pt x="11088" y="486"/>
                  <a:pt x="11060" y="360"/>
                  <a:pt x="11060" y="253"/>
                </a:cubicBezTo>
                <a:close/>
                <a:moveTo>
                  <a:pt x="10779" y="628"/>
                </a:moveTo>
                <a:lnTo>
                  <a:pt x="10779" y="0"/>
                </a:lnTo>
                <a:lnTo>
                  <a:pt x="10813" y="0"/>
                </a:lnTo>
                <a:lnTo>
                  <a:pt x="10813" y="628"/>
                </a:lnTo>
                <a:lnTo>
                  <a:pt x="10779" y="628"/>
                </a:lnTo>
                <a:close/>
                <a:moveTo>
                  <a:pt x="10364" y="605"/>
                </a:moveTo>
                <a:lnTo>
                  <a:pt x="10408" y="479"/>
                </a:lnTo>
                <a:lnTo>
                  <a:pt x="10289" y="169"/>
                </a:lnTo>
                <a:lnTo>
                  <a:pt x="10337" y="169"/>
                </a:lnTo>
                <a:lnTo>
                  <a:pt x="10427" y="413"/>
                </a:lnTo>
                <a:lnTo>
                  <a:pt x="10429" y="413"/>
                </a:lnTo>
                <a:lnTo>
                  <a:pt x="10512" y="169"/>
                </a:lnTo>
                <a:lnTo>
                  <a:pt x="10560" y="169"/>
                </a:lnTo>
                <a:lnTo>
                  <a:pt x="10410" y="605"/>
                </a:lnTo>
                <a:lnTo>
                  <a:pt x="10364" y="605"/>
                </a:lnTo>
                <a:close/>
                <a:moveTo>
                  <a:pt x="10196" y="318"/>
                </a:moveTo>
                <a:cubicBezTo>
                  <a:pt x="10196" y="275"/>
                  <a:pt x="10178" y="199"/>
                  <a:pt x="10123" y="199"/>
                </a:cubicBezTo>
                <a:cubicBezTo>
                  <a:pt x="10065" y="199"/>
                  <a:pt x="10058" y="286"/>
                  <a:pt x="10058" y="326"/>
                </a:cubicBezTo>
                <a:cubicBezTo>
                  <a:pt x="10058" y="367"/>
                  <a:pt x="10066" y="442"/>
                  <a:pt x="10121" y="442"/>
                </a:cubicBezTo>
                <a:cubicBezTo>
                  <a:pt x="10178" y="442"/>
                  <a:pt x="10196" y="362"/>
                  <a:pt x="10196" y="318"/>
                </a:cubicBezTo>
                <a:close/>
                <a:moveTo>
                  <a:pt x="10196" y="420"/>
                </a:moveTo>
                <a:lnTo>
                  <a:pt x="10194" y="420"/>
                </a:lnTo>
                <a:cubicBezTo>
                  <a:pt x="10182" y="457"/>
                  <a:pt x="10151" y="479"/>
                  <a:pt x="10112" y="479"/>
                </a:cubicBezTo>
                <a:cubicBezTo>
                  <a:pt x="10027" y="479"/>
                  <a:pt x="10007" y="396"/>
                  <a:pt x="10007" y="326"/>
                </a:cubicBezTo>
                <a:cubicBezTo>
                  <a:pt x="10007" y="259"/>
                  <a:pt x="10028" y="161"/>
                  <a:pt x="10113" y="161"/>
                </a:cubicBezTo>
                <a:cubicBezTo>
                  <a:pt x="10151" y="161"/>
                  <a:pt x="10184" y="183"/>
                  <a:pt x="10194" y="219"/>
                </a:cubicBezTo>
                <a:lnTo>
                  <a:pt x="10196" y="219"/>
                </a:lnTo>
                <a:lnTo>
                  <a:pt x="10196" y="169"/>
                </a:lnTo>
                <a:lnTo>
                  <a:pt x="10240" y="169"/>
                </a:lnTo>
                <a:lnTo>
                  <a:pt x="10240" y="480"/>
                </a:lnTo>
                <a:cubicBezTo>
                  <a:pt x="10240" y="569"/>
                  <a:pt x="10198" y="615"/>
                  <a:pt x="10108" y="615"/>
                </a:cubicBezTo>
                <a:cubicBezTo>
                  <a:pt x="10078" y="615"/>
                  <a:pt x="10053" y="610"/>
                  <a:pt x="10024" y="604"/>
                </a:cubicBezTo>
                <a:lnTo>
                  <a:pt x="10024" y="559"/>
                </a:lnTo>
                <a:cubicBezTo>
                  <a:pt x="10049" y="572"/>
                  <a:pt x="10074" y="578"/>
                  <a:pt x="10102" y="578"/>
                </a:cubicBezTo>
                <a:cubicBezTo>
                  <a:pt x="10173" y="578"/>
                  <a:pt x="10196" y="541"/>
                  <a:pt x="10196" y="475"/>
                </a:cubicBezTo>
                <a:lnTo>
                  <a:pt x="10196" y="420"/>
                </a:lnTo>
                <a:close/>
                <a:moveTo>
                  <a:pt x="9904" y="324"/>
                </a:moveTo>
                <a:cubicBezTo>
                  <a:pt x="9904" y="274"/>
                  <a:pt x="9892" y="199"/>
                  <a:pt x="9827" y="199"/>
                </a:cubicBezTo>
                <a:cubicBezTo>
                  <a:pt x="9762" y="199"/>
                  <a:pt x="9751" y="274"/>
                  <a:pt x="9751" y="324"/>
                </a:cubicBezTo>
                <a:cubicBezTo>
                  <a:pt x="9751" y="373"/>
                  <a:pt x="9762" y="449"/>
                  <a:pt x="9827" y="449"/>
                </a:cubicBezTo>
                <a:cubicBezTo>
                  <a:pt x="9892" y="449"/>
                  <a:pt x="9904" y="374"/>
                  <a:pt x="9904" y="324"/>
                </a:cubicBezTo>
                <a:close/>
                <a:moveTo>
                  <a:pt x="9700" y="325"/>
                </a:moveTo>
                <a:cubicBezTo>
                  <a:pt x="9700" y="241"/>
                  <a:pt x="9730" y="161"/>
                  <a:pt x="9827" y="161"/>
                </a:cubicBezTo>
                <a:cubicBezTo>
                  <a:pt x="9924" y="161"/>
                  <a:pt x="9955" y="241"/>
                  <a:pt x="9955" y="325"/>
                </a:cubicBezTo>
                <a:cubicBezTo>
                  <a:pt x="9955" y="409"/>
                  <a:pt x="9924" y="486"/>
                  <a:pt x="9827" y="486"/>
                </a:cubicBezTo>
                <a:cubicBezTo>
                  <a:pt x="9730" y="486"/>
                  <a:pt x="9700" y="409"/>
                  <a:pt x="9700" y="325"/>
                </a:cubicBezTo>
                <a:close/>
                <a:moveTo>
                  <a:pt x="9576" y="479"/>
                </a:moveTo>
                <a:lnTo>
                  <a:pt x="9576" y="29"/>
                </a:lnTo>
                <a:lnTo>
                  <a:pt x="9620" y="29"/>
                </a:lnTo>
                <a:lnTo>
                  <a:pt x="9620" y="479"/>
                </a:lnTo>
                <a:lnTo>
                  <a:pt x="9576" y="479"/>
                </a:lnTo>
                <a:close/>
                <a:moveTo>
                  <a:pt x="9446" y="324"/>
                </a:moveTo>
                <a:cubicBezTo>
                  <a:pt x="9446" y="274"/>
                  <a:pt x="9433" y="199"/>
                  <a:pt x="9369" y="199"/>
                </a:cubicBezTo>
                <a:cubicBezTo>
                  <a:pt x="9304" y="199"/>
                  <a:pt x="9293" y="274"/>
                  <a:pt x="9293" y="324"/>
                </a:cubicBezTo>
                <a:cubicBezTo>
                  <a:pt x="9293" y="373"/>
                  <a:pt x="9304" y="449"/>
                  <a:pt x="9369" y="449"/>
                </a:cubicBezTo>
                <a:cubicBezTo>
                  <a:pt x="9434" y="449"/>
                  <a:pt x="9446" y="374"/>
                  <a:pt x="9446" y="324"/>
                </a:cubicBezTo>
                <a:close/>
                <a:moveTo>
                  <a:pt x="9242" y="325"/>
                </a:moveTo>
                <a:cubicBezTo>
                  <a:pt x="9242" y="241"/>
                  <a:pt x="9272" y="161"/>
                  <a:pt x="9369" y="161"/>
                </a:cubicBezTo>
                <a:cubicBezTo>
                  <a:pt x="9466" y="161"/>
                  <a:pt x="9497" y="241"/>
                  <a:pt x="9497" y="325"/>
                </a:cubicBezTo>
                <a:cubicBezTo>
                  <a:pt x="9497" y="409"/>
                  <a:pt x="9466" y="486"/>
                  <a:pt x="9369" y="486"/>
                </a:cubicBezTo>
                <a:cubicBezTo>
                  <a:pt x="9272" y="486"/>
                  <a:pt x="9242" y="409"/>
                  <a:pt x="9242" y="325"/>
                </a:cubicBezTo>
                <a:close/>
                <a:moveTo>
                  <a:pt x="9123" y="479"/>
                </a:moveTo>
                <a:lnTo>
                  <a:pt x="9123" y="307"/>
                </a:lnTo>
                <a:cubicBezTo>
                  <a:pt x="9123" y="272"/>
                  <a:pt x="9129" y="206"/>
                  <a:pt x="9077" y="206"/>
                </a:cubicBezTo>
                <a:cubicBezTo>
                  <a:pt x="9015" y="206"/>
                  <a:pt x="8989" y="303"/>
                  <a:pt x="8989" y="351"/>
                </a:cubicBezTo>
                <a:lnTo>
                  <a:pt x="8989" y="479"/>
                </a:lnTo>
                <a:lnTo>
                  <a:pt x="8945" y="479"/>
                </a:lnTo>
                <a:lnTo>
                  <a:pt x="8945" y="169"/>
                </a:lnTo>
                <a:lnTo>
                  <a:pt x="8989" y="169"/>
                </a:lnTo>
                <a:lnTo>
                  <a:pt x="8989" y="240"/>
                </a:lnTo>
                <a:lnTo>
                  <a:pt x="8990" y="240"/>
                </a:lnTo>
                <a:cubicBezTo>
                  <a:pt x="9006" y="192"/>
                  <a:pt x="9033" y="161"/>
                  <a:pt x="9087" y="161"/>
                </a:cubicBezTo>
                <a:cubicBezTo>
                  <a:pt x="9142" y="161"/>
                  <a:pt x="9167" y="208"/>
                  <a:pt x="9167" y="257"/>
                </a:cubicBezTo>
                <a:lnTo>
                  <a:pt x="9167" y="479"/>
                </a:lnTo>
                <a:lnTo>
                  <a:pt x="9123" y="479"/>
                </a:lnTo>
                <a:close/>
                <a:moveTo>
                  <a:pt x="8803" y="479"/>
                </a:moveTo>
                <a:lnTo>
                  <a:pt x="8803" y="307"/>
                </a:lnTo>
                <a:cubicBezTo>
                  <a:pt x="8803" y="272"/>
                  <a:pt x="8809" y="206"/>
                  <a:pt x="8757" y="206"/>
                </a:cubicBezTo>
                <a:cubicBezTo>
                  <a:pt x="8695" y="206"/>
                  <a:pt x="8669" y="303"/>
                  <a:pt x="8669" y="351"/>
                </a:cubicBezTo>
                <a:lnTo>
                  <a:pt x="8669" y="479"/>
                </a:lnTo>
                <a:lnTo>
                  <a:pt x="8625" y="479"/>
                </a:lnTo>
                <a:lnTo>
                  <a:pt x="8625" y="29"/>
                </a:lnTo>
                <a:lnTo>
                  <a:pt x="8669" y="29"/>
                </a:lnTo>
                <a:lnTo>
                  <a:pt x="8669" y="240"/>
                </a:lnTo>
                <a:lnTo>
                  <a:pt x="8670" y="240"/>
                </a:lnTo>
                <a:cubicBezTo>
                  <a:pt x="8686" y="192"/>
                  <a:pt x="8714" y="161"/>
                  <a:pt x="8768" y="161"/>
                </a:cubicBezTo>
                <a:cubicBezTo>
                  <a:pt x="8822" y="161"/>
                  <a:pt x="8847" y="208"/>
                  <a:pt x="8847" y="257"/>
                </a:cubicBezTo>
                <a:lnTo>
                  <a:pt x="8847" y="479"/>
                </a:lnTo>
                <a:lnTo>
                  <a:pt x="8803" y="479"/>
                </a:lnTo>
                <a:close/>
                <a:moveTo>
                  <a:pt x="8556" y="478"/>
                </a:moveTo>
                <a:cubicBezTo>
                  <a:pt x="8534" y="484"/>
                  <a:pt x="8514" y="486"/>
                  <a:pt x="8491" y="486"/>
                </a:cubicBezTo>
                <a:cubicBezTo>
                  <a:pt x="8384" y="486"/>
                  <a:pt x="8331" y="421"/>
                  <a:pt x="8331" y="317"/>
                </a:cubicBezTo>
                <a:cubicBezTo>
                  <a:pt x="8331" y="232"/>
                  <a:pt x="8362" y="161"/>
                  <a:pt x="8458" y="161"/>
                </a:cubicBezTo>
                <a:cubicBezTo>
                  <a:pt x="8523" y="161"/>
                  <a:pt x="8564" y="196"/>
                  <a:pt x="8564" y="263"/>
                </a:cubicBezTo>
                <a:lnTo>
                  <a:pt x="8511" y="263"/>
                </a:lnTo>
                <a:cubicBezTo>
                  <a:pt x="8511" y="227"/>
                  <a:pt x="8495" y="199"/>
                  <a:pt x="8456" y="199"/>
                </a:cubicBezTo>
                <a:cubicBezTo>
                  <a:pt x="8399" y="199"/>
                  <a:pt x="8382" y="261"/>
                  <a:pt x="8382" y="307"/>
                </a:cubicBezTo>
                <a:cubicBezTo>
                  <a:pt x="8382" y="387"/>
                  <a:pt x="8417" y="449"/>
                  <a:pt x="8505" y="449"/>
                </a:cubicBezTo>
                <a:cubicBezTo>
                  <a:pt x="8523" y="449"/>
                  <a:pt x="8540" y="448"/>
                  <a:pt x="8556" y="443"/>
                </a:cubicBezTo>
                <a:lnTo>
                  <a:pt x="8556" y="478"/>
                </a:lnTo>
                <a:close/>
                <a:moveTo>
                  <a:pt x="8228" y="257"/>
                </a:moveTo>
                <a:cubicBezTo>
                  <a:pt x="8228" y="223"/>
                  <a:pt x="8203" y="199"/>
                  <a:pt x="8169" y="199"/>
                </a:cubicBezTo>
                <a:cubicBezTo>
                  <a:pt x="8131" y="199"/>
                  <a:pt x="8111" y="223"/>
                  <a:pt x="8103" y="257"/>
                </a:cubicBezTo>
                <a:lnTo>
                  <a:pt x="8228" y="257"/>
                </a:lnTo>
                <a:close/>
                <a:moveTo>
                  <a:pt x="8272" y="477"/>
                </a:moveTo>
                <a:cubicBezTo>
                  <a:pt x="8249" y="484"/>
                  <a:pt x="8225" y="486"/>
                  <a:pt x="8201" y="486"/>
                </a:cubicBezTo>
                <a:cubicBezTo>
                  <a:pt x="8093" y="486"/>
                  <a:pt x="8049" y="415"/>
                  <a:pt x="8049" y="313"/>
                </a:cubicBezTo>
                <a:cubicBezTo>
                  <a:pt x="8049" y="233"/>
                  <a:pt x="8079" y="161"/>
                  <a:pt x="8171" y="161"/>
                </a:cubicBezTo>
                <a:cubicBezTo>
                  <a:pt x="8242" y="161"/>
                  <a:pt x="8279" y="210"/>
                  <a:pt x="8279" y="280"/>
                </a:cubicBezTo>
                <a:lnTo>
                  <a:pt x="8279" y="295"/>
                </a:lnTo>
                <a:lnTo>
                  <a:pt x="8100" y="295"/>
                </a:lnTo>
                <a:lnTo>
                  <a:pt x="8100" y="313"/>
                </a:lnTo>
                <a:cubicBezTo>
                  <a:pt x="8100" y="381"/>
                  <a:pt x="8134" y="449"/>
                  <a:pt x="8210" y="449"/>
                </a:cubicBezTo>
                <a:cubicBezTo>
                  <a:pt x="8232" y="449"/>
                  <a:pt x="8251" y="446"/>
                  <a:pt x="8272" y="441"/>
                </a:cubicBezTo>
                <a:lnTo>
                  <a:pt x="8272" y="477"/>
                </a:lnTo>
                <a:close/>
                <a:moveTo>
                  <a:pt x="7879" y="479"/>
                </a:moveTo>
                <a:lnTo>
                  <a:pt x="7879" y="71"/>
                </a:lnTo>
                <a:lnTo>
                  <a:pt x="7771" y="71"/>
                </a:lnTo>
                <a:lnTo>
                  <a:pt x="7771" y="29"/>
                </a:lnTo>
                <a:lnTo>
                  <a:pt x="8037" y="29"/>
                </a:lnTo>
                <a:lnTo>
                  <a:pt x="8037" y="71"/>
                </a:lnTo>
                <a:lnTo>
                  <a:pt x="7930" y="71"/>
                </a:lnTo>
                <a:lnTo>
                  <a:pt x="7930" y="479"/>
                </a:lnTo>
                <a:lnTo>
                  <a:pt x="7879" y="479"/>
                </a:lnTo>
                <a:close/>
                <a:moveTo>
                  <a:pt x="7523" y="628"/>
                </a:moveTo>
                <a:lnTo>
                  <a:pt x="7523" y="0"/>
                </a:lnTo>
                <a:lnTo>
                  <a:pt x="7557" y="0"/>
                </a:lnTo>
                <a:lnTo>
                  <a:pt x="7557" y="628"/>
                </a:lnTo>
                <a:lnTo>
                  <a:pt x="7523" y="628"/>
                </a:lnTo>
                <a:close/>
                <a:moveTo>
                  <a:pt x="7206" y="479"/>
                </a:moveTo>
                <a:lnTo>
                  <a:pt x="7206" y="29"/>
                </a:lnTo>
                <a:lnTo>
                  <a:pt x="7250" y="29"/>
                </a:lnTo>
                <a:lnTo>
                  <a:pt x="7250" y="479"/>
                </a:lnTo>
                <a:lnTo>
                  <a:pt x="7206" y="479"/>
                </a:lnTo>
                <a:close/>
                <a:moveTo>
                  <a:pt x="7034" y="338"/>
                </a:moveTo>
                <a:cubicBezTo>
                  <a:pt x="6995" y="338"/>
                  <a:pt x="6933" y="355"/>
                  <a:pt x="6933" y="404"/>
                </a:cubicBezTo>
                <a:cubicBezTo>
                  <a:pt x="6933" y="430"/>
                  <a:pt x="6950" y="449"/>
                  <a:pt x="6976" y="449"/>
                </a:cubicBezTo>
                <a:cubicBezTo>
                  <a:pt x="7006" y="449"/>
                  <a:pt x="7036" y="429"/>
                  <a:pt x="7049" y="401"/>
                </a:cubicBezTo>
                <a:cubicBezTo>
                  <a:pt x="7059" y="378"/>
                  <a:pt x="7061" y="364"/>
                  <a:pt x="7061" y="338"/>
                </a:cubicBezTo>
                <a:lnTo>
                  <a:pt x="7034" y="338"/>
                </a:lnTo>
                <a:close/>
                <a:moveTo>
                  <a:pt x="7062" y="479"/>
                </a:moveTo>
                <a:lnTo>
                  <a:pt x="7062" y="438"/>
                </a:lnTo>
                <a:lnTo>
                  <a:pt x="7061" y="438"/>
                </a:lnTo>
                <a:cubicBezTo>
                  <a:pt x="7044" y="471"/>
                  <a:pt x="7000" y="486"/>
                  <a:pt x="6965" y="486"/>
                </a:cubicBezTo>
                <a:cubicBezTo>
                  <a:pt x="6911" y="486"/>
                  <a:pt x="6882" y="452"/>
                  <a:pt x="6882" y="400"/>
                </a:cubicBezTo>
                <a:cubicBezTo>
                  <a:pt x="6882" y="330"/>
                  <a:pt x="6963" y="301"/>
                  <a:pt x="7061" y="301"/>
                </a:cubicBezTo>
                <a:lnTo>
                  <a:pt x="7061" y="295"/>
                </a:lnTo>
                <a:cubicBezTo>
                  <a:pt x="7061" y="248"/>
                  <a:pt x="7063" y="199"/>
                  <a:pt x="7002" y="199"/>
                </a:cubicBezTo>
                <a:cubicBezTo>
                  <a:pt x="6965" y="199"/>
                  <a:pt x="6944" y="211"/>
                  <a:pt x="6939" y="248"/>
                </a:cubicBezTo>
                <a:lnTo>
                  <a:pt x="6889" y="248"/>
                </a:lnTo>
                <a:cubicBezTo>
                  <a:pt x="6891" y="186"/>
                  <a:pt x="6944" y="161"/>
                  <a:pt x="7001" y="161"/>
                </a:cubicBezTo>
                <a:cubicBezTo>
                  <a:pt x="7071" y="161"/>
                  <a:pt x="7105" y="191"/>
                  <a:pt x="7105" y="261"/>
                </a:cubicBezTo>
                <a:lnTo>
                  <a:pt x="7105" y="479"/>
                </a:lnTo>
                <a:lnTo>
                  <a:pt x="7062" y="479"/>
                </a:lnTo>
                <a:close/>
                <a:moveTo>
                  <a:pt x="6843" y="483"/>
                </a:moveTo>
                <a:cubicBezTo>
                  <a:pt x="6829" y="485"/>
                  <a:pt x="6816" y="486"/>
                  <a:pt x="6803" y="486"/>
                </a:cubicBezTo>
                <a:cubicBezTo>
                  <a:pt x="6745" y="486"/>
                  <a:pt x="6717" y="467"/>
                  <a:pt x="6717" y="406"/>
                </a:cubicBezTo>
                <a:lnTo>
                  <a:pt x="6717" y="206"/>
                </a:lnTo>
                <a:lnTo>
                  <a:pt x="6666" y="206"/>
                </a:lnTo>
                <a:lnTo>
                  <a:pt x="6666" y="169"/>
                </a:lnTo>
                <a:lnTo>
                  <a:pt x="6717" y="169"/>
                </a:lnTo>
                <a:lnTo>
                  <a:pt x="6717" y="96"/>
                </a:lnTo>
                <a:lnTo>
                  <a:pt x="6762" y="68"/>
                </a:lnTo>
                <a:lnTo>
                  <a:pt x="6762" y="169"/>
                </a:lnTo>
                <a:lnTo>
                  <a:pt x="6845" y="169"/>
                </a:lnTo>
                <a:lnTo>
                  <a:pt x="6845" y="206"/>
                </a:lnTo>
                <a:lnTo>
                  <a:pt x="6762" y="206"/>
                </a:lnTo>
                <a:lnTo>
                  <a:pt x="6762" y="397"/>
                </a:lnTo>
                <a:cubicBezTo>
                  <a:pt x="6762" y="430"/>
                  <a:pt x="6777" y="449"/>
                  <a:pt x="6813" y="449"/>
                </a:cubicBezTo>
                <a:cubicBezTo>
                  <a:pt x="6825" y="449"/>
                  <a:pt x="6832" y="448"/>
                  <a:pt x="6843" y="443"/>
                </a:cubicBezTo>
                <a:lnTo>
                  <a:pt x="6843" y="483"/>
                </a:lnTo>
                <a:close/>
                <a:moveTo>
                  <a:pt x="6549" y="479"/>
                </a:moveTo>
                <a:lnTo>
                  <a:pt x="6549" y="169"/>
                </a:lnTo>
                <a:lnTo>
                  <a:pt x="6593" y="169"/>
                </a:lnTo>
                <a:lnTo>
                  <a:pt x="6593" y="479"/>
                </a:lnTo>
                <a:lnTo>
                  <a:pt x="6549" y="479"/>
                </a:lnTo>
                <a:close/>
                <a:moveTo>
                  <a:pt x="6542" y="88"/>
                </a:moveTo>
                <a:lnTo>
                  <a:pt x="6542" y="29"/>
                </a:lnTo>
                <a:lnTo>
                  <a:pt x="6600" y="29"/>
                </a:lnTo>
                <a:lnTo>
                  <a:pt x="6600" y="88"/>
                </a:lnTo>
                <a:lnTo>
                  <a:pt x="6542" y="88"/>
                </a:lnTo>
                <a:close/>
                <a:moveTo>
                  <a:pt x="6403" y="318"/>
                </a:moveTo>
                <a:cubicBezTo>
                  <a:pt x="6403" y="275"/>
                  <a:pt x="6386" y="199"/>
                  <a:pt x="6330" y="199"/>
                </a:cubicBezTo>
                <a:cubicBezTo>
                  <a:pt x="6273" y="199"/>
                  <a:pt x="6266" y="286"/>
                  <a:pt x="6266" y="326"/>
                </a:cubicBezTo>
                <a:cubicBezTo>
                  <a:pt x="6266" y="367"/>
                  <a:pt x="6274" y="442"/>
                  <a:pt x="6329" y="442"/>
                </a:cubicBezTo>
                <a:cubicBezTo>
                  <a:pt x="6386" y="442"/>
                  <a:pt x="6403" y="362"/>
                  <a:pt x="6403" y="318"/>
                </a:cubicBezTo>
                <a:close/>
                <a:moveTo>
                  <a:pt x="6403" y="420"/>
                </a:moveTo>
                <a:lnTo>
                  <a:pt x="6402" y="420"/>
                </a:lnTo>
                <a:cubicBezTo>
                  <a:pt x="6390" y="457"/>
                  <a:pt x="6358" y="479"/>
                  <a:pt x="6320" y="479"/>
                </a:cubicBezTo>
                <a:cubicBezTo>
                  <a:pt x="6234" y="479"/>
                  <a:pt x="6215" y="396"/>
                  <a:pt x="6215" y="326"/>
                </a:cubicBezTo>
                <a:cubicBezTo>
                  <a:pt x="6215" y="259"/>
                  <a:pt x="6236" y="161"/>
                  <a:pt x="6321" y="161"/>
                </a:cubicBezTo>
                <a:cubicBezTo>
                  <a:pt x="6358" y="161"/>
                  <a:pt x="6392" y="183"/>
                  <a:pt x="6402" y="219"/>
                </a:cubicBezTo>
                <a:lnTo>
                  <a:pt x="6403" y="219"/>
                </a:lnTo>
                <a:lnTo>
                  <a:pt x="6403" y="169"/>
                </a:lnTo>
                <a:lnTo>
                  <a:pt x="6448" y="169"/>
                </a:lnTo>
                <a:lnTo>
                  <a:pt x="6448" y="480"/>
                </a:lnTo>
                <a:cubicBezTo>
                  <a:pt x="6448" y="569"/>
                  <a:pt x="6405" y="615"/>
                  <a:pt x="6316" y="615"/>
                </a:cubicBezTo>
                <a:cubicBezTo>
                  <a:pt x="6285" y="615"/>
                  <a:pt x="6260" y="610"/>
                  <a:pt x="6232" y="604"/>
                </a:cubicBezTo>
                <a:lnTo>
                  <a:pt x="6232" y="559"/>
                </a:lnTo>
                <a:cubicBezTo>
                  <a:pt x="6257" y="572"/>
                  <a:pt x="6281" y="578"/>
                  <a:pt x="6309" y="578"/>
                </a:cubicBezTo>
                <a:cubicBezTo>
                  <a:pt x="6381" y="578"/>
                  <a:pt x="6403" y="541"/>
                  <a:pt x="6403" y="475"/>
                </a:cubicBezTo>
                <a:lnTo>
                  <a:pt x="6403" y="420"/>
                </a:lnTo>
                <a:close/>
                <a:moveTo>
                  <a:pt x="6091" y="479"/>
                </a:moveTo>
                <a:lnTo>
                  <a:pt x="6091" y="169"/>
                </a:lnTo>
                <a:lnTo>
                  <a:pt x="6135" y="169"/>
                </a:lnTo>
                <a:lnTo>
                  <a:pt x="6135" y="479"/>
                </a:lnTo>
                <a:lnTo>
                  <a:pt x="6091" y="479"/>
                </a:lnTo>
                <a:close/>
                <a:moveTo>
                  <a:pt x="6084" y="88"/>
                </a:moveTo>
                <a:lnTo>
                  <a:pt x="6084" y="29"/>
                </a:lnTo>
                <a:lnTo>
                  <a:pt x="6142" y="29"/>
                </a:lnTo>
                <a:lnTo>
                  <a:pt x="6142" y="88"/>
                </a:lnTo>
                <a:lnTo>
                  <a:pt x="6084" y="88"/>
                </a:lnTo>
                <a:close/>
                <a:moveTo>
                  <a:pt x="5808" y="437"/>
                </a:moveTo>
                <a:cubicBezTo>
                  <a:pt x="5833" y="437"/>
                  <a:pt x="5860" y="435"/>
                  <a:pt x="5884" y="424"/>
                </a:cubicBezTo>
                <a:cubicBezTo>
                  <a:pt x="5947" y="395"/>
                  <a:pt x="5952" y="313"/>
                  <a:pt x="5952" y="253"/>
                </a:cubicBezTo>
                <a:cubicBezTo>
                  <a:pt x="5952" y="189"/>
                  <a:pt x="5946" y="107"/>
                  <a:pt x="5875" y="81"/>
                </a:cubicBezTo>
                <a:cubicBezTo>
                  <a:pt x="5852" y="73"/>
                  <a:pt x="5827" y="71"/>
                  <a:pt x="5802" y="71"/>
                </a:cubicBezTo>
                <a:lnTo>
                  <a:pt x="5773" y="71"/>
                </a:lnTo>
                <a:lnTo>
                  <a:pt x="5773" y="437"/>
                </a:lnTo>
                <a:lnTo>
                  <a:pt x="5808" y="437"/>
                </a:lnTo>
                <a:close/>
                <a:moveTo>
                  <a:pt x="5722" y="479"/>
                </a:moveTo>
                <a:lnTo>
                  <a:pt x="5722" y="29"/>
                </a:lnTo>
                <a:lnTo>
                  <a:pt x="5823" y="29"/>
                </a:lnTo>
                <a:cubicBezTo>
                  <a:pt x="5968" y="29"/>
                  <a:pt x="6008" y="123"/>
                  <a:pt x="6008" y="253"/>
                </a:cubicBezTo>
                <a:cubicBezTo>
                  <a:pt x="6008" y="338"/>
                  <a:pt x="5992" y="435"/>
                  <a:pt x="5901" y="467"/>
                </a:cubicBezTo>
                <a:cubicBezTo>
                  <a:pt x="5870" y="477"/>
                  <a:pt x="5838" y="479"/>
                  <a:pt x="5807" y="479"/>
                </a:cubicBezTo>
                <a:lnTo>
                  <a:pt x="5722" y="479"/>
                </a:lnTo>
                <a:close/>
                <a:moveTo>
                  <a:pt x="5419" y="628"/>
                </a:moveTo>
                <a:lnTo>
                  <a:pt x="5419" y="0"/>
                </a:lnTo>
                <a:lnTo>
                  <a:pt x="5452" y="0"/>
                </a:lnTo>
                <a:lnTo>
                  <a:pt x="5452" y="628"/>
                </a:lnTo>
                <a:lnTo>
                  <a:pt x="5419" y="628"/>
                </a:lnTo>
                <a:close/>
                <a:moveTo>
                  <a:pt x="5107" y="318"/>
                </a:moveTo>
                <a:cubicBezTo>
                  <a:pt x="5107" y="275"/>
                  <a:pt x="5089" y="199"/>
                  <a:pt x="5034" y="199"/>
                </a:cubicBezTo>
                <a:cubicBezTo>
                  <a:pt x="4976" y="199"/>
                  <a:pt x="4969" y="286"/>
                  <a:pt x="4969" y="326"/>
                </a:cubicBezTo>
                <a:cubicBezTo>
                  <a:pt x="4969" y="367"/>
                  <a:pt x="4977" y="442"/>
                  <a:pt x="5032" y="442"/>
                </a:cubicBezTo>
                <a:cubicBezTo>
                  <a:pt x="5089" y="442"/>
                  <a:pt x="5107" y="362"/>
                  <a:pt x="5107" y="318"/>
                </a:cubicBezTo>
                <a:close/>
                <a:moveTo>
                  <a:pt x="5107" y="420"/>
                </a:moveTo>
                <a:lnTo>
                  <a:pt x="5105" y="420"/>
                </a:lnTo>
                <a:cubicBezTo>
                  <a:pt x="5093" y="457"/>
                  <a:pt x="5062" y="479"/>
                  <a:pt x="5023" y="479"/>
                </a:cubicBezTo>
                <a:cubicBezTo>
                  <a:pt x="4938" y="479"/>
                  <a:pt x="4918" y="396"/>
                  <a:pt x="4918" y="326"/>
                </a:cubicBezTo>
                <a:cubicBezTo>
                  <a:pt x="4918" y="259"/>
                  <a:pt x="4939" y="161"/>
                  <a:pt x="5025" y="161"/>
                </a:cubicBezTo>
                <a:cubicBezTo>
                  <a:pt x="5062" y="161"/>
                  <a:pt x="5095" y="183"/>
                  <a:pt x="5105" y="219"/>
                </a:cubicBezTo>
                <a:lnTo>
                  <a:pt x="5107" y="219"/>
                </a:lnTo>
                <a:lnTo>
                  <a:pt x="5107" y="169"/>
                </a:lnTo>
                <a:lnTo>
                  <a:pt x="5151" y="169"/>
                </a:lnTo>
                <a:lnTo>
                  <a:pt x="5151" y="480"/>
                </a:lnTo>
                <a:cubicBezTo>
                  <a:pt x="5151" y="569"/>
                  <a:pt x="5109" y="615"/>
                  <a:pt x="5019" y="615"/>
                </a:cubicBezTo>
                <a:cubicBezTo>
                  <a:pt x="4989" y="615"/>
                  <a:pt x="4964" y="610"/>
                  <a:pt x="4935" y="604"/>
                </a:cubicBezTo>
                <a:lnTo>
                  <a:pt x="4935" y="559"/>
                </a:lnTo>
                <a:cubicBezTo>
                  <a:pt x="4961" y="572"/>
                  <a:pt x="4985" y="578"/>
                  <a:pt x="5013" y="578"/>
                </a:cubicBezTo>
                <a:cubicBezTo>
                  <a:pt x="5085" y="578"/>
                  <a:pt x="5107" y="541"/>
                  <a:pt x="5107" y="475"/>
                </a:cubicBezTo>
                <a:lnTo>
                  <a:pt x="5107" y="420"/>
                </a:lnTo>
                <a:close/>
                <a:moveTo>
                  <a:pt x="4799" y="479"/>
                </a:moveTo>
                <a:lnTo>
                  <a:pt x="4799" y="307"/>
                </a:lnTo>
                <a:cubicBezTo>
                  <a:pt x="4799" y="272"/>
                  <a:pt x="4805" y="206"/>
                  <a:pt x="4754" y="206"/>
                </a:cubicBezTo>
                <a:cubicBezTo>
                  <a:pt x="4692" y="206"/>
                  <a:pt x="4666" y="303"/>
                  <a:pt x="4666" y="351"/>
                </a:cubicBezTo>
                <a:lnTo>
                  <a:pt x="4666" y="479"/>
                </a:lnTo>
                <a:lnTo>
                  <a:pt x="4621" y="479"/>
                </a:lnTo>
                <a:lnTo>
                  <a:pt x="4621" y="169"/>
                </a:lnTo>
                <a:lnTo>
                  <a:pt x="4666" y="169"/>
                </a:lnTo>
                <a:lnTo>
                  <a:pt x="4666" y="240"/>
                </a:lnTo>
                <a:lnTo>
                  <a:pt x="4667" y="240"/>
                </a:lnTo>
                <a:cubicBezTo>
                  <a:pt x="4683" y="192"/>
                  <a:pt x="4710" y="161"/>
                  <a:pt x="4764" y="161"/>
                </a:cubicBezTo>
                <a:cubicBezTo>
                  <a:pt x="4818" y="161"/>
                  <a:pt x="4844" y="208"/>
                  <a:pt x="4844" y="257"/>
                </a:cubicBezTo>
                <a:lnTo>
                  <a:pt x="4844" y="479"/>
                </a:lnTo>
                <a:lnTo>
                  <a:pt x="4799" y="479"/>
                </a:lnTo>
                <a:close/>
                <a:moveTo>
                  <a:pt x="4474" y="479"/>
                </a:moveTo>
                <a:lnTo>
                  <a:pt x="4474" y="169"/>
                </a:lnTo>
                <a:lnTo>
                  <a:pt x="4519" y="169"/>
                </a:lnTo>
                <a:lnTo>
                  <a:pt x="4519" y="479"/>
                </a:lnTo>
                <a:lnTo>
                  <a:pt x="4474" y="479"/>
                </a:lnTo>
                <a:close/>
                <a:moveTo>
                  <a:pt x="4467" y="88"/>
                </a:moveTo>
                <a:lnTo>
                  <a:pt x="4467" y="29"/>
                </a:lnTo>
                <a:lnTo>
                  <a:pt x="4526" y="29"/>
                </a:lnTo>
                <a:lnTo>
                  <a:pt x="4526" y="88"/>
                </a:lnTo>
                <a:lnTo>
                  <a:pt x="4467" y="88"/>
                </a:lnTo>
                <a:close/>
                <a:moveTo>
                  <a:pt x="4406" y="483"/>
                </a:moveTo>
                <a:cubicBezTo>
                  <a:pt x="4393" y="485"/>
                  <a:pt x="4380" y="486"/>
                  <a:pt x="4367" y="486"/>
                </a:cubicBezTo>
                <a:cubicBezTo>
                  <a:pt x="4309" y="486"/>
                  <a:pt x="4281" y="467"/>
                  <a:pt x="4281" y="406"/>
                </a:cubicBezTo>
                <a:lnTo>
                  <a:pt x="4281" y="206"/>
                </a:lnTo>
                <a:lnTo>
                  <a:pt x="4230" y="206"/>
                </a:lnTo>
                <a:lnTo>
                  <a:pt x="4230" y="169"/>
                </a:lnTo>
                <a:lnTo>
                  <a:pt x="4281" y="169"/>
                </a:lnTo>
                <a:lnTo>
                  <a:pt x="4281" y="96"/>
                </a:lnTo>
                <a:lnTo>
                  <a:pt x="4326" y="68"/>
                </a:lnTo>
                <a:lnTo>
                  <a:pt x="4326" y="169"/>
                </a:lnTo>
                <a:lnTo>
                  <a:pt x="4409" y="169"/>
                </a:lnTo>
                <a:lnTo>
                  <a:pt x="4409" y="206"/>
                </a:lnTo>
                <a:lnTo>
                  <a:pt x="4326" y="206"/>
                </a:lnTo>
                <a:lnTo>
                  <a:pt x="4326" y="397"/>
                </a:lnTo>
                <a:cubicBezTo>
                  <a:pt x="4326" y="430"/>
                  <a:pt x="4341" y="449"/>
                  <a:pt x="4376" y="449"/>
                </a:cubicBezTo>
                <a:cubicBezTo>
                  <a:pt x="4389" y="449"/>
                  <a:pt x="4395" y="448"/>
                  <a:pt x="4406" y="443"/>
                </a:cubicBezTo>
                <a:lnTo>
                  <a:pt x="4406" y="483"/>
                </a:lnTo>
                <a:close/>
                <a:moveTo>
                  <a:pt x="4113" y="479"/>
                </a:moveTo>
                <a:lnTo>
                  <a:pt x="4113" y="29"/>
                </a:lnTo>
                <a:lnTo>
                  <a:pt x="4157" y="29"/>
                </a:lnTo>
                <a:lnTo>
                  <a:pt x="4157" y="479"/>
                </a:lnTo>
                <a:lnTo>
                  <a:pt x="4113" y="479"/>
                </a:lnTo>
                <a:close/>
                <a:moveTo>
                  <a:pt x="3964" y="479"/>
                </a:moveTo>
                <a:lnTo>
                  <a:pt x="3964" y="407"/>
                </a:lnTo>
                <a:lnTo>
                  <a:pt x="3963" y="407"/>
                </a:lnTo>
                <a:cubicBezTo>
                  <a:pt x="3948" y="455"/>
                  <a:pt x="3919" y="486"/>
                  <a:pt x="3866" y="486"/>
                </a:cubicBezTo>
                <a:cubicBezTo>
                  <a:pt x="3812" y="486"/>
                  <a:pt x="3787" y="441"/>
                  <a:pt x="3787" y="390"/>
                </a:cubicBezTo>
                <a:lnTo>
                  <a:pt x="3787" y="169"/>
                </a:lnTo>
                <a:lnTo>
                  <a:pt x="3831" y="169"/>
                </a:lnTo>
                <a:lnTo>
                  <a:pt x="3831" y="341"/>
                </a:lnTo>
                <a:cubicBezTo>
                  <a:pt x="3831" y="375"/>
                  <a:pt x="3826" y="442"/>
                  <a:pt x="3877" y="442"/>
                </a:cubicBezTo>
                <a:cubicBezTo>
                  <a:pt x="3939" y="442"/>
                  <a:pt x="3964" y="345"/>
                  <a:pt x="3964" y="296"/>
                </a:cubicBezTo>
                <a:lnTo>
                  <a:pt x="3964" y="169"/>
                </a:lnTo>
                <a:lnTo>
                  <a:pt x="4008" y="169"/>
                </a:lnTo>
                <a:lnTo>
                  <a:pt x="4008" y="479"/>
                </a:lnTo>
                <a:lnTo>
                  <a:pt x="3964" y="479"/>
                </a:lnTo>
                <a:close/>
                <a:moveTo>
                  <a:pt x="3526" y="433"/>
                </a:moveTo>
                <a:cubicBezTo>
                  <a:pt x="3552" y="441"/>
                  <a:pt x="3578" y="449"/>
                  <a:pt x="3606" y="449"/>
                </a:cubicBezTo>
                <a:cubicBezTo>
                  <a:pt x="3640" y="449"/>
                  <a:pt x="3682" y="440"/>
                  <a:pt x="3682" y="399"/>
                </a:cubicBezTo>
                <a:cubicBezTo>
                  <a:pt x="3682" y="368"/>
                  <a:pt x="3649" y="355"/>
                  <a:pt x="3626" y="343"/>
                </a:cubicBezTo>
                <a:lnTo>
                  <a:pt x="3598" y="328"/>
                </a:lnTo>
                <a:cubicBezTo>
                  <a:pt x="3561" y="309"/>
                  <a:pt x="3527" y="291"/>
                  <a:pt x="3527" y="244"/>
                </a:cubicBezTo>
                <a:cubicBezTo>
                  <a:pt x="3527" y="183"/>
                  <a:pt x="3580" y="161"/>
                  <a:pt x="3634" y="161"/>
                </a:cubicBezTo>
                <a:cubicBezTo>
                  <a:pt x="3659" y="161"/>
                  <a:pt x="3683" y="166"/>
                  <a:pt x="3707" y="172"/>
                </a:cubicBezTo>
                <a:lnTo>
                  <a:pt x="3707" y="213"/>
                </a:lnTo>
                <a:cubicBezTo>
                  <a:pt x="3684" y="205"/>
                  <a:pt x="3658" y="199"/>
                  <a:pt x="3634" y="199"/>
                </a:cubicBezTo>
                <a:cubicBezTo>
                  <a:pt x="3610" y="199"/>
                  <a:pt x="3572" y="209"/>
                  <a:pt x="3572" y="239"/>
                </a:cubicBezTo>
                <a:cubicBezTo>
                  <a:pt x="3572" y="265"/>
                  <a:pt x="3610" y="277"/>
                  <a:pt x="3628" y="288"/>
                </a:cubicBezTo>
                <a:lnTo>
                  <a:pt x="3654" y="304"/>
                </a:lnTo>
                <a:cubicBezTo>
                  <a:pt x="3692" y="326"/>
                  <a:pt x="3726" y="342"/>
                  <a:pt x="3726" y="392"/>
                </a:cubicBezTo>
                <a:cubicBezTo>
                  <a:pt x="3726" y="462"/>
                  <a:pt x="3673" y="486"/>
                  <a:pt x="3611" y="486"/>
                </a:cubicBezTo>
                <a:cubicBezTo>
                  <a:pt x="3582" y="486"/>
                  <a:pt x="3554" y="482"/>
                  <a:pt x="3526" y="473"/>
                </a:cubicBezTo>
                <a:lnTo>
                  <a:pt x="3526" y="433"/>
                </a:lnTo>
                <a:close/>
                <a:moveTo>
                  <a:pt x="3412" y="479"/>
                </a:moveTo>
                <a:lnTo>
                  <a:pt x="3412" y="307"/>
                </a:lnTo>
                <a:cubicBezTo>
                  <a:pt x="3412" y="272"/>
                  <a:pt x="3418" y="206"/>
                  <a:pt x="3367" y="206"/>
                </a:cubicBezTo>
                <a:cubicBezTo>
                  <a:pt x="3305" y="206"/>
                  <a:pt x="3279" y="303"/>
                  <a:pt x="3279" y="351"/>
                </a:cubicBezTo>
                <a:lnTo>
                  <a:pt x="3279" y="479"/>
                </a:lnTo>
                <a:lnTo>
                  <a:pt x="3234" y="479"/>
                </a:lnTo>
                <a:lnTo>
                  <a:pt x="3234" y="169"/>
                </a:lnTo>
                <a:lnTo>
                  <a:pt x="3279" y="169"/>
                </a:lnTo>
                <a:lnTo>
                  <a:pt x="3279" y="240"/>
                </a:lnTo>
                <a:lnTo>
                  <a:pt x="3280" y="240"/>
                </a:lnTo>
                <a:cubicBezTo>
                  <a:pt x="3296" y="192"/>
                  <a:pt x="3323" y="161"/>
                  <a:pt x="3377" y="161"/>
                </a:cubicBezTo>
                <a:cubicBezTo>
                  <a:pt x="3431" y="161"/>
                  <a:pt x="3457" y="208"/>
                  <a:pt x="3457" y="257"/>
                </a:cubicBezTo>
                <a:lnTo>
                  <a:pt x="3457" y="479"/>
                </a:lnTo>
                <a:lnTo>
                  <a:pt x="3412" y="479"/>
                </a:lnTo>
                <a:close/>
                <a:moveTo>
                  <a:pt x="3108" y="324"/>
                </a:moveTo>
                <a:cubicBezTo>
                  <a:pt x="3108" y="274"/>
                  <a:pt x="3096" y="199"/>
                  <a:pt x="3031" y="199"/>
                </a:cubicBezTo>
                <a:cubicBezTo>
                  <a:pt x="2967" y="199"/>
                  <a:pt x="2956" y="274"/>
                  <a:pt x="2956" y="324"/>
                </a:cubicBezTo>
                <a:cubicBezTo>
                  <a:pt x="2956" y="373"/>
                  <a:pt x="2967" y="449"/>
                  <a:pt x="3031" y="449"/>
                </a:cubicBezTo>
                <a:cubicBezTo>
                  <a:pt x="3097" y="449"/>
                  <a:pt x="3108" y="374"/>
                  <a:pt x="3108" y="324"/>
                </a:cubicBezTo>
                <a:close/>
                <a:moveTo>
                  <a:pt x="2905" y="325"/>
                </a:moveTo>
                <a:cubicBezTo>
                  <a:pt x="2905" y="241"/>
                  <a:pt x="2935" y="161"/>
                  <a:pt x="3031" y="161"/>
                </a:cubicBezTo>
                <a:cubicBezTo>
                  <a:pt x="3129" y="161"/>
                  <a:pt x="3159" y="241"/>
                  <a:pt x="3159" y="325"/>
                </a:cubicBezTo>
                <a:cubicBezTo>
                  <a:pt x="3159" y="409"/>
                  <a:pt x="3129" y="486"/>
                  <a:pt x="3031" y="486"/>
                </a:cubicBezTo>
                <a:cubicBezTo>
                  <a:pt x="2935" y="486"/>
                  <a:pt x="2905" y="409"/>
                  <a:pt x="2905" y="325"/>
                </a:cubicBezTo>
                <a:close/>
                <a:moveTo>
                  <a:pt x="2856" y="460"/>
                </a:moveTo>
                <a:cubicBezTo>
                  <a:pt x="2814" y="477"/>
                  <a:pt x="2785" y="486"/>
                  <a:pt x="2737" y="486"/>
                </a:cubicBezTo>
                <a:cubicBezTo>
                  <a:pt x="2602" y="486"/>
                  <a:pt x="2564" y="358"/>
                  <a:pt x="2564" y="246"/>
                </a:cubicBezTo>
                <a:cubicBezTo>
                  <a:pt x="2564" y="133"/>
                  <a:pt x="2603" y="22"/>
                  <a:pt x="2734" y="22"/>
                </a:cubicBezTo>
                <a:cubicBezTo>
                  <a:pt x="2813" y="22"/>
                  <a:pt x="2873" y="69"/>
                  <a:pt x="2873" y="152"/>
                </a:cubicBezTo>
                <a:lnTo>
                  <a:pt x="2816" y="152"/>
                </a:lnTo>
                <a:cubicBezTo>
                  <a:pt x="2816" y="101"/>
                  <a:pt x="2786" y="64"/>
                  <a:pt x="2734" y="64"/>
                </a:cubicBezTo>
                <a:cubicBezTo>
                  <a:pt x="2635" y="64"/>
                  <a:pt x="2620" y="171"/>
                  <a:pt x="2620" y="248"/>
                </a:cubicBezTo>
                <a:cubicBezTo>
                  <a:pt x="2620" y="333"/>
                  <a:pt x="2643" y="444"/>
                  <a:pt x="2749" y="444"/>
                </a:cubicBezTo>
                <a:cubicBezTo>
                  <a:pt x="2789" y="444"/>
                  <a:pt x="2826" y="431"/>
                  <a:pt x="2856" y="407"/>
                </a:cubicBezTo>
                <a:lnTo>
                  <a:pt x="2856" y="460"/>
                </a:lnTo>
                <a:close/>
                <a:moveTo>
                  <a:pt x="2283" y="628"/>
                </a:moveTo>
                <a:lnTo>
                  <a:pt x="2283" y="0"/>
                </a:lnTo>
                <a:lnTo>
                  <a:pt x="2317" y="0"/>
                </a:lnTo>
                <a:lnTo>
                  <a:pt x="2317" y="628"/>
                </a:lnTo>
                <a:lnTo>
                  <a:pt x="2283" y="628"/>
                </a:lnTo>
                <a:close/>
                <a:moveTo>
                  <a:pt x="1868" y="605"/>
                </a:moveTo>
                <a:lnTo>
                  <a:pt x="1912" y="479"/>
                </a:lnTo>
                <a:lnTo>
                  <a:pt x="1793" y="169"/>
                </a:lnTo>
                <a:lnTo>
                  <a:pt x="1840" y="169"/>
                </a:lnTo>
                <a:lnTo>
                  <a:pt x="1931" y="413"/>
                </a:lnTo>
                <a:lnTo>
                  <a:pt x="1932" y="413"/>
                </a:lnTo>
                <a:lnTo>
                  <a:pt x="2016" y="169"/>
                </a:lnTo>
                <a:lnTo>
                  <a:pt x="2064" y="169"/>
                </a:lnTo>
                <a:lnTo>
                  <a:pt x="1914" y="605"/>
                </a:lnTo>
                <a:lnTo>
                  <a:pt x="1868" y="605"/>
                </a:lnTo>
                <a:close/>
                <a:moveTo>
                  <a:pt x="1699" y="318"/>
                </a:moveTo>
                <a:cubicBezTo>
                  <a:pt x="1699" y="275"/>
                  <a:pt x="1682" y="199"/>
                  <a:pt x="1626" y="199"/>
                </a:cubicBezTo>
                <a:cubicBezTo>
                  <a:pt x="1569" y="199"/>
                  <a:pt x="1562" y="286"/>
                  <a:pt x="1562" y="326"/>
                </a:cubicBezTo>
                <a:cubicBezTo>
                  <a:pt x="1562" y="367"/>
                  <a:pt x="1570" y="442"/>
                  <a:pt x="1625" y="442"/>
                </a:cubicBezTo>
                <a:cubicBezTo>
                  <a:pt x="1682" y="442"/>
                  <a:pt x="1699" y="362"/>
                  <a:pt x="1699" y="318"/>
                </a:cubicBezTo>
                <a:close/>
                <a:moveTo>
                  <a:pt x="1699" y="420"/>
                </a:moveTo>
                <a:lnTo>
                  <a:pt x="1698" y="420"/>
                </a:lnTo>
                <a:cubicBezTo>
                  <a:pt x="1686" y="457"/>
                  <a:pt x="1654" y="479"/>
                  <a:pt x="1616" y="479"/>
                </a:cubicBezTo>
                <a:cubicBezTo>
                  <a:pt x="1531" y="479"/>
                  <a:pt x="1511" y="396"/>
                  <a:pt x="1511" y="326"/>
                </a:cubicBezTo>
                <a:cubicBezTo>
                  <a:pt x="1511" y="259"/>
                  <a:pt x="1532" y="161"/>
                  <a:pt x="1617" y="161"/>
                </a:cubicBezTo>
                <a:cubicBezTo>
                  <a:pt x="1654" y="161"/>
                  <a:pt x="1688" y="183"/>
                  <a:pt x="1698" y="219"/>
                </a:cubicBezTo>
                <a:lnTo>
                  <a:pt x="1699" y="219"/>
                </a:lnTo>
                <a:lnTo>
                  <a:pt x="1699" y="169"/>
                </a:lnTo>
                <a:lnTo>
                  <a:pt x="1744" y="169"/>
                </a:lnTo>
                <a:lnTo>
                  <a:pt x="1744" y="480"/>
                </a:lnTo>
                <a:cubicBezTo>
                  <a:pt x="1744" y="569"/>
                  <a:pt x="1701" y="615"/>
                  <a:pt x="1612" y="615"/>
                </a:cubicBezTo>
                <a:cubicBezTo>
                  <a:pt x="1581" y="615"/>
                  <a:pt x="1557" y="610"/>
                  <a:pt x="1528" y="604"/>
                </a:cubicBezTo>
                <a:lnTo>
                  <a:pt x="1528" y="559"/>
                </a:lnTo>
                <a:cubicBezTo>
                  <a:pt x="1553" y="572"/>
                  <a:pt x="1577" y="578"/>
                  <a:pt x="1606" y="578"/>
                </a:cubicBezTo>
                <a:cubicBezTo>
                  <a:pt x="1677" y="578"/>
                  <a:pt x="1699" y="541"/>
                  <a:pt x="1699" y="475"/>
                </a:cubicBezTo>
                <a:lnTo>
                  <a:pt x="1699" y="420"/>
                </a:lnTo>
                <a:close/>
                <a:moveTo>
                  <a:pt x="1408" y="257"/>
                </a:moveTo>
                <a:cubicBezTo>
                  <a:pt x="1408" y="223"/>
                  <a:pt x="1383" y="199"/>
                  <a:pt x="1349" y="199"/>
                </a:cubicBezTo>
                <a:cubicBezTo>
                  <a:pt x="1312" y="199"/>
                  <a:pt x="1291" y="223"/>
                  <a:pt x="1284" y="257"/>
                </a:cubicBezTo>
                <a:lnTo>
                  <a:pt x="1408" y="257"/>
                </a:lnTo>
                <a:close/>
                <a:moveTo>
                  <a:pt x="1452" y="477"/>
                </a:moveTo>
                <a:cubicBezTo>
                  <a:pt x="1429" y="484"/>
                  <a:pt x="1405" y="486"/>
                  <a:pt x="1381" y="486"/>
                </a:cubicBezTo>
                <a:cubicBezTo>
                  <a:pt x="1273" y="486"/>
                  <a:pt x="1230" y="415"/>
                  <a:pt x="1230" y="313"/>
                </a:cubicBezTo>
                <a:cubicBezTo>
                  <a:pt x="1230" y="233"/>
                  <a:pt x="1260" y="161"/>
                  <a:pt x="1351" y="161"/>
                </a:cubicBezTo>
                <a:cubicBezTo>
                  <a:pt x="1423" y="161"/>
                  <a:pt x="1459" y="210"/>
                  <a:pt x="1459" y="280"/>
                </a:cubicBezTo>
                <a:lnTo>
                  <a:pt x="1459" y="295"/>
                </a:lnTo>
                <a:lnTo>
                  <a:pt x="1281" y="295"/>
                </a:lnTo>
                <a:lnTo>
                  <a:pt x="1281" y="313"/>
                </a:lnTo>
                <a:cubicBezTo>
                  <a:pt x="1281" y="381"/>
                  <a:pt x="1314" y="449"/>
                  <a:pt x="1391" y="449"/>
                </a:cubicBezTo>
                <a:cubicBezTo>
                  <a:pt x="1412" y="449"/>
                  <a:pt x="1431" y="446"/>
                  <a:pt x="1452" y="441"/>
                </a:cubicBezTo>
                <a:lnTo>
                  <a:pt x="1452" y="477"/>
                </a:lnTo>
                <a:close/>
                <a:moveTo>
                  <a:pt x="1187" y="483"/>
                </a:moveTo>
                <a:cubicBezTo>
                  <a:pt x="1173" y="485"/>
                  <a:pt x="1160" y="486"/>
                  <a:pt x="1147" y="486"/>
                </a:cubicBezTo>
                <a:cubicBezTo>
                  <a:pt x="1089" y="486"/>
                  <a:pt x="1061" y="467"/>
                  <a:pt x="1061" y="406"/>
                </a:cubicBezTo>
                <a:lnTo>
                  <a:pt x="1061" y="206"/>
                </a:lnTo>
                <a:lnTo>
                  <a:pt x="1010" y="206"/>
                </a:lnTo>
                <a:lnTo>
                  <a:pt x="1010" y="169"/>
                </a:lnTo>
                <a:lnTo>
                  <a:pt x="1061" y="169"/>
                </a:lnTo>
                <a:lnTo>
                  <a:pt x="1061" y="96"/>
                </a:lnTo>
                <a:lnTo>
                  <a:pt x="1106" y="68"/>
                </a:lnTo>
                <a:lnTo>
                  <a:pt x="1106" y="169"/>
                </a:lnTo>
                <a:lnTo>
                  <a:pt x="1189" y="169"/>
                </a:lnTo>
                <a:lnTo>
                  <a:pt x="1189" y="206"/>
                </a:lnTo>
                <a:lnTo>
                  <a:pt x="1106" y="206"/>
                </a:lnTo>
                <a:lnTo>
                  <a:pt x="1106" y="397"/>
                </a:lnTo>
                <a:cubicBezTo>
                  <a:pt x="1106" y="430"/>
                  <a:pt x="1121" y="449"/>
                  <a:pt x="1157" y="449"/>
                </a:cubicBezTo>
                <a:cubicBezTo>
                  <a:pt x="1169" y="449"/>
                  <a:pt x="1175" y="448"/>
                  <a:pt x="1187" y="443"/>
                </a:cubicBezTo>
                <a:lnTo>
                  <a:pt x="1187" y="483"/>
                </a:lnTo>
                <a:close/>
                <a:moveTo>
                  <a:pt x="872" y="338"/>
                </a:moveTo>
                <a:cubicBezTo>
                  <a:pt x="833" y="338"/>
                  <a:pt x="770" y="355"/>
                  <a:pt x="770" y="404"/>
                </a:cubicBezTo>
                <a:cubicBezTo>
                  <a:pt x="770" y="430"/>
                  <a:pt x="788" y="449"/>
                  <a:pt x="814" y="449"/>
                </a:cubicBezTo>
                <a:cubicBezTo>
                  <a:pt x="844" y="449"/>
                  <a:pt x="874" y="429"/>
                  <a:pt x="886" y="401"/>
                </a:cubicBezTo>
                <a:cubicBezTo>
                  <a:pt x="897" y="378"/>
                  <a:pt x="898" y="364"/>
                  <a:pt x="898" y="338"/>
                </a:cubicBezTo>
                <a:lnTo>
                  <a:pt x="872" y="338"/>
                </a:lnTo>
                <a:close/>
                <a:moveTo>
                  <a:pt x="899" y="479"/>
                </a:moveTo>
                <a:lnTo>
                  <a:pt x="899" y="438"/>
                </a:lnTo>
                <a:lnTo>
                  <a:pt x="898" y="438"/>
                </a:lnTo>
                <a:cubicBezTo>
                  <a:pt x="881" y="471"/>
                  <a:pt x="837" y="486"/>
                  <a:pt x="803" y="486"/>
                </a:cubicBezTo>
                <a:cubicBezTo>
                  <a:pt x="749" y="486"/>
                  <a:pt x="719" y="452"/>
                  <a:pt x="719" y="400"/>
                </a:cubicBezTo>
                <a:cubicBezTo>
                  <a:pt x="719" y="330"/>
                  <a:pt x="800" y="301"/>
                  <a:pt x="898" y="301"/>
                </a:cubicBezTo>
                <a:lnTo>
                  <a:pt x="898" y="295"/>
                </a:lnTo>
                <a:cubicBezTo>
                  <a:pt x="898" y="248"/>
                  <a:pt x="901" y="199"/>
                  <a:pt x="839" y="199"/>
                </a:cubicBezTo>
                <a:cubicBezTo>
                  <a:pt x="802" y="199"/>
                  <a:pt x="781" y="211"/>
                  <a:pt x="776" y="248"/>
                </a:cubicBezTo>
                <a:lnTo>
                  <a:pt x="726" y="248"/>
                </a:lnTo>
                <a:cubicBezTo>
                  <a:pt x="728" y="186"/>
                  <a:pt x="782" y="161"/>
                  <a:pt x="838" y="161"/>
                </a:cubicBezTo>
                <a:cubicBezTo>
                  <a:pt x="908" y="161"/>
                  <a:pt x="942" y="191"/>
                  <a:pt x="942" y="261"/>
                </a:cubicBezTo>
                <a:lnTo>
                  <a:pt x="942" y="479"/>
                </a:lnTo>
                <a:lnTo>
                  <a:pt x="899" y="479"/>
                </a:lnTo>
                <a:close/>
                <a:moveTo>
                  <a:pt x="545" y="479"/>
                </a:moveTo>
                <a:lnTo>
                  <a:pt x="545" y="169"/>
                </a:lnTo>
                <a:lnTo>
                  <a:pt x="589" y="169"/>
                </a:lnTo>
                <a:lnTo>
                  <a:pt x="589" y="229"/>
                </a:lnTo>
                <a:lnTo>
                  <a:pt x="591" y="229"/>
                </a:lnTo>
                <a:cubicBezTo>
                  <a:pt x="610" y="184"/>
                  <a:pt x="645" y="161"/>
                  <a:pt x="694" y="161"/>
                </a:cubicBezTo>
                <a:lnTo>
                  <a:pt x="694" y="209"/>
                </a:lnTo>
                <a:cubicBezTo>
                  <a:pt x="614" y="209"/>
                  <a:pt x="589" y="283"/>
                  <a:pt x="589" y="351"/>
                </a:cubicBezTo>
                <a:lnTo>
                  <a:pt x="589" y="479"/>
                </a:lnTo>
                <a:lnTo>
                  <a:pt x="545" y="479"/>
                </a:lnTo>
                <a:close/>
                <a:moveTo>
                  <a:pt x="481" y="483"/>
                </a:moveTo>
                <a:cubicBezTo>
                  <a:pt x="468" y="485"/>
                  <a:pt x="455" y="486"/>
                  <a:pt x="442" y="486"/>
                </a:cubicBezTo>
                <a:cubicBezTo>
                  <a:pt x="383" y="486"/>
                  <a:pt x="356" y="467"/>
                  <a:pt x="356" y="406"/>
                </a:cubicBezTo>
                <a:lnTo>
                  <a:pt x="356" y="206"/>
                </a:lnTo>
                <a:lnTo>
                  <a:pt x="305" y="206"/>
                </a:lnTo>
                <a:lnTo>
                  <a:pt x="305" y="169"/>
                </a:lnTo>
                <a:lnTo>
                  <a:pt x="356" y="169"/>
                </a:lnTo>
                <a:lnTo>
                  <a:pt x="356" y="96"/>
                </a:lnTo>
                <a:lnTo>
                  <a:pt x="400" y="68"/>
                </a:lnTo>
                <a:lnTo>
                  <a:pt x="400" y="169"/>
                </a:lnTo>
                <a:lnTo>
                  <a:pt x="484" y="169"/>
                </a:lnTo>
                <a:lnTo>
                  <a:pt x="484" y="206"/>
                </a:lnTo>
                <a:lnTo>
                  <a:pt x="400" y="206"/>
                </a:lnTo>
                <a:lnTo>
                  <a:pt x="400" y="397"/>
                </a:lnTo>
                <a:cubicBezTo>
                  <a:pt x="400" y="430"/>
                  <a:pt x="415" y="449"/>
                  <a:pt x="451" y="449"/>
                </a:cubicBezTo>
                <a:cubicBezTo>
                  <a:pt x="463" y="449"/>
                  <a:pt x="470" y="448"/>
                  <a:pt x="481" y="443"/>
                </a:cubicBezTo>
                <a:lnTo>
                  <a:pt x="481" y="483"/>
                </a:lnTo>
                <a:close/>
              </a:path>
            </a:pathLst>
          </a:custGeom>
          <a:solidFill>
            <a:srgbClr val="0304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11345" y="1240610"/>
            <a:ext cx="1652822" cy="636380"/>
          </a:xfrm>
          <a:prstGeom prst="rect">
            <a:avLst/>
          </a:prstGeom>
        </p:spPr>
      </p:pic>
    </p:spTree>
    <p:extLst>
      <p:ext uri="{BB962C8B-B14F-4D97-AF65-F5344CB8AC3E}">
        <p14:creationId xmlns:p14="http://schemas.microsoft.com/office/powerpoint/2010/main" val="3024503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284163" y="333375"/>
            <a:ext cx="8402637" cy="5792788"/>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3"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38694235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71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37144320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81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405211942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2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a:off x="2" y="0"/>
            <a:ext cx="9143999" cy="6858000"/>
          </a:xfrm>
          <a:prstGeom prst="rect">
            <a:avLst/>
          </a:prstGeom>
          <a:solidFill>
            <a:srgbClr val="1F497D">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spTree>
    <p:extLst>
      <p:ext uri="{BB962C8B-B14F-4D97-AF65-F5344CB8AC3E}">
        <p14:creationId xmlns:p14="http://schemas.microsoft.com/office/powerpoint/2010/main" val="12351411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91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30215256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02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400197129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5" name="Espaço Reservado para Rodapé 4"/>
          <p:cNvSpPr>
            <a:spLocks noGrp="1"/>
          </p:cNvSpPr>
          <p:nvPr>
            <p:ph type="ftr" sz="quarter" idx="11"/>
          </p:nvPr>
        </p:nvSpPr>
        <p:spPr/>
        <p:txBody>
          <a:bodyPr/>
          <a:lstStyle/>
          <a:p>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32596498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idx="1"/>
          </p:nvPr>
        </p:nvSpPr>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5" name="Espaço Reservado para Rodapé 4"/>
          <p:cNvSpPr>
            <a:spLocks noGrp="1"/>
          </p:cNvSpPr>
          <p:nvPr>
            <p:ph type="ftr" sz="quarter" idx="11"/>
          </p:nvPr>
        </p:nvSpPr>
        <p:spPr/>
        <p:txBody>
          <a:bodyPr/>
          <a:lstStyle/>
          <a:p>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24365875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 texto mestre</a:t>
            </a:r>
          </a:p>
        </p:txBody>
      </p:sp>
      <p:sp>
        <p:nvSpPr>
          <p:cNvPr id="4" name="Espaço Reservado para Data 3"/>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5" name="Espaço Reservado para Rodapé 4"/>
          <p:cNvSpPr>
            <a:spLocks noGrp="1"/>
          </p:cNvSpPr>
          <p:nvPr>
            <p:ph type="ftr" sz="quarter" idx="11"/>
          </p:nvPr>
        </p:nvSpPr>
        <p:spPr/>
        <p:txBody>
          <a:bodyPr/>
          <a:lstStyle/>
          <a:p>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63390412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6" name="Espaço Reservado para Rodapé 5"/>
          <p:cNvSpPr>
            <a:spLocks noGrp="1"/>
          </p:cNvSpPr>
          <p:nvPr>
            <p:ph type="ftr" sz="quarter" idx="11"/>
          </p:nvPr>
        </p:nvSpPr>
        <p:spPr/>
        <p:txBody>
          <a:bodyPr/>
          <a:lstStyle/>
          <a:p>
            <a:endParaRPr lang="pt-BR">
              <a:solidFill>
                <a:prstClr val="black">
                  <a:tint val="75000"/>
                </a:prstClr>
              </a:solidFill>
            </a:endParaRPr>
          </a:p>
        </p:txBody>
      </p:sp>
      <p:sp>
        <p:nvSpPr>
          <p:cNvPr id="7" name="Espaço Reservado para Número de Slide 6"/>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32142172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8" name="Espaço Reservado para Rodapé 7"/>
          <p:cNvSpPr>
            <a:spLocks noGrp="1"/>
          </p:cNvSpPr>
          <p:nvPr>
            <p:ph type="ftr" sz="quarter" idx="11"/>
          </p:nvPr>
        </p:nvSpPr>
        <p:spPr/>
        <p:txBody>
          <a:bodyPr/>
          <a:lstStyle/>
          <a:p>
            <a:endParaRPr lang="pt-BR">
              <a:solidFill>
                <a:prstClr val="black">
                  <a:tint val="75000"/>
                </a:prstClr>
              </a:solidFill>
            </a:endParaRPr>
          </a:p>
        </p:txBody>
      </p:sp>
      <p:sp>
        <p:nvSpPr>
          <p:cNvPr id="9" name="Espaço Reservado para Número de Slide 8"/>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27588066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230832"/>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
        <p:nvSpPr>
          <p:cNvPr id="6"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54732404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Data 2"/>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4" name="Espaço Reservado para Rodapé 3"/>
          <p:cNvSpPr>
            <a:spLocks noGrp="1"/>
          </p:cNvSpPr>
          <p:nvPr>
            <p:ph type="ftr" sz="quarter" idx="11"/>
          </p:nvPr>
        </p:nvSpPr>
        <p:spPr/>
        <p:txBody>
          <a:bodyPr/>
          <a:lstStyle/>
          <a:p>
            <a:endParaRPr lang="pt-BR">
              <a:solidFill>
                <a:prstClr val="black">
                  <a:tint val="75000"/>
                </a:prstClr>
              </a:solidFill>
            </a:endParaRPr>
          </a:p>
        </p:txBody>
      </p:sp>
      <p:sp>
        <p:nvSpPr>
          <p:cNvPr id="5" name="Espaço Reservado para Número de Slide 4"/>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8114757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3" name="Espaço Reservado para Rodapé 2"/>
          <p:cNvSpPr>
            <a:spLocks noGrp="1"/>
          </p:cNvSpPr>
          <p:nvPr>
            <p:ph type="ftr" sz="quarter" idx="11"/>
          </p:nvPr>
        </p:nvSpPr>
        <p:spPr/>
        <p:txBody>
          <a:bodyPr/>
          <a:lstStyle/>
          <a:p>
            <a:endParaRPr lang="pt-BR">
              <a:solidFill>
                <a:prstClr val="black">
                  <a:tint val="75000"/>
                </a:prstClr>
              </a:solidFill>
            </a:endParaRPr>
          </a:p>
        </p:txBody>
      </p:sp>
      <p:sp>
        <p:nvSpPr>
          <p:cNvPr id="4" name="Espaço Reservado para Número de Slide 3"/>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407220060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Espaço Reservado para Data 4"/>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6" name="Espaço Reservado para Rodapé 5"/>
          <p:cNvSpPr>
            <a:spLocks noGrp="1"/>
          </p:cNvSpPr>
          <p:nvPr>
            <p:ph type="ftr" sz="quarter" idx="11"/>
          </p:nvPr>
        </p:nvSpPr>
        <p:spPr/>
        <p:txBody>
          <a:bodyPr/>
          <a:lstStyle/>
          <a:p>
            <a:endParaRPr lang="pt-BR">
              <a:solidFill>
                <a:prstClr val="black">
                  <a:tint val="75000"/>
                </a:prstClr>
              </a:solidFill>
            </a:endParaRPr>
          </a:p>
        </p:txBody>
      </p:sp>
      <p:sp>
        <p:nvSpPr>
          <p:cNvPr id="7" name="Espaço Reservado para Número de Slide 6"/>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44055144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Espaço Reservado para Data 4"/>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6" name="Espaço Reservado para Rodapé 5"/>
          <p:cNvSpPr>
            <a:spLocks noGrp="1"/>
          </p:cNvSpPr>
          <p:nvPr>
            <p:ph type="ftr" sz="quarter" idx="11"/>
          </p:nvPr>
        </p:nvSpPr>
        <p:spPr/>
        <p:txBody>
          <a:bodyPr/>
          <a:lstStyle/>
          <a:p>
            <a:endParaRPr lang="pt-BR">
              <a:solidFill>
                <a:prstClr val="black">
                  <a:tint val="75000"/>
                </a:prstClr>
              </a:solidFill>
            </a:endParaRPr>
          </a:p>
        </p:txBody>
      </p:sp>
      <p:sp>
        <p:nvSpPr>
          <p:cNvPr id="7" name="Espaço Reservado para Número de Slide 6"/>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223833937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5" name="Espaço Reservado para Rodapé 4"/>
          <p:cNvSpPr>
            <a:spLocks noGrp="1"/>
          </p:cNvSpPr>
          <p:nvPr>
            <p:ph type="ftr" sz="quarter" idx="11"/>
          </p:nvPr>
        </p:nvSpPr>
        <p:spPr/>
        <p:txBody>
          <a:bodyPr/>
          <a:lstStyle/>
          <a:p>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40157986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5" name="Espaço Reservado para Rodapé 4"/>
          <p:cNvSpPr>
            <a:spLocks noGrp="1"/>
          </p:cNvSpPr>
          <p:nvPr>
            <p:ph type="ftr" sz="quarter" idx="11"/>
          </p:nvPr>
        </p:nvSpPr>
        <p:spPr/>
        <p:txBody>
          <a:bodyPr/>
          <a:lstStyle/>
          <a:p>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34752931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pic>
        <p:nvPicPr>
          <p:cNvPr id="4" name="Picture 5" descr="capa.jpg"/>
          <p:cNvPicPr>
            <a:picLocks noChangeAspect="1"/>
          </p:cNvPicPr>
          <p:nvPr userDrawn="1"/>
        </p:nvPicPr>
        <p:blipFill>
          <a:blip r:embed="rId2" cstate="print"/>
          <a:srcRect/>
          <a:stretch>
            <a:fillRect/>
          </a:stretch>
        </p:blipFill>
        <p:spPr bwMode="auto">
          <a:xfrm>
            <a:off x="3048" y="0"/>
            <a:ext cx="9144000" cy="6858000"/>
          </a:xfrm>
          <a:prstGeom prst="rect">
            <a:avLst/>
          </a:prstGeom>
          <a:noFill/>
          <a:ln w="9525">
            <a:noFill/>
            <a:miter lim="800000"/>
            <a:headEnd/>
            <a:tailEnd/>
          </a:ln>
        </p:spPr>
      </p:pic>
    </p:spTree>
    <p:extLst>
      <p:ext uri="{BB962C8B-B14F-4D97-AF65-F5344CB8AC3E}">
        <p14:creationId xmlns:p14="http://schemas.microsoft.com/office/powerpoint/2010/main" val="130215732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284164" y="838202"/>
            <a:ext cx="8402637" cy="5287963"/>
          </a:xfrm>
          <a:prstGeom prst="rect">
            <a:avLst/>
          </a:prstGeom>
        </p:spPr>
        <p:txBody>
          <a:bodyPr/>
          <a:lstStyle>
            <a:lvl1pPr algn="just">
              <a:spcBef>
                <a:spcPts val="600"/>
              </a:spcBef>
              <a:spcAft>
                <a:spcPts val="600"/>
              </a:spcAft>
              <a:defRPr sz="2000" b="1">
                <a:latin typeface="+mj-lt"/>
              </a:defRPr>
            </a:lvl1pPr>
            <a:lvl2pPr algn="just">
              <a:spcBef>
                <a:spcPts val="600"/>
              </a:spcBef>
              <a:spcAft>
                <a:spcPts val="600"/>
              </a:spcAft>
              <a:defRPr sz="1800" b="1">
                <a:latin typeface="+mj-lt"/>
              </a:defRPr>
            </a:lvl2pPr>
            <a:lvl3pPr algn="just">
              <a:spcBef>
                <a:spcPts val="600"/>
              </a:spcBef>
              <a:spcAft>
                <a:spcPts val="600"/>
              </a:spcAft>
              <a:defRPr sz="1600" b="1">
                <a:latin typeface="+mj-lt"/>
              </a:defRPr>
            </a:lvl3pPr>
            <a:lvl4pPr algn="just">
              <a:spcBef>
                <a:spcPts val="600"/>
              </a:spcBef>
              <a:spcAft>
                <a:spcPts val="600"/>
              </a:spcAft>
              <a:defRPr sz="1400" b="1">
                <a:latin typeface="+mj-lt"/>
              </a:defRPr>
            </a:lvl4pPr>
            <a:lvl5pPr algn="just">
              <a:spcBef>
                <a:spcPts val="600"/>
              </a:spcBef>
              <a:spcAft>
                <a:spcPts val="600"/>
              </a:spcAft>
              <a:defRPr sz="1200" b="1">
                <a:latin typeface="+mj-lt"/>
              </a:defRPr>
            </a:lvl5pPr>
          </a:lstStyle>
          <a:p>
            <a:pPr lvl="0"/>
            <a:r>
              <a:rPr lang="pt-BR" dirty="0" smtClean="0"/>
              <a:t>Clique para editar os estilos d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5" name="Rectangle 2"/>
          <p:cNvSpPr>
            <a:spLocks/>
          </p:cNvSpPr>
          <p:nvPr userDrawn="1"/>
        </p:nvSpPr>
        <p:spPr bwMode="auto">
          <a:xfrm>
            <a:off x="0" y="4920"/>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b="1" dirty="0">
              <a:solidFill>
                <a:srgbClr val="1F497D"/>
              </a:solidFill>
              <a:latin typeface="Trebuchet MS"/>
            </a:endParaRPr>
          </a:p>
        </p:txBody>
      </p:sp>
      <p:sp>
        <p:nvSpPr>
          <p:cNvPr id="6" name="Título 1"/>
          <p:cNvSpPr>
            <a:spLocks noGrp="1"/>
          </p:cNvSpPr>
          <p:nvPr>
            <p:ph type="title"/>
          </p:nvPr>
        </p:nvSpPr>
        <p:spPr>
          <a:xfrm>
            <a:off x="284162" y="101756"/>
            <a:ext cx="8402637" cy="379413"/>
          </a:xfrm>
          <a:prstGeom prst="rect">
            <a:avLst/>
          </a:prstGeom>
        </p:spPr>
        <p:txBody>
          <a:bodyPr/>
          <a:lstStyle>
            <a:lvl1pPr>
              <a:defRPr sz="2400"/>
            </a:lvl1pPr>
          </a:lstStyle>
          <a:p>
            <a:r>
              <a:rPr lang="pt-BR" dirty="0" smtClean="0"/>
              <a:t>Clique para editar o estilo do título mestre</a:t>
            </a:r>
            <a:endParaRPr lang="pt-BR" dirty="0"/>
          </a:p>
        </p:txBody>
      </p:sp>
      <p:sp>
        <p:nvSpPr>
          <p:cNvPr id="7"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2198227522"/>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3" name="Rectangle 2"/>
          <p:cNvSpPr>
            <a:spLocks/>
          </p:cNvSpPr>
          <p:nvPr userDrawn="1"/>
        </p:nvSpPr>
        <p:spPr bwMode="auto">
          <a:xfrm>
            <a:off x="0" y="4920"/>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b="1" dirty="0">
              <a:solidFill>
                <a:srgbClr val="1F497D"/>
              </a:solidFill>
              <a:latin typeface="Trebuchet MS"/>
            </a:endParaRPr>
          </a:p>
        </p:txBody>
      </p:sp>
      <p:sp>
        <p:nvSpPr>
          <p:cNvPr id="4" name="Título 1"/>
          <p:cNvSpPr>
            <a:spLocks noGrp="1"/>
          </p:cNvSpPr>
          <p:nvPr>
            <p:ph type="title"/>
          </p:nvPr>
        </p:nvSpPr>
        <p:spPr>
          <a:xfrm>
            <a:off x="284162" y="101756"/>
            <a:ext cx="8402637" cy="379413"/>
          </a:xfrm>
          <a:prstGeom prst="rect">
            <a:avLst/>
          </a:prstGeom>
        </p:spPr>
        <p:txBody>
          <a:bodyPr/>
          <a:lstStyle>
            <a:lvl1pPr>
              <a:defRPr sz="2400"/>
            </a:lvl1pPr>
          </a:lstStyle>
          <a:p>
            <a:r>
              <a:rPr lang="pt-BR" dirty="0" smtClean="0"/>
              <a:t>Clique para editar o estilo do título mestre</a:t>
            </a:r>
            <a:endParaRPr lang="pt-BR" dirty="0"/>
          </a:p>
        </p:txBody>
      </p:sp>
      <p:sp>
        <p:nvSpPr>
          <p:cNvPr id="5"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3433190307"/>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284164" y="838202"/>
            <a:ext cx="8402637" cy="5287963"/>
          </a:xfrm>
          <a:prstGeom prst="rect">
            <a:avLst/>
          </a:prstGeom>
        </p:spPr>
        <p:txBody>
          <a:bodyPr/>
          <a:lstStyle>
            <a:lvl1pPr algn="just">
              <a:spcBef>
                <a:spcPts val="600"/>
              </a:spcBef>
              <a:spcAft>
                <a:spcPts val="600"/>
              </a:spcAft>
              <a:defRPr sz="2000" b="1">
                <a:latin typeface="+mj-lt"/>
              </a:defRPr>
            </a:lvl1pPr>
            <a:lvl2pPr algn="just">
              <a:spcBef>
                <a:spcPts val="600"/>
              </a:spcBef>
              <a:spcAft>
                <a:spcPts val="600"/>
              </a:spcAft>
              <a:defRPr sz="1800" b="1">
                <a:latin typeface="+mj-lt"/>
              </a:defRPr>
            </a:lvl2pPr>
            <a:lvl3pPr algn="just">
              <a:spcBef>
                <a:spcPts val="600"/>
              </a:spcBef>
              <a:spcAft>
                <a:spcPts val="600"/>
              </a:spcAft>
              <a:defRPr sz="1600" b="1">
                <a:latin typeface="+mj-lt"/>
              </a:defRPr>
            </a:lvl3pPr>
            <a:lvl4pPr algn="just">
              <a:spcBef>
                <a:spcPts val="600"/>
              </a:spcBef>
              <a:spcAft>
                <a:spcPts val="600"/>
              </a:spcAft>
              <a:defRPr sz="1400" b="1">
                <a:latin typeface="+mj-lt"/>
              </a:defRPr>
            </a:lvl4pPr>
            <a:lvl5pPr algn="just">
              <a:spcBef>
                <a:spcPts val="600"/>
              </a:spcBef>
              <a:spcAft>
                <a:spcPts val="600"/>
              </a:spcAft>
              <a:defRPr sz="1200" b="1">
                <a:latin typeface="+mj-lt"/>
              </a:defRPr>
            </a:lvl5pPr>
          </a:lstStyle>
          <a:p>
            <a:pPr lvl="0"/>
            <a:r>
              <a:rPr lang="pt-BR" dirty="0" smtClean="0"/>
              <a:t>Clique para editar os estilos d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4"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144172960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extLst>
      <p:ext uri="{BB962C8B-B14F-4D97-AF65-F5344CB8AC3E}">
        <p14:creationId xmlns:p14="http://schemas.microsoft.com/office/powerpoint/2010/main" val="22376682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18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2000" b="1">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dirty="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dirty="0" smtClean="0"/>
              <a:t>Clique para editar os estilos do texto mestre</a:t>
            </a:r>
          </a:p>
        </p:txBody>
      </p:sp>
      <p:sp>
        <p:nvSpPr>
          <p:cNvPr id="5"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2392110139"/>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3" name="Espaço Reservado para Conteúdo 2"/>
          <p:cNvSpPr>
            <a:spLocks noGrp="1"/>
          </p:cNvSpPr>
          <p:nvPr>
            <p:ph sz="half" idx="1"/>
          </p:nvPr>
        </p:nvSpPr>
        <p:spPr>
          <a:xfrm>
            <a:off x="284162" y="674841"/>
            <a:ext cx="3867150" cy="5502122"/>
          </a:xfrm>
          <a:prstGeom prst="rect">
            <a:avLst/>
          </a:prstGeom>
        </p:spPr>
        <p:txBody>
          <a:bodyPr/>
          <a:lstStyle>
            <a:lvl1pPr>
              <a:defRPr sz="1600">
                <a:latin typeface="+mj-lt"/>
              </a:defRPr>
            </a:lvl1pPr>
            <a:lvl2pPr>
              <a:defRPr sz="1400">
                <a:latin typeface="+mj-lt"/>
              </a:defRPr>
            </a:lvl2pPr>
            <a:lvl3pPr>
              <a:defRPr sz="1200">
                <a:latin typeface="+mj-lt"/>
              </a:defRPr>
            </a:lvl3pPr>
            <a:lvl4pPr>
              <a:defRPr sz="1100">
                <a:latin typeface="+mj-lt"/>
              </a:defRPr>
            </a:lvl4pPr>
            <a:lvl5pPr>
              <a:defRPr sz="1100">
                <a:latin typeface="+mj-lt"/>
              </a:defRPr>
            </a:lvl5pPr>
          </a:lstStyle>
          <a:p>
            <a:pPr lvl="0"/>
            <a:r>
              <a:rPr lang="pt-BR" dirty="0" smtClean="0"/>
              <a:t>Clique para editar 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4" name="Espaço Reservado para Conteúdo 3"/>
          <p:cNvSpPr>
            <a:spLocks noGrp="1"/>
          </p:cNvSpPr>
          <p:nvPr>
            <p:ph sz="half" idx="2"/>
          </p:nvPr>
        </p:nvSpPr>
        <p:spPr>
          <a:xfrm>
            <a:off x="4343400" y="674841"/>
            <a:ext cx="4343399" cy="5502122"/>
          </a:xfrm>
          <a:prstGeom prst="rect">
            <a:avLst/>
          </a:prstGeom>
        </p:spPr>
        <p:txBody>
          <a:bodyPr/>
          <a:lstStyle>
            <a:lvl1pPr>
              <a:defRPr sz="1600">
                <a:latin typeface="+mj-lt"/>
              </a:defRPr>
            </a:lvl1pPr>
            <a:lvl2pPr>
              <a:defRPr sz="1400">
                <a:latin typeface="+mj-lt"/>
              </a:defRPr>
            </a:lvl2pPr>
            <a:lvl3pPr>
              <a:defRPr sz="1200">
                <a:latin typeface="+mj-lt"/>
              </a:defRPr>
            </a:lvl3pPr>
            <a:lvl4pPr>
              <a:defRPr sz="1100">
                <a:latin typeface="+mj-lt"/>
              </a:defRPr>
            </a:lvl4pPr>
            <a:lvl5pPr>
              <a:defRPr sz="1100">
                <a:latin typeface="+mj-lt"/>
              </a:defRPr>
            </a:lvl5pPr>
          </a:lstStyle>
          <a:p>
            <a:pPr lvl="0"/>
            <a:r>
              <a:rPr lang="pt-BR" dirty="0" smtClean="0"/>
              <a:t>Clique para editar 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12" name="Rectangle 2"/>
          <p:cNvSpPr>
            <a:spLocks/>
          </p:cNvSpPr>
          <p:nvPr userDrawn="1"/>
        </p:nvSpPr>
        <p:spPr bwMode="auto">
          <a:xfrm>
            <a:off x="0" y="4920"/>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b="1" dirty="0">
              <a:solidFill>
                <a:srgbClr val="1F497D"/>
              </a:solidFill>
              <a:latin typeface="Trebuchet MS"/>
            </a:endParaRPr>
          </a:p>
        </p:txBody>
      </p:sp>
      <p:sp>
        <p:nvSpPr>
          <p:cNvPr id="13" name="Título 1"/>
          <p:cNvSpPr>
            <a:spLocks noGrp="1"/>
          </p:cNvSpPr>
          <p:nvPr>
            <p:ph type="title"/>
          </p:nvPr>
        </p:nvSpPr>
        <p:spPr>
          <a:xfrm>
            <a:off x="284162" y="101756"/>
            <a:ext cx="8402637" cy="379413"/>
          </a:xfrm>
          <a:prstGeom prst="rect">
            <a:avLst/>
          </a:prstGeom>
        </p:spPr>
        <p:txBody>
          <a:bodyPr/>
          <a:lstStyle>
            <a:lvl1pPr>
              <a:defRPr sz="2400"/>
            </a:lvl1pPr>
          </a:lstStyle>
          <a:p>
            <a:r>
              <a:rPr lang="pt-BR" dirty="0" smtClean="0"/>
              <a:t>Clique para editar o estilo do título mestre</a:t>
            </a:r>
            <a:endParaRPr lang="pt-BR" dirty="0"/>
          </a:p>
        </p:txBody>
      </p:sp>
      <p:sp>
        <p:nvSpPr>
          <p:cNvPr id="6"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1925831577"/>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103545283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a:xfrm>
            <a:off x="457200" y="1600200"/>
            <a:ext cx="82296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131601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extLst>
      <p:ext uri="{BB962C8B-B14F-4D97-AF65-F5344CB8AC3E}">
        <p14:creationId xmlns:p14="http://schemas.microsoft.com/office/powerpoint/2010/main" val="25943364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1964046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25351971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Tree>
    <p:extLst>
      <p:ext uri="{BB962C8B-B14F-4D97-AF65-F5344CB8AC3E}">
        <p14:creationId xmlns:p14="http://schemas.microsoft.com/office/powerpoint/2010/main" val="2658333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98137A4-986C-44B7-BC96-9776515981F1}" type="slidenum">
              <a:rPr lang="pt-BR" smtClean="0"/>
              <a:pPr/>
              <a:t>‹nº›</a:t>
            </a:fld>
            <a:endParaRPr lang="pt-B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4703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41270885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34502202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6551363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86538" y="333375"/>
            <a:ext cx="2100262" cy="5792788"/>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284163" y="333375"/>
            <a:ext cx="6149975" cy="5792788"/>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555271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284163" y="333375"/>
            <a:ext cx="8402637" cy="5792788"/>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10378767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extLst>
      <p:ext uri="{BB962C8B-B14F-4D97-AF65-F5344CB8AC3E}">
        <p14:creationId xmlns:p14="http://schemas.microsoft.com/office/powerpoint/2010/main" val="9900678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a:xfrm>
            <a:off x="457200" y="1600200"/>
            <a:ext cx="82296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2358565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extLst>
      <p:ext uri="{BB962C8B-B14F-4D97-AF65-F5344CB8AC3E}">
        <p14:creationId xmlns:p14="http://schemas.microsoft.com/office/powerpoint/2010/main" val="36014845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1989313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298137A4-986C-44B7-BC96-9776515981F1}" type="slidenum">
              <a:rPr lang="pt-BR" smtClean="0"/>
              <a:pPr/>
              <a:t>‹nº›</a:t>
            </a:fld>
            <a:endParaRPr lang="pt-B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36136434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Tree>
    <p:extLst>
      <p:ext uri="{BB962C8B-B14F-4D97-AF65-F5344CB8AC3E}">
        <p14:creationId xmlns:p14="http://schemas.microsoft.com/office/powerpoint/2010/main" val="32961616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7765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25773534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12345784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7529824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86538" y="333375"/>
            <a:ext cx="2100262" cy="5792788"/>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284163" y="333375"/>
            <a:ext cx="6149975" cy="5792788"/>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27798993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284163" y="333375"/>
            <a:ext cx="8402637" cy="5792788"/>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28187230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extLst>
      <p:ext uri="{BB962C8B-B14F-4D97-AF65-F5344CB8AC3E}">
        <p14:creationId xmlns:p14="http://schemas.microsoft.com/office/powerpoint/2010/main" val="24112978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a:xfrm>
            <a:off x="457200" y="1600200"/>
            <a:ext cx="82296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41248294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298137A4-986C-44B7-BC96-9776515981F1}" type="slidenum">
              <a:rPr lang="pt-BR" smtClean="0"/>
              <a:pPr/>
              <a:t>‹nº›</a:t>
            </a:fld>
            <a:endParaRPr lang="pt-B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extLst>
      <p:ext uri="{BB962C8B-B14F-4D97-AF65-F5344CB8AC3E}">
        <p14:creationId xmlns:p14="http://schemas.microsoft.com/office/powerpoint/2010/main" val="36051748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30893983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38135409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Tree>
    <p:extLst>
      <p:ext uri="{BB962C8B-B14F-4D97-AF65-F5344CB8AC3E}">
        <p14:creationId xmlns:p14="http://schemas.microsoft.com/office/powerpoint/2010/main" val="3998368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86995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13695303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35591919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30743410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86538" y="333375"/>
            <a:ext cx="2100262" cy="5792788"/>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284163" y="333375"/>
            <a:ext cx="6149975" cy="5792788"/>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1066334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284163" y="333375"/>
            <a:ext cx="8402637" cy="5792788"/>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12291225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298137A4-986C-44B7-BC96-9776515981F1}" type="slidenum">
              <a:rPr lang="pt-BR" smtClean="0"/>
              <a:pPr/>
              <a:t>‹nº›</a:t>
            </a:fld>
            <a:endParaRPr lang="pt-B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extLst>
      <p:ext uri="{BB962C8B-B14F-4D97-AF65-F5344CB8AC3E}">
        <p14:creationId xmlns:p14="http://schemas.microsoft.com/office/powerpoint/2010/main" val="20626376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a:xfrm>
            <a:off x="457200" y="1600200"/>
            <a:ext cx="82296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23290980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extLst>
      <p:ext uri="{BB962C8B-B14F-4D97-AF65-F5344CB8AC3E}">
        <p14:creationId xmlns:p14="http://schemas.microsoft.com/office/powerpoint/2010/main" val="4618695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36351787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42093117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Tree>
    <p:extLst>
      <p:ext uri="{BB962C8B-B14F-4D97-AF65-F5344CB8AC3E}">
        <p14:creationId xmlns:p14="http://schemas.microsoft.com/office/powerpoint/2010/main" val="104478987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24033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12075460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33540632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139980450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298137A4-986C-44B7-BC96-9776515981F1}" type="slidenum">
              <a:rPr lang="pt-BR" smtClean="0"/>
              <a:pPr/>
              <a:t>‹nº›</a:t>
            </a:fld>
            <a:endParaRPr lang="pt-B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86538" y="333375"/>
            <a:ext cx="2100262" cy="5792788"/>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284163" y="333375"/>
            <a:ext cx="6149975" cy="5792788"/>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346964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284163" y="333375"/>
            <a:ext cx="8402637" cy="5792788"/>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8061936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Tree>
    <p:extLst>
      <p:ext uri="{BB962C8B-B14F-4D97-AF65-F5344CB8AC3E}">
        <p14:creationId xmlns:p14="http://schemas.microsoft.com/office/powerpoint/2010/main" val="373014366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a:xfrm>
            <a:off x="457200" y="1600200"/>
            <a:ext cx="82296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3699555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extLst>
      <p:ext uri="{BB962C8B-B14F-4D97-AF65-F5344CB8AC3E}">
        <p14:creationId xmlns:p14="http://schemas.microsoft.com/office/powerpoint/2010/main" val="4955038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9249208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8330432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Tree>
    <p:extLst>
      <p:ext uri="{BB962C8B-B14F-4D97-AF65-F5344CB8AC3E}">
        <p14:creationId xmlns:p14="http://schemas.microsoft.com/office/powerpoint/2010/main" val="40417191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5813497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23019835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endParaRPr lang="pt-BR"/>
          </a:p>
        </p:txBody>
      </p:sp>
      <p:sp>
        <p:nvSpPr>
          <p:cNvPr id="3" name="Espaço Reservado para Rodapé 2"/>
          <p:cNvSpPr>
            <a:spLocks noGrp="1"/>
          </p:cNvSpPr>
          <p:nvPr>
            <p:ph type="ftr" sz="quarter" idx="11"/>
          </p:nvPr>
        </p:nvSpPr>
        <p:spPr/>
        <p:txBody>
          <a:bodyPr/>
          <a:lstStyle/>
          <a:p>
            <a:endParaRPr lang="pt-BR"/>
          </a:p>
        </p:txBody>
      </p:sp>
      <p:sp>
        <p:nvSpPr>
          <p:cNvPr id="5"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extLst>
      <p:ext uri="{BB962C8B-B14F-4D97-AF65-F5344CB8AC3E}">
        <p14:creationId xmlns:p14="http://schemas.microsoft.com/office/powerpoint/2010/main" val="25819413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16170931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86538" y="333375"/>
            <a:ext cx="2100262" cy="5792788"/>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284163" y="333375"/>
            <a:ext cx="6149975" cy="5792788"/>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9778576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284163" y="333375"/>
            <a:ext cx="8402637" cy="5792788"/>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980235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AndTwoObj" preserve="1">
  <p:cSld name="Título, conteúdo e 2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284163" y="333375"/>
            <a:ext cx="6192837" cy="379413"/>
          </a:xfrm>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quarter" idx="2"/>
          </p:nvPr>
        </p:nvSpPr>
        <p:spPr>
          <a:xfrm>
            <a:off x="4648200" y="1600200"/>
            <a:ext cx="4038600" cy="2185988"/>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Conteúdo 4"/>
          <p:cNvSpPr>
            <a:spLocks noGrp="1"/>
          </p:cNvSpPr>
          <p:nvPr>
            <p:ph sz="quarter" idx="3"/>
          </p:nvPr>
        </p:nvSpPr>
        <p:spPr>
          <a:xfrm>
            <a:off x="4648200" y="3938588"/>
            <a:ext cx="4038600" cy="2187575"/>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extLst>
      <p:ext uri="{BB962C8B-B14F-4D97-AF65-F5344CB8AC3E}">
        <p14:creationId xmlns:p14="http://schemas.microsoft.com/office/powerpoint/2010/main" val="20934010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pic>
        <p:nvPicPr>
          <p:cNvPr id="4" name="Picture 5" descr="capa.jpg"/>
          <p:cNvPicPr>
            <a:picLocks noChangeAspect="1"/>
          </p:cNvPicPr>
          <p:nvPr userDrawn="1"/>
        </p:nvPicPr>
        <p:blipFill>
          <a:blip r:embed="rId2" cstate="print"/>
          <a:srcRect/>
          <a:stretch>
            <a:fillRect/>
          </a:stretch>
        </p:blipFill>
        <p:spPr bwMode="auto">
          <a:xfrm>
            <a:off x="3048" y="0"/>
            <a:ext cx="9144000" cy="6858000"/>
          </a:xfrm>
          <a:prstGeom prst="rect">
            <a:avLst/>
          </a:prstGeom>
          <a:noFill/>
          <a:ln w="9525">
            <a:noFill/>
            <a:miter lim="800000"/>
            <a:headEnd/>
            <a:tailEnd/>
          </a:ln>
        </p:spPr>
      </p:pic>
    </p:spTree>
    <p:extLst>
      <p:ext uri="{BB962C8B-B14F-4D97-AF65-F5344CB8AC3E}">
        <p14:creationId xmlns:p14="http://schemas.microsoft.com/office/powerpoint/2010/main" val="5418447"/>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284164" y="838202"/>
            <a:ext cx="8402637" cy="5287963"/>
          </a:xfrm>
          <a:prstGeom prst="rect">
            <a:avLst/>
          </a:prstGeom>
        </p:spPr>
        <p:txBody>
          <a:bodyPr/>
          <a:lstStyle>
            <a:lvl1pPr algn="just">
              <a:spcBef>
                <a:spcPts val="600"/>
              </a:spcBef>
              <a:spcAft>
                <a:spcPts val="600"/>
              </a:spcAft>
              <a:defRPr sz="2000" b="1">
                <a:latin typeface="+mj-lt"/>
              </a:defRPr>
            </a:lvl1pPr>
            <a:lvl2pPr algn="just">
              <a:spcBef>
                <a:spcPts val="600"/>
              </a:spcBef>
              <a:spcAft>
                <a:spcPts val="600"/>
              </a:spcAft>
              <a:defRPr sz="1800" b="1">
                <a:latin typeface="+mj-lt"/>
              </a:defRPr>
            </a:lvl2pPr>
            <a:lvl3pPr algn="just">
              <a:spcBef>
                <a:spcPts val="600"/>
              </a:spcBef>
              <a:spcAft>
                <a:spcPts val="600"/>
              </a:spcAft>
              <a:defRPr sz="1600" b="1">
                <a:latin typeface="+mj-lt"/>
              </a:defRPr>
            </a:lvl3pPr>
            <a:lvl4pPr algn="just">
              <a:spcBef>
                <a:spcPts val="600"/>
              </a:spcBef>
              <a:spcAft>
                <a:spcPts val="600"/>
              </a:spcAft>
              <a:defRPr sz="1400" b="1">
                <a:latin typeface="+mj-lt"/>
              </a:defRPr>
            </a:lvl4pPr>
            <a:lvl5pPr algn="just">
              <a:spcBef>
                <a:spcPts val="600"/>
              </a:spcBef>
              <a:spcAft>
                <a:spcPts val="600"/>
              </a:spcAft>
              <a:defRPr sz="1200" b="1">
                <a:latin typeface="+mj-lt"/>
              </a:defRPr>
            </a:lvl5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dirty="0"/>
          </a:p>
        </p:txBody>
      </p:sp>
      <p:sp>
        <p:nvSpPr>
          <p:cNvPr id="5" name="Rectangle 2"/>
          <p:cNvSpPr>
            <a:spLocks/>
          </p:cNvSpPr>
          <p:nvPr userDrawn="1"/>
        </p:nvSpPr>
        <p:spPr bwMode="auto">
          <a:xfrm>
            <a:off x="0" y="4920"/>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b="1" dirty="0">
              <a:solidFill>
                <a:srgbClr val="1F497D"/>
              </a:solidFill>
              <a:latin typeface="Trebuchet MS"/>
            </a:endParaRPr>
          </a:p>
        </p:txBody>
      </p:sp>
      <p:sp>
        <p:nvSpPr>
          <p:cNvPr id="6" name="Título 1"/>
          <p:cNvSpPr>
            <a:spLocks noGrp="1"/>
          </p:cNvSpPr>
          <p:nvPr>
            <p:ph type="title"/>
          </p:nvPr>
        </p:nvSpPr>
        <p:spPr>
          <a:xfrm>
            <a:off x="284162" y="101756"/>
            <a:ext cx="8402637" cy="379413"/>
          </a:xfrm>
          <a:prstGeom prst="rect">
            <a:avLst/>
          </a:prstGeom>
        </p:spPr>
        <p:txBody>
          <a:bodyPr/>
          <a:lstStyle>
            <a:lvl1pPr>
              <a:defRPr sz="2400"/>
            </a:lvl1pPr>
          </a:lstStyle>
          <a:p>
            <a:r>
              <a:rPr lang="pt-BR" smtClean="0"/>
              <a:t>Clique para editar o título mestre</a:t>
            </a:r>
            <a:endParaRPr lang="pt-BR" dirty="0"/>
          </a:p>
        </p:txBody>
      </p:sp>
      <p:sp>
        <p:nvSpPr>
          <p:cNvPr id="7"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421174249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3" name="Rectangle 2"/>
          <p:cNvSpPr>
            <a:spLocks/>
          </p:cNvSpPr>
          <p:nvPr userDrawn="1"/>
        </p:nvSpPr>
        <p:spPr bwMode="auto">
          <a:xfrm>
            <a:off x="0" y="4920"/>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b="1" dirty="0">
              <a:solidFill>
                <a:srgbClr val="1F497D"/>
              </a:solidFill>
              <a:latin typeface="Trebuchet MS"/>
            </a:endParaRPr>
          </a:p>
        </p:txBody>
      </p:sp>
      <p:sp>
        <p:nvSpPr>
          <p:cNvPr id="4" name="Título 1"/>
          <p:cNvSpPr>
            <a:spLocks noGrp="1"/>
          </p:cNvSpPr>
          <p:nvPr>
            <p:ph type="title"/>
          </p:nvPr>
        </p:nvSpPr>
        <p:spPr>
          <a:xfrm>
            <a:off x="284162" y="101756"/>
            <a:ext cx="8402637" cy="379413"/>
          </a:xfrm>
          <a:prstGeom prst="rect">
            <a:avLst/>
          </a:prstGeom>
        </p:spPr>
        <p:txBody>
          <a:bodyPr/>
          <a:lstStyle>
            <a:lvl1pPr>
              <a:defRPr sz="2400"/>
            </a:lvl1pPr>
          </a:lstStyle>
          <a:p>
            <a:r>
              <a:rPr lang="pt-BR" smtClean="0"/>
              <a:t>Clique para editar o título mestre</a:t>
            </a:r>
            <a:endParaRPr lang="pt-BR" dirty="0"/>
          </a:p>
        </p:txBody>
      </p:sp>
      <p:sp>
        <p:nvSpPr>
          <p:cNvPr id="5"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2029100213"/>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284164" y="838202"/>
            <a:ext cx="8402637" cy="5287963"/>
          </a:xfrm>
          <a:prstGeom prst="rect">
            <a:avLst/>
          </a:prstGeom>
        </p:spPr>
        <p:txBody>
          <a:bodyPr/>
          <a:lstStyle>
            <a:lvl1pPr algn="just">
              <a:spcBef>
                <a:spcPts val="600"/>
              </a:spcBef>
              <a:spcAft>
                <a:spcPts val="600"/>
              </a:spcAft>
              <a:defRPr sz="2000" b="1">
                <a:latin typeface="+mj-lt"/>
              </a:defRPr>
            </a:lvl1pPr>
            <a:lvl2pPr algn="just">
              <a:spcBef>
                <a:spcPts val="600"/>
              </a:spcBef>
              <a:spcAft>
                <a:spcPts val="600"/>
              </a:spcAft>
              <a:defRPr sz="1800" b="1">
                <a:latin typeface="+mj-lt"/>
              </a:defRPr>
            </a:lvl2pPr>
            <a:lvl3pPr algn="just">
              <a:spcBef>
                <a:spcPts val="600"/>
              </a:spcBef>
              <a:spcAft>
                <a:spcPts val="600"/>
              </a:spcAft>
              <a:defRPr sz="1600" b="1">
                <a:latin typeface="+mj-lt"/>
              </a:defRPr>
            </a:lvl3pPr>
            <a:lvl4pPr algn="just">
              <a:spcBef>
                <a:spcPts val="600"/>
              </a:spcBef>
              <a:spcAft>
                <a:spcPts val="600"/>
              </a:spcAft>
              <a:defRPr sz="1400" b="1">
                <a:latin typeface="+mj-lt"/>
              </a:defRPr>
            </a:lvl4pPr>
            <a:lvl5pPr algn="just">
              <a:spcBef>
                <a:spcPts val="600"/>
              </a:spcBef>
              <a:spcAft>
                <a:spcPts val="600"/>
              </a:spcAft>
              <a:defRPr sz="1200" b="1">
                <a:latin typeface="+mj-lt"/>
              </a:defRPr>
            </a:lvl5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dirty="0"/>
          </a:p>
        </p:txBody>
      </p:sp>
      <p:sp>
        <p:nvSpPr>
          <p:cNvPr id="4"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3773854388"/>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1800" b="1"/>
            </a:lvl1pPr>
          </a:lstStyle>
          <a:p>
            <a:r>
              <a:rPr lang="pt-BR" smtClean="0"/>
              <a:t>Clique para editar 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2000" b="1">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pt-BR" noProof="0" smtClean="0"/>
              <a:t>Clique no ícone para adicionar uma imagem</a:t>
            </a:r>
            <a:endParaRPr lang="pt-BR" noProof="0" dirty="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261847924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298137A4-986C-44B7-BC96-9776515981F1}" type="slidenum">
              <a:rPr lang="pt-BR" smtClean="0"/>
              <a:pPr/>
              <a:t>‹nº›</a:t>
            </a:fld>
            <a:endParaRPr lang="pt-BR"/>
          </a:p>
        </p:txBody>
      </p:sp>
      <p:sp>
        <p:nvSpPr>
          <p:cNvPr id="8" name="Rectangle 6"/>
          <p:cNvSpPr txBox="1">
            <a:spLocks noChangeArrowheads="1"/>
          </p:cNvSpPr>
          <p:nvPr userDrawn="1"/>
        </p:nvSpPr>
        <p:spPr>
          <a:xfrm>
            <a:off x="8460432" y="6423025"/>
            <a:ext cx="683568" cy="438150"/>
          </a:xfrm>
          <a:prstGeom prst="rect">
            <a:avLst/>
          </a:prstGeom>
        </p:spPr>
        <p:txBody>
          <a:bodyPr vert="horz" lIns="91440" tIns="45720" rIns="91440" bIns="45720" rtlCol="0" anchor="ctr"/>
          <a:lstStyle>
            <a:defPPr>
              <a:defRPr lang="pt-BR"/>
            </a:defPPr>
            <a:lvl1pPr marL="0" algn="r" defTabSz="914400" rtl="0" eaLnBrk="1" latinLnBrk="0" hangingPunct="1">
              <a:defRPr sz="1400" kern="1200">
                <a:solidFill>
                  <a:schemeClr val="bg1">
                    <a:lumMod val="65000"/>
                  </a:schemeClr>
                </a:solidFill>
                <a:latin typeface="Trebuchet M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3" name="Espaço Reservado para Conteúdo 2"/>
          <p:cNvSpPr>
            <a:spLocks noGrp="1"/>
          </p:cNvSpPr>
          <p:nvPr>
            <p:ph sz="half" idx="1"/>
          </p:nvPr>
        </p:nvSpPr>
        <p:spPr>
          <a:xfrm>
            <a:off x="284162" y="674841"/>
            <a:ext cx="3867150" cy="5502122"/>
          </a:xfrm>
          <a:prstGeom prst="rect">
            <a:avLst/>
          </a:prstGeom>
        </p:spPr>
        <p:txBody>
          <a:bodyPr/>
          <a:lstStyle>
            <a:lvl1pPr>
              <a:defRPr sz="1600">
                <a:latin typeface="+mj-lt"/>
              </a:defRPr>
            </a:lvl1pPr>
            <a:lvl2pPr>
              <a:defRPr sz="1400">
                <a:latin typeface="+mj-lt"/>
              </a:defRPr>
            </a:lvl2pPr>
            <a:lvl3pPr>
              <a:defRPr sz="1200">
                <a:latin typeface="+mj-lt"/>
              </a:defRPr>
            </a:lvl3pPr>
            <a:lvl4pPr>
              <a:defRPr sz="1100">
                <a:latin typeface="+mj-lt"/>
              </a:defRPr>
            </a:lvl4pPr>
            <a:lvl5pPr>
              <a:defRPr sz="1100">
                <a:latin typeface="+mj-lt"/>
              </a:defRPr>
            </a:lvl5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dirty="0"/>
          </a:p>
        </p:txBody>
      </p:sp>
      <p:sp>
        <p:nvSpPr>
          <p:cNvPr id="4" name="Espaço Reservado para Conteúdo 3"/>
          <p:cNvSpPr>
            <a:spLocks noGrp="1"/>
          </p:cNvSpPr>
          <p:nvPr>
            <p:ph sz="half" idx="2"/>
          </p:nvPr>
        </p:nvSpPr>
        <p:spPr>
          <a:xfrm>
            <a:off x="4343400" y="674841"/>
            <a:ext cx="4343399" cy="5502122"/>
          </a:xfrm>
          <a:prstGeom prst="rect">
            <a:avLst/>
          </a:prstGeom>
        </p:spPr>
        <p:txBody>
          <a:bodyPr/>
          <a:lstStyle>
            <a:lvl1pPr>
              <a:defRPr sz="1600">
                <a:latin typeface="+mj-lt"/>
              </a:defRPr>
            </a:lvl1pPr>
            <a:lvl2pPr>
              <a:defRPr sz="1400">
                <a:latin typeface="+mj-lt"/>
              </a:defRPr>
            </a:lvl2pPr>
            <a:lvl3pPr>
              <a:defRPr sz="1200">
                <a:latin typeface="+mj-lt"/>
              </a:defRPr>
            </a:lvl3pPr>
            <a:lvl4pPr>
              <a:defRPr sz="1100">
                <a:latin typeface="+mj-lt"/>
              </a:defRPr>
            </a:lvl4pPr>
            <a:lvl5pPr>
              <a:defRPr sz="1100">
                <a:latin typeface="+mj-lt"/>
              </a:defRPr>
            </a:lvl5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dirty="0"/>
          </a:p>
        </p:txBody>
      </p:sp>
      <p:sp>
        <p:nvSpPr>
          <p:cNvPr id="12" name="Rectangle 2"/>
          <p:cNvSpPr>
            <a:spLocks/>
          </p:cNvSpPr>
          <p:nvPr userDrawn="1"/>
        </p:nvSpPr>
        <p:spPr bwMode="auto">
          <a:xfrm>
            <a:off x="0" y="4920"/>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b="1" dirty="0">
              <a:solidFill>
                <a:srgbClr val="1F497D"/>
              </a:solidFill>
              <a:latin typeface="Trebuchet MS"/>
            </a:endParaRPr>
          </a:p>
        </p:txBody>
      </p:sp>
      <p:sp>
        <p:nvSpPr>
          <p:cNvPr id="13" name="Título 1"/>
          <p:cNvSpPr>
            <a:spLocks noGrp="1"/>
          </p:cNvSpPr>
          <p:nvPr>
            <p:ph type="title"/>
          </p:nvPr>
        </p:nvSpPr>
        <p:spPr>
          <a:xfrm>
            <a:off x="284162" y="101756"/>
            <a:ext cx="8402637" cy="379413"/>
          </a:xfrm>
          <a:prstGeom prst="rect">
            <a:avLst/>
          </a:prstGeom>
        </p:spPr>
        <p:txBody>
          <a:bodyPr/>
          <a:lstStyle>
            <a:lvl1pPr>
              <a:defRPr sz="2400"/>
            </a:lvl1pPr>
          </a:lstStyle>
          <a:p>
            <a:r>
              <a:rPr lang="pt-BR" smtClean="0"/>
              <a:t>Clique para editar o título mestre</a:t>
            </a:r>
            <a:endParaRPr lang="pt-BR" dirty="0"/>
          </a:p>
        </p:txBody>
      </p:sp>
      <p:sp>
        <p:nvSpPr>
          <p:cNvPr id="6"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4149205096"/>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3534416053"/>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pic>
        <p:nvPicPr>
          <p:cNvPr id="4" name="Picture 5" descr="capa.jpg"/>
          <p:cNvPicPr>
            <a:picLocks noChangeAspect="1"/>
          </p:cNvPicPr>
          <p:nvPr userDrawn="1"/>
        </p:nvPicPr>
        <p:blipFill>
          <a:blip r:embed="rId2" cstate="print"/>
          <a:srcRect/>
          <a:stretch>
            <a:fillRect/>
          </a:stretch>
        </p:blipFill>
        <p:spPr bwMode="auto">
          <a:xfrm>
            <a:off x="3048" y="0"/>
            <a:ext cx="9144000" cy="6858000"/>
          </a:xfrm>
          <a:prstGeom prst="rect">
            <a:avLst/>
          </a:prstGeom>
          <a:noFill/>
          <a:ln w="9525">
            <a:noFill/>
            <a:miter lim="800000"/>
            <a:headEnd/>
            <a:tailEnd/>
          </a:ln>
        </p:spPr>
      </p:pic>
    </p:spTree>
    <p:extLst>
      <p:ext uri="{BB962C8B-B14F-4D97-AF65-F5344CB8AC3E}">
        <p14:creationId xmlns:p14="http://schemas.microsoft.com/office/powerpoint/2010/main" val="3136284434"/>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284164" y="838202"/>
            <a:ext cx="8402637" cy="5287963"/>
          </a:xfrm>
          <a:prstGeom prst="rect">
            <a:avLst/>
          </a:prstGeom>
        </p:spPr>
        <p:txBody>
          <a:bodyPr>
            <a:normAutofit/>
          </a:bodyPr>
          <a:lstStyle>
            <a:lvl1pPr algn="just">
              <a:spcBef>
                <a:spcPts val="600"/>
              </a:spcBef>
              <a:spcAft>
                <a:spcPts val="600"/>
              </a:spcAft>
              <a:defRPr sz="2000" b="1">
                <a:latin typeface="+mj-lt"/>
              </a:defRPr>
            </a:lvl1pPr>
            <a:lvl2pPr algn="just">
              <a:spcBef>
                <a:spcPts val="600"/>
              </a:spcBef>
              <a:spcAft>
                <a:spcPts val="600"/>
              </a:spcAft>
              <a:defRPr sz="1800" b="1">
                <a:latin typeface="+mj-lt"/>
              </a:defRPr>
            </a:lvl2pPr>
            <a:lvl3pPr algn="just">
              <a:spcBef>
                <a:spcPts val="600"/>
              </a:spcBef>
              <a:spcAft>
                <a:spcPts val="600"/>
              </a:spcAft>
              <a:defRPr sz="1600" b="1">
                <a:latin typeface="+mj-lt"/>
              </a:defRPr>
            </a:lvl3pPr>
            <a:lvl4pPr algn="just">
              <a:spcBef>
                <a:spcPts val="600"/>
              </a:spcBef>
              <a:spcAft>
                <a:spcPts val="600"/>
              </a:spcAft>
              <a:defRPr sz="1400" b="1">
                <a:latin typeface="+mj-lt"/>
              </a:defRPr>
            </a:lvl4pPr>
            <a:lvl5pPr algn="just">
              <a:spcBef>
                <a:spcPts val="600"/>
              </a:spcBef>
              <a:spcAft>
                <a:spcPts val="600"/>
              </a:spcAft>
              <a:defRPr sz="1200" b="1">
                <a:latin typeface="+mj-lt"/>
              </a:defRPr>
            </a:lvl5pPr>
          </a:lstStyle>
          <a:p>
            <a:pPr lvl="0"/>
            <a:r>
              <a:rPr lang="pt-BR" dirty="0" smtClean="0"/>
              <a:t>Clique para editar 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5" name="Rectangle 2"/>
          <p:cNvSpPr>
            <a:spLocks/>
          </p:cNvSpPr>
          <p:nvPr userDrawn="1"/>
        </p:nvSpPr>
        <p:spPr bwMode="auto">
          <a:xfrm>
            <a:off x="0" y="4920"/>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b="1" dirty="0">
              <a:solidFill>
                <a:srgbClr val="1F497D"/>
              </a:solidFill>
              <a:latin typeface="Trebuchet MS"/>
            </a:endParaRPr>
          </a:p>
        </p:txBody>
      </p:sp>
      <p:sp>
        <p:nvSpPr>
          <p:cNvPr id="6" name="Título 1"/>
          <p:cNvSpPr>
            <a:spLocks noGrp="1"/>
          </p:cNvSpPr>
          <p:nvPr>
            <p:ph type="title"/>
          </p:nvPr>
        </p:nvSpPr>
        <p:spPr>
          <a:xfrm>
            <a:off x="284162" y="101756"/>
            <a:ext cx="8402637" cy="379413"/>
          </a:xfrm>
          <a:prstGeom prst="rect">
            <a:avLst/>
          </a:prstGeom>
        </p:spPr>
        <p:txBody>
          <a:bodyPr/>
          <a:lstStyle>
            <a:lvl1pPr>
              <a:defRPr sz="2400"/>
            </a:lvl1pPr>
          </a:lstStyle>
          <a:p>
            <a:r>
              <a:rPr lang="pt-BR" dirty="0" smtClean="0"/>
              <a:t>Clique para editar o título mestre</a:t>
            </a:r>
            <a:endParaRPr lang="pt-BR" dirty="0"/>
          </a:p>
        </p:txBody>
      </p:sp>
      <p:sp>
        <p:nvSpPr>
          <p:cNvPr id="8" name="CaixaDeTexto 7"/>
          <p:cNvSpPr txBox="1"/>
          <p:nvPr userDrawn="1"/>
        </p:nvSpPr>
        <p:spPr>
          <a:xfrm>
            <a:off x="1043608" y="6423025"/>
            <a:ext cx="5966792" cy="276999"/>
          </a:xfrm>
          <a:prstGeom prst="rect">
            <a:avLst/>
          </a:prstGeom>
          <a:noFill/>
        </p:spPr>
        <p:txBody>
          <a:bodyPr wrap="square" rtlCol="0">
            <a:spAutoFit/>
          </a:bodyPr>
          <a:lstStyle/>
          <a:p>
            <a:endParaRPr lang="pt-BR" sz="1200" dirty="0">
              <a:solidFill>
                <a:srgbClr val="000000"/>
              </a:solidFill>
              <a:latin typeface="Trebuchet MS"/>
            </a:endParaRPr>
          </a:p>
        </p:txBody>
      </p:sp>
      <p:sp>
        <p:nvSpPr>
          <p:cNvPr id="9"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74964477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3" name="Rectangle 2"/>
          <p:cNvSpPr>
            <a:spLocks/>
          </p:cNvSpPr>
          <p:nvPr userDrawn="1"/>
        </p:nvSpPr>
        <p:spPr bwMode="auto">
          <a:xfrm>
            <a:off x="0" y="4920"/>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b="1" dirty="0">
              <a:solidFill>
                <a:srgbClr val="1F497D"/>
              </a:solidFill>
              <a:latin typeface="Trebuchet MS"/>
            </a:endParaRPr>
          </a:p>
        </p:txBody>
      </p:sp>
      <p:sp>
        <p:nvSpPr>
          <p:cNvPr id="4" name="Título 1"/>
          <p:cNvSpPr>
            <a:spLocks noGrp="1"/>
          </p:cNvSpPr>
          <p:nvPr>
            <p:ph type="title"/>
          </p:nvPr>
        </p:nvSpPr>
        <p:spPr>
          <a:xfrm>
            <a:off x="284162" y="101756"/>
            <a:ext cx="8402637" cy="379413"/>
          </a:xfrm>
          <a:prstGeom prst="rect">
            <a:avLst/>
          </a:prstGeom>
        </p:spPr>
        <p:txBody>
          <a:bodyPr/>
          <a:lstStyle>
            <a:lvl1pPr>
              <a:defRPr sz="2400"/>
            </a:lvl1pPr>
          </a:lstStyle>
          <a:p>
            <a:r>
              <a:rPr lang="pt-BR" dirty="0" smtClean="0"/>
              <a:t>Clique para editar o título mestre</a:t>
            </a:r>
            <a:endParaRPr lang="pt-BR" dirty="0"/>
          </a:p>
        </p:txBody>
      </p:sp>
      <p:sp>
        <p:nvSpPr>
          <p:cNvPr id="6" name="CaixaDeTexto 5"/>
          <p:cNvSpPr txBox="1"/>
          <p:nvPr userDrawn="1"/>
        </p:nvSpPr>
        <p:spPr>
          <a:xfrm>
            <a:off x="1043608" y="6423025"/>
            <a:ext cx="5966792" cy="276999"/>
          </a:xfrm>
          <a:prstGeom prst="rect">
            <a:avLst/>
          </a:prstGeom>
          <a:noFill/>
        </p:spPr>
        <p:txBody>
          <a:bodyPr wrap="square" rtlCol="0">
            <a:spAutoFit/>
          </a:bodyPr>
          <a:lstStyle/>
          <a:p>
            <a:endParaRPr lang="pt-BR" sz="1200" dirty="0">
              <a:solidFill>
                <a:srgbClr val="000000"/>
              </a:solidFill>
              <a:latin typeface="Trebuchet MS"/>
            </a:endParaRPr>
          </a:p>
        </p:txBody>
      </p:sp>
      <p:sp>
        <p:nvSpPr>
          <p:cNvPr id="7"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2598715613"/>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284164" y="838202"/>
            <a:ext cx="8402637" cy="5287963"/>
          </a:xfrm>
          <a:prstGeom prst="rect">
            <a:avLst/>
          </a:prstGeom>
        </p:spPr>
        <p:txBody>
          <a:bodyPr>
            <a:normAutofit/>
          </a:bodyPr>
          <a:lstStyle>
            <a:lvl1pPr algn="just">
              <a:spcBef>
                <a:spcPts val="600"/>
              </a:spcBef>
              <a:spcAft>
                <a:spcPts val="600"/>
              </a:spcAft>
              <a:defRPr sz="2000" b="1">
                <a:latin typeface="+mj-lt"/>
              </a:defRPr>
            </a:lvl1pPr>
            <a:lvl2pPr algn="just">
              <a:spcBef>
                <a:spcPts val="600"/>
              </a:spcBef>
              <a:spcAft>
                <a:spcPts val="600"/>
              </a:spcAft>
              <a:defRPr sz="1800" b="1">
                <a:latin typeface="+mj-lt"/>
              </a:defRPr>
            </a:lvl2pPr>
            <a:lvl3pPr algn="just">
              <a:spcBef>
                <a:spcPts val="600"/>
              </a:spcBef>
              <a:spcAft>
                <a:spcPts val="600"/>
              </a:spcAft>
              <a:defRPr sz="1600" b="1">
                <a:latin typeface="+mj-lt"/>
              </a:defRPr>
            </a:lvl3pPr>
            <a:lvl4pPr algn="just">
              <a:spcBef>
                <a:spcPts val="600"/>
              </a:spcBef>
              <a:spcAft>
                <a:spcPts val="600"/>
              </a:spcAft>
              <a:defRPr sz="1400" b="1">
                <a:latin typeface="+mj-lt"/>
              </a:defRPr>
            </a:lvl4pPr>
            <a:lvl5pPr algn="just">
              <a:spcBef>
                <a:spcPts val="600"/>
              </a:spcBef>
              <a:spcAft>
                <a:spcPts val="600"/>
              </a:spcAft>
              <a:defRPr sz="1200" b="1">
                <a:latin typeface="+mj-lt"/>
              </a:defRPr>
            </a:lvl5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dirty="0"/>
          </a:p>
        </p:txBody>
      </p:sp>
      <p:sp>
        <p:nvSpPr>
          <p:cNvPr id="5" name="CaixaDeTexto 4"/>
          <p:cNvSpPr txBox="1"/>
          <p:nvPr userDrawn="1"/>
        </p:nvSpPr>
        <p:spPr>
          <a:xfrm>
            <a:off x="1043608" y="6423025"/>
            <a:ext cx="5966792" cy="276999"/>
          </a:xfrm>
          <a:prstGeom prst="rect">
            <a:avLst/>
          </a:prstGeom>
          <a:noFill/>
        </p:spPr>
        <p:txBody>
          <a:bodyPr wrap="square" rtlCol="0">
            <a:spAutoFit/>
          </a:bodyPr>
          <a:lstStyle/>
          <a:p>
            <a:endParaRPr lang="pt-BR" sz="1200" dirty="0">
              <a:solidFill>
                <a:srgbClr val="000000"/>
              </a:solidFill>
              <a:latin typeface="Trebuchet MS"/>
            </a:endParaRPr>
          </a:p>
        </p:txBody>
      </p:sp>
      <p:sp>
        <p:nvSpPr>
          <p:cNvPr id="6"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1770129383"/>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1800" b="1"/>
            </a:lvl1pPr>
          </a:lstStyle>
          <a:p>
            <a:r>
              <a:rPr lang="pt-BR" smtClean="0"/>
              <a:t>Clique para editar 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2000" b="1">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pt-BR" noProof="0" smtClean="0"/>
              <a:t>Clique no ícone para adicionar uma imagem</a:t>
            </a:r>
            <a:endParaRPr lang="pt-BR" noProof="0" dirty="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6" name="CaixaDeTexto 5"/>
          <p:cNvSpPr txBox="1"/>
          <p:nvPr userDrawn="1"/>
        </p:nvSpPr>
        <p:spPr>
          <a:xfrm>
            <a:off x="1043608" y="6423025"/>
            <a:ext cx="5966792" cy="276999"/>
          </a:xfrm>
          <a:prstGeom prst="rect">
            <a:avLst/>
          </a:prstGeom>
          <a:noFill/>
        </p:spPr>
        <p:txBody>
          <a:bodyPr wrap="square" rtlCol="0">
            <a:spAutoFit/>
          </a:bodyPr>
          <a:lstStyle/>
          <a:p>
            <a:endParaRPr lang="pt-BR" sz="1200" dirty="0">
              <a:solidFill>
                <a:srgbClr val="000000"/>
              </a:solidFill>
              <a:latin typeface="Trebuchet MS"/>
            </a:endParaRPr>
          </a:p>
        </p:txBody>
      </p:sp>
      <p:sp>
        <p:nvSpPr>
          <p:cNvPr id="7"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2058616637"/>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3" name="Espaço Reservado para Conteúdo 2"/>
          <p:cNvSpPr>
            <a:spLocks noGrp="1"/>
          </p:cNvSpPr>
          <p:nvPr>
            <p:ph sz="half" idx="1"/>
          </p:nvPr>
        </p:nvSpPr>
        <p:spPr>
          <a:xfrm>
            <a:off x="284162" y="674841"/>
            <a:ext cx="3867150" cy="5502122"/>
          </a:xfrm>
          <a:prstGeom prst="rect">
            <a:avLst/>
          </a:prstGeom>
        </p:spPr>
        <p:txBody>
          <a:bodyPr>
            <a:normAutofit/>
          </a:bodyPr>
          <a:lstStyle>
            <a:lvl1pPr>
              <a:defRPr sz="1600">
                <a:latin typeface="+mj-lt"/>
              </a:defRPr>
            </a:lvl1pPr>
            <a:lvl2pPr>
              <a:defRPr sz="1400">
                <a:latin typeface="+mj-lt"/>
              </a:defRPr>
            </a:lvl2pPr>
            <a:lvl3pPr>
              <a:defRPr sz="1200">
                <a:latin typeface="+mj-lt"/>
              </a:defRPr>
            </a:lvl3pPr>
            <a:lvl4pPr>
              <a:defRPr sz="1100">
                <a:latin typeface="+mj-lt"/>
              </a:defRPr>
            </a:lvl4pPr>
            <a:lvl5pPr>
              <a:defRPr sz="1100">
                <a:latin typeface="+mj-lt"/>
              </a:defRPr>
            </a:lvl5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dirty="0"/>
          </a:p>
        </p:txBody>
      </p:sp>
      <p:sp>
        <p:nvSpPr>
          <p:cNvPr id="4" name="Espaço Reservado para Conteúdo 3"/>
          <p:cNvSpPr>
            <a:spLocks noGrp="1"/>
          </p:cNvSpPr>
          <p:nvPr>
            <p:ph sz="half" idx="2"/>
          </p:nvPr>
        </p:nvSpPr>
        <p:spPr>
          <a:xfrm>
            <a:off x="4343400" y="674841"/>
            <a:ext cx="4343399" cy="5502122"/>
          </a:xfrm>
          <a:prstGeom prst="rect">
            <a:avLst/>
          </a:prstGeom>
        </p:spPr>
        <p:txBody>
          <a:bodyPr>
            <a:normAutofit/>
          </a:bodyPr>
          <a:lstStyle>
            <a:lvl1pPr>
              <a:defRPr sz="1600">
                <a:latin typeface="+mj-lt"/>
              </a:defRPr>
            </a:lvl1pPr>
            <a:lvl2pPr>
              <a:defRPr sz="1400">
                <a:latin typeface="+mj-lt"/>
              </a:defRPr>
            </a:lvl2pPr>
            <a:lvl3pPr>
              <a:defRPr sz="1200">
                <a:latin typeface="+mj-lt"/>
              </a:defRPr>
            </a:lvl3pPr>
            <a:lvl4pPr>
              <a:defRPr sz="1100">
                <a:latin typeface="+mj-lt"/>
              </a:defRPr>
            </a:lvl4pPr>
            <a:lvl5pPr>
              <a:defRPr sz="1100">
                <a:latin typeface="+mj-lt"/>
              </a:defRPr>
            </a:lvl5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dirty="0"/>
          </a:p>
        </p:txBody>
      </p:sp>
      <p:sp>
        <p:nvSpPr>
          <p:cNvPr id="12" name="Rectangle 2"/>
          <p:cNvSpPr>
            <a:spLocks/>
          </p:cNvSpPr>
          <p:nvPr userDrawn="1"/>
        </p:nvSpPr>
        <p:spPr bwMode="auto">
          <a:xfrm>
            <a:off x="0" y="4920"/>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b="1" dirty="0">
              <a:solidFill>
                <a:srgbClr val="1F497D"/>
              </a:solidFill>
              <a:latin typeface="Trebuchet MS"/>
            </a:endParaRPr>
          </a:p>
        </p:txBody>
      </p:sp>
      <p:sp>
        <p:nvSpPr>
          <p:cNvPr id="13" name="Título 1"/>
          <p:cNvSpPr>
            <a:spLocks noGrp="1"/>
          </p:cNvSpPr>
          <p:nvPr>
            <p:ph type="title"/>
          </p:nvPr>
        </p:nvSpPr>
        <p:spPr>
          <a:xfrm>
            <a:off x="284162" y="101756"/>
            <a:ext cx="8402637" cy="379413"/>
          </a:xfrm>
          <a:prstGeom prst="rect">
            <a:avLst/>
          </a:prstGeom>
        </p:spPr>
        <p:txBody>
          <a:bodyPr/>
          <a:lstStyle>
            <a:lvl1pPr>
              <a:defRPr sz="2400"/>
            </a:lvl1pPr>
          </a:lstStyle>
          <a:p>
            <a:r>
              <a:rPr lang="pt-BR" smtClean="0"/>
              <a:t>Clique para editar o título mestre</a:t>
            </a:r>
            <a:endParaRPr lang="pt-BR" dirty="0"/>
          </a:p>
        </p:txBody>
      </p:sp>
      <p:sp>
        <p:nvSpPr>
          <p:cNvPr id="7" name="CaixaDeTexto 6"/>
          <p:cNvSpPr txBox="1"/>
          <p:nvPr userDrawn="1"/>
        </p:nvSpPr>
        <p:spPr>
          <a:xfrm>
            <a:off x="1043608" y="6423025"/>
            <a:ext cx="5966792" cy="276999"/>
          </a:xfrm>
          <a:prstGeom prst="rect">
            <a:avLst/>
          </a:prstGeom>
          <a:noFill/>
        </p:spPr>
        <p:txBody>
          <a:bodyPr wrap="square" rtlCol="0">
            <a:spAutoFit/>
          </a:bodyPr>
          <a:lstStyle/>
          <a:p>
            <a:endParaRPr lang="pt-BR" sz="1200" dirty="0">
              <a:solidFill>
                <a:srgbClr val="000000"/>
              </a:solidFill>
              <a:latin typeface="Trebuchet MS"/>
            </a:endParaRPr>
          </a:p>
        </p:txBody>
      </p:sp>
      <p:sp>
        <p:nvSpPr>
          <p:cNvPr id="8"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244196191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3" name="CaixaDeTexto 2"/>
          <p:cNvSpPr txBox="1"/>
          <p:nvPr userDrawn="1"/>
        </p:nvSpPr>
        <p:spPr>
          <a:xfrm>
            <a:off x="1043608" y="6423025"/>
            <a:ext cx="5966792" cy="276999"/>
          </a:xfrm>
          <a:prstGeom prst="rect">
            <a:avLst/>
          </a:prstGeom>
          <a:noFill/>
        </p:spPr>
        <p:txBody>
          <a:bodyPr wrap="square" rtlCol="0">
            <a:spAutoFit/>
          </a:bodyPr>
          <a:lstStyle/>
          <a:p>
            <a:endParaRPr lang="pt-BR" sz="1200" dirty="0">
              <a:solidFill>
                <a:srgbClr val="000000"/>
              </a:solidFill>
              <a:latin typeface="Trebuchet MS"/>
            </a:endParaRPr>
          </a:p>
        </p:txBody>
      </p:sp>
      <p:sp>
        <p:nvSpPr>
          <p:cNvPr id="4"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155072787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5813" y="4509889"/>
            <a:ext cx="3163634" cy="646331"/>
          </a:xfrm>
          <a:noFill/>
        </p:spPr>
        <p:txBody>
          <a:bodyPr wrap="square" anchor="t" anchorCtr="0">
            <a:spAutoFit/>
          </a:bodyPr>
          <a:lstStyle>
            <a:lvl1pPr>
              <a:defRPr sz="2100">
                <a:solidFill>
                  <a:srgbClr val="002266"/>
                </a:solidFill>
              </a:defRPr>
            </a:lvl1pPr>
          </a:lstStyle>
          <a:p>
            <a:r>
              <a:rPr lang="pt-BR" dirty="0"/>
              <a:t>Click to edit Master title style</a:t>
            </a:r>
          </a:p>
        </p:txBody>
      </p:sp>
      <p:sp>
        <p:nvSpPr>
          <p:cNvPr id="3" name="Subtitle 2"/>
          <p:cNvSpPr>
            <a:spLocks noGrp="1"/>
          </p:cNvSpPr>
          <p:nvPr>
            <p:ph type="subTitle" idx="1"/>
          </p:nvPr>
        </p:nvSpPr>
        <p:spPr>
          <a:xfrm>
            <a:off x="435219" y="5547385"/>
            <a:ext cx="3026996" cy="207749"/>
          </a:xfrm>
        </p:spPr>
        <p:txBody>
          <a:bodyPr/>
          <a:lstStyle>
            <a:lvl1pPr marL="0" indent="0" algn="l">
              <a:buNone/>
              <a:defRPr sz="1350">
                <a:solidFill>
                  <a:srgbClr val="2F539C"/>
                </a:solidFill>
              </a:defRPr>
            </a:lvl1pPr>
            <a:lvl2pPr marL="342883" indent="0" algn="ctr">
              <a:buNone/>
              <a:defRPr>
                <a:solidFill>
                  <a:schemeClr val="tx1">
                    <a:tint val="75000"/>
                  </a:schemeClr>
                </a:solidFill>
              </a:defRPr>
            </a:lvl2pPr>
            <a:lvl3pPr marL="685767" indent="0" algn="ctr">
              <a:buNone/>
              <a:defRPr>
                <a:solidFill>
                  <a:schemeClr val="tx1">
                    <a:tint val="75000"/>
                  </a:schemeClr>
                </a:solidFill>
              </a:defRPr>
            </a:lvl3pPr>
            <a:lvl4pPr marL="1028648"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2" indent="0" algn="ctr">
              <a:buNone/>
              <a:defRPr>
                <a:solidFill>
                  <a:schemeClr val="tx1">
                    <a:tint val="75000"/>
                  </a:schemeClr>
                </a:solidFill>
              </a:defRPr>
            </a:lvl9pPr>
          </a:lstStyle>
          <a:p>
            <a:r>
              <a:rPr lang="pt-BR" dirty="0"/>
              <a:t>Click to edit Master subtitle style</a:t>
            </a:r>
          </a:p>
        </p:txBody>
      </p:sp>
      <p:cxnSp>
        <p:nvCxnSpPr>
          <p:cNvPr id="54" name="Straight Connector 9"/>
          <p:cNvCxnSpPr>
            <a:cxnSpLocks noChangeShapeType="1"/>
          </p:cNvCxnSpPr>
          <p:nvPr userDrawn="1"/>
        </p:nvCxnSpPr>
        <p:spPr bwMode="auto">
          <a:xfrm>
            <a:off x="435221" y="1112935"/>
            <a:ext cx="8708783" cy="0"/>
          </a:xfrm>
          <a:prstGeom prst="line">
            <a:avLst/>
          </a:prstGeom>
          <a:noFill/>
          <a:ln w="12700">
            <a:solidFill>
              <a:schemeClr val="tx1"/>
            </a:solidFill>
            <a:round/>
            <a:headEnd/>
            <a:tailEnd/>
          </a:ln>
        </p:spPr>
      </p:cxnSp>
      <p:grpSp>
        <p:nvGrpSpPr>
          <p:cNvPr id="55" name="Group 54"/>
          <p:cNvGrpSpPr/>
          <p:nvPr userDrawn="1"/>
        </p:nvGrpSpPr>
        <p:grpSpPr>
          <a:xfrm>
            <a:off x="435222" y="366058"/>
            <a:ext cx="2061150" cy="1062376"/>
            <a:chOff x="471488" y="366051"/>
            <a:chExt cx="2232912" cy="1062375"/>
          </a:xfrm>
        </p:grpSpPr>
        <p:sp>
          <p:nvSpPr>
            <p:cNvPr id="56" name="Freeform 14"/>
            <p:cNvSpPr>
              <a:spLocks/>
            </p:cNvSpPr>
            <p:nvPr userDrawn="1"/>
          </p:nvSpPr>
          <p:spPr bwMode="auto">
            <a:xfrm>
              <a:off x="1754457" y="366051"/>
              <a:ext cx="206884" cy="211195"/>
            </a:xfrm>
            <a:custGeom>
              <a:avLst/>
              <a:gdLst/>
              <a:ahLst/>
              <a:cxnLst>
                <a:cxn ang="0">
                  <a:pos x="0" y="0"/>
                </a:cxn>
                <a:cxn ang="0">
                  <a:pos x="0" y="52"/>
                </a:cxn>
                <a:cxn ang="0">
                  <a:pos x="0" y="359"/>
                </a:cxn>
                <a:cxn ang="0">
                  <a:pos x="12" y="364"/>
                </a:cxn>
                <a:cxn ang="0">
                  <a:pos x="44" y="376"/>
                </a:cxn>
                <a:cxn ang="0">
                  <a:pos x="95" y="396"/>
                </a:cxn>
                <a:cxn ang="0">
                  <a:pos x="162" y="421"/>
                </a:cxn>
                <a:cxn ang="0">
                  <a:pos x="241" y="452"/>
                </a:cxn>
                <a:cxn ang="0">
                  <a:pos x="330" y="486"/>
                </a:cxn>
                <a:cxn ang="0">
                  <a:pos x="427" y="524"/>
                </a:cxn>
                <a:cxn ang="0">
                  <a:pos x="529" y="563"/>
                </a:cxn>
                <a:cxn ang="0">
                  <a:pos x="631" y="603"/>
                </a:cxn>
                <a:cxn ang="0">
                  <a:pos x="733" y="642"/>
                </a:cxn>
                <a:cxn ang="0">
                  <a:pos x="832" y="680"/>
                </a:cxn>
                <a:cxn ang="0">
                  <a:pos x="923" y="715"/>
                </a:cxn>
                <a:cxn ang="0">
                  <a:pos x="1005" y="747"/>
                </a:cxn>
                <a:cxn ang="0">
                  <a:pos x="1074" y="773"/>
                </a:cxn>
                <a:cxn ang="0">
                  <a:pos x="1130" y="795"/>
                </a:cxn>
                <a:cxn ang="0">
                  <a:pos x="1167" y="809"/>
                </a:cxn>
                <a:cxn ang="0">
                  <a:pos x="1130" y="824"/>
                </a:cxn>
                <a:cxn ang="0">
                  <a:pos x="1074" y="845"/>
                </a:cxn>
                <a:cxn ang="0">
                  <a:pos x="1005" y="872"/>
                </a:cxn>
                <a:cxn ang="0">
                  <a:pos x="923" y="903"/>
                </a:cxn>
                <a:cxn ang="0">
                  <a:pos x="832" y="939"/>
                </a:cxn>
                <a:cxn ang="0">
                  <a:pos x="733" y="976"/>
                </a:cxn>
                <a:cxn ang="0">
                  <a:pos x="631" y="1016"/>
                </a:cxn>
                <a:cxn ang="0">
                  <a:pos x="529" y="1054"/>
                </a:cxn>
                <a:cxn ang="0">
                  <a:pos x="427" y="1093"/>
                </a:cxn>
                <a:cxn ang="0">
                  <a:pos x="330" y="1131"/>
                </a:cxn>
                <a:cxn ang="0">
                  <a:pos x="241" y="1165"/>
                </a:cxn>
                <a:cxn ang="0">
                  <a:pos x="162" y="1196"/>
                </a:cxn>
                <a:cxn ang="0">
                  <a:pos x="95" y="1221"/>
                </a:cxn>
                <a:cxn ang="0">
                  <a:pos x="44" y="1241"/>
                </a:cxn>
                <a:cxn ang="0">
                  <a:pos x="12" y="1254"/>
                </a:cxn>
                <a:cxn ang="0">
                  <a:pos x="0" y="1258"/>
                </a:cxn>
                <a:cxn ang="0">
                  <a:pos x="0" y="1616"/>
                </a:cxn>
                <a:cxn ang="0">
                  <a:pos x="1587" y="973"/>
                </a:cxn>
                <a:cxn ang="0">
                  <a:pos x="1587" y="644"/>
                </a:cxn>
                <a:cxn ang="0">
                  <a:pos x="0" y="0"/>
                </a:cxn>
              </a:cxnLst>
              <a:rect l="0" t="0" r="r" b="b"/>
              <a:pathLst>
                <a:path w="1587" h="1616">
                  <a:moveTo>
                    <a:pt x="0" y="0"/>
                  </a:moveTo>
                  <a:lnTo>
                    <a:pt x="0" y="52"/>
                  </a:lnTo>
                  <a:lnTo>
                    <a:pt x="0" y="359"/>
                  </a:lnTo>
                  <a:lnTo>
                    <a:pt x="12" y="364"/>
                  </a:lnTo>
                  <a:lnTo>
                    <a:pt x="44" y="376"/>
                  </a:lnTo>
                  <a:lnTo>
                    <a:pt x="95" y="396"/>
                  </a:lnTo>
                  <a:lnTo>
                    <a:pt x="162" y="421"/>
                  </a:lnTo>
                  <a:lnTo>
                    <a:pt x="241" y="452"/>
                  </a:lnTo>
                  <a:lnTo>
                    <a:pt x="330" y="486"/>
                  </a:lnTo>
                  <a:lnTo>
                    <a:pt x="427" y="524"/>
                  </a:lnTo>
                  <a:lnTo>
                    <a:pt x="529" y="563"/>
                  </a:lnTo>
                  <a:lnTo>
                    <a:pt x="631" y="603"/>
                  </a:lnTo>
                  <a:lnTo>
                    <a:pt x="733" y="642"/>
                  </a:lnTo>
                  <a:lnTo>
                    <a:pt x="832" y="680"/>
                  </a:lnTo>
                  <a:lnTo>
                    <a:pt x="923" y="715"/>
                  </a:lnTo>
                  <a:lnTo>
                    <a:pt x="1005" y="747"/>
                  </a:lnTo>
                  <a:lnTo>
                    <a:pt x="1074" y="773"/>
                  </a:lnTo>
                  <a:lnTo>
                    <a:pt x="1130" y="795"/>
                  </a:lnTo>
                  <a:lnTo>
                    <a:pt x="1167" y="809"/>
                  </a:lnTo>
                  <a:lnTo>
                    <a:pt x="1130" y="824"/>
                  </a:lnTo>
                  <a:lnTo>
                    <a:pt x="1074" y="845"/>
                  </a:lnTo>
                  <a:lnTo>
                    <a:pt x="1005" y="872"/>
                  </a:lnTo>
                  <a:lnTo>
                    <a:pt x="923" y="903"/>
                  </a:lnTo>
                  <a:lnTo>
                    <a:pt x="832" y="939"/>
                  </a:lnTo>
                  <a:lnTo>
                    <a:pt x="733" y="976"/>
                  </a:lnTo>
                  <a:lnTo>
                    <a:pt x="631" y="1016"/>
                  </a:lnTo>
                  <a:lnTo>
                    <a:pt x="529" y="1054"/>
                  </a:lnTo>
                  <a:lnTo>
                    <a:pt x="427" y="1093"/>
                  </a:lnTo>
                  <a:lnTo>
                    <a:pt x="330" y="1131"/>
                  </a:lnTo>
                  <a:lnTo>
                    <a:pt x="241" y="1165"/>
                  </a:lnTo>
                  <a:lnTo>
                    <a:pt x="162" y="1196"/>
                  </a:lnTo>
                  <a:lnTo>
                    <a:pt x="95" y="1221"/>
                  </a:lnTo>
                  <a:lnTo>
                    <a:pt x="44" y="1241"/>
                  </a:lnTo>
                  <a:lnTo>
                    <a:pt x="12" y="1254"/>
                  </a:lnTo>
                  <a:lnTo>
                    <a:pt x="0" y="1258"/>
                  </a:lnTo>
                  <a:lnTo>
                    <a:pt x="0" y="1616"/>
                  </a:lnTo>
                  <a:lnTo>
                    <a:pt x="1587" y="973"/>
                  </a:lnTo>
                  <a:lnTo>
                    <a:pt x="1587" y="644"/>
                  </a:lnTo>
                  <a:lnTo>
                    <a:pt x="0" y="0"/>
                  </a:lnTo>
                  <a:close/>
                </a:path>
              </a:pathLst>
            </a:custGeom>
            <a:solidFill>
              <a:srgbClr val="00BBEE"/>
            </a:solid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nvGrpSpPr>
            <p:cNvPr id="57" name="Group 56"/>
            <p:cNvGrpSpPr/>
            <p:nvPr userDrawn="1"/>
          </p:nvGrpSpPr>
          <p:grpSpPr>
            <a:xfrm>
              <a:off x="471488" y="605980"/>
              <a:ext cx="2232912" cy="822446"/>
              <a:chOff x="471488" y="605980"/>
              <a:chExt cx="2232912" cy="822446"/>
            </a:xfrm>
          </p:grpSpPr>
          <p:sp>
            <p:nvSpPr>
              <p:cNvPr id="58" name="Freeform 8"/>
              <p:cNvSpPr>
                <a:spLocks noEditPoints="1"/>
              </p:cNvSpPr>
              <p:nvPr userDrawn="1"/>
            </p:nvSpPr>
            <p:spPr bwMode="auto">
              <a:xfrm>
                <a:off x="483200" y="1226389"/>
                <a:ext cx="2221200" cy="202037"/>
              </a:xfrm>
              <a:custGeom>
                <a:avLst/>
                <a:gdLst/>
                <a:ahLst/>
                <a:cxnLst>
                  <a:cxn ang="0">
                    <a:pos x="13149" y="878"/>
                  </a:cxn>
                  <a:cxn ang="0">
                    <a:pos x="13235" y="367"/>
                  </a:cxn>
                  <a:cxn ang="0">
                    <a:pos x="12964" y="772"/>
                  </a:cxn>
                  <a:cxn ang="0">
                    <a:pos x="13323" y="363"/>
                  </a:cxn>
                  <a:cxn ang="0">
                    <a:pos x="12496" y="598"/>
                  </a:cxn>
                  <a:cxn ang="0">
                    <a:pos x="12646" y="959"/>
                  </a:cxn>
                  <a:cxn ang="0">
                    <a:pos x="12469" y="346"/>
                  </a:cxn>
                  <a:cxn ang="0">
                    <a:pos x="12040" y="947"/>
                  </a:cxn>
                  <a:cxn ang="0">
                    <a:pos x="12139" y="598"/>
                  </a:cxn>
                  <a:cxn ang="0">
                    <a:pos x="11567" y="727"/>
                  </a:cxn>
                  <a:cxn ang="0">
                    <a:pos x="11612" y="935"/>
                  </a:cxn>
                  <a:cxn ang="0">
                    <a:pos x="11573" y="307"/>
                  </a:cxn>
                  <a:cxn ang="0">
                    <a:pos x="11420" y="296"/>
                  </a:cxn>
                  <a:cxn ang="0">
                    <a:pos x="10152" y="380"/>
                  </a:cxn>
                  <a:cxn ang="0">
                    <a:pos x="10243" y="955"/>
                  </a:cxn>
                  <a:cxn ang="0">
                    <a:pos x="9857" y="437"/>
                  </a:cxn>
                  <a:cxn ang="0">
                    <a:pos x="10305" y="453"/>
                  </a:cxn>
                  <a:cxn ang="0">
                    <a:pos x="9631" y="498"/>
                  </a:cxn>
                  <a:cxn ang="0">
                    <a:pos x="9529" y="30"/>
                  </a:cxn>
                  <a:cxn ang="0">
                    <a:pos x="9627" y="860"/>
                  </a:cxn>
                  <a:cxn ang="0">
                    <a:pos x="8359" y="361"/>
                  </a:cxn>
                  <a:cxn ang="0">
                    <a:pos x="8418" y="962"/>
                  </a:cxn>
                  <a:cxn ang="0">
                    <a:pos x="8131" y="389"/>
                  </a:cxn>
                  <a:cxn ang="0">
                    <a:pos x="8564" y="560"/>
                  </a:cxn>
                  <a:cxn ang="0">
                    <a:pos x="7676" y="703"/>
                  </a:cxn>
                  <a:cxn ang="0">
                    <a:pos x="7759" y="943"/>
                  </a:cxn>
                  <a:cxn ang="0">
                    <a:pos x="7683" y="314"/>
                  </a:cxn>
                  <a:cxn ang="0">
                    <a:pos x="7330" y="422"/>
                  </a:cxn>
                  <a:cxn ang="0">
                    <a:pos x="7101" y="379"/>
                  </a:cxn>
                  <a:cxn ang="0">
                    <a:pos x="6529" y="690"/>
                  </a:cxn>
                  <a:cxn ang="0">
                    <a:pos x="6707" y="794"/>
                  </a:cxn>
                  <a:cxn ang="0">
                    <a:pos x="6363" y="801"/>
                  </a:cxn>
                  <a:cxn ang="0">
                    <a:pos x="6673" y="369"/>
                  </a:cxn>
                  <a:cxn ang="0">
                    <a:pos x="6590" y="282"/>
                  </a:cxn>
                  <a:cxn ang="0">
                    <a:pos x="6091" y="378"/>
                  </a:cxn>
                  <a:cxn ang="0">
                    <a:pos x="5748" y="380"/>
                  </a:cxn>
                  <a:cxn ang="0">
                    <a:pos x="5665" y="294"/>
                  </a:cxn>
                  <a:cxn ang="0">
                    <a:pos x="6153" y="294"/>
                  </a:cxn>
                  <a:cxn ang="0">
                    <a:pos x="5307" y="392"/>
                  </a:cxn>
                  <a:cxn ang="0">
                    <a:pos x="4526" y="581"/>
                  </a:cxn>
                  <a:cxn ang="0">
                    <a:pos x="4830" y="751"/>
                  </a:cxn>
                  <a:cxn ang="0">
                    <a:pos x="4502" y="891"/>
                  </a:cxn>
                  <a:cxn ang="0">
                    <a:pos x="4702" y="282"/>
                  </a:cxn>
                  <a:cxn ang="0">
                    <a:pos x="4846" y="911"/>
                  </a:cxn>
                  <a:cxn ang="0">
                    <a:pos x="4109" y="206"/>
                  </a:cxn>
                  <a:cxn ang="0">
                    <a:pos x="3748" y="360"/>
                  </a:cxn>
                  <a:cxn ang="0">
                    <a:pos x="3222" y="369"/>
                  </a:cxn>
                  <a:cxn ang="0">
                    <a:pos x="3209" y="823"/>
                  </a:cxn>
                  <a:cxn ang="0">
                    <a:pos x="3097" y="860"/>
                  </a:cxn>
                  <a:cxn ang="0">
                    <a:pos x="3277" y="281"/>
                  </a:cxn>
                  <a:cxn ang="0">
                    <a:pos x="2577" y="475"/>
                  </a:cxn>
                  <a:cxn ang="0">
                    <a:pos x="2827" y="752"/>
                  </a:cxn>
                  <a:cxn ang="0">
                    <a:pos x="2556" y="840"/>
                  </a:cxn>
                  <a:cxn ang="0">
                    <a:pos x="2934" y="471"/>
                  </a:cxn>
                  <a:cxn ang="0">
                    <a:pos x="1927" y="403"/>
                  </a:cxn>
                  <a:cxn ang="0">
                    <a:pos x="1720" y="364"/>
                  </a:cxn>
                  <a:cxn ang="0">
                    <a:pos x="1117" y="405"/>
                  </a:cxn>
                  <a:cxn ang="0">
                    <a:pos x="1286" y="827"/>
                  </a:cxn>
                  <a:cxn ang="0">
                    <a:pos x="994" y="1115"/>
                  </a:cxn>
                  <a:cxn ang="0">
                    <a:pos x="1262" y="928"/>
                  </a:cxn>
                  <a:cxn ang="0">
                    <a:pos x="1017" y="376"/>
                  </a:cxn>
                  <a:cxn ang="0">
                    <a:pos x="1421" y="1097"/>
                  </a:cxn>
                  <a:cxn ang="0">
                    <a:pos x="604" y="947"/>
                  </a:cxn>
                </a:cxnLst>
                <a:rect l="0" t="0" r="r" b="b"/>
                <a:pathLst>
                  <a:path w="13694" h="1240">
                    <a:moveTo>
                      <a:pt x="13557" y="947"/>
                    </a:moveTo>
                    <a:lnTo>
                      <a:pt x="13557" y="811"/>
                    </a:lnTo>
                    <a:lnTo>
                      <a:pt x="13694" y="811"/>
                    </a:lnTo>
                    <a:lnTo>
                      <a:pt x="13694" y="947"/>
                    </a:lnTo>
                    <a:lnTo>
                      <a:pt x="13557" y="947"/>
                    </a:lnTo>
                    <a:close/>
                    <a:moveTo>
                      <a:pt x="13193" y="359"/>
                    </a:moveTo>
                    <a:lnTo>
                      <a:pt x="13181" y="360"/>
                    </a:lnTo>
                    <a:lnTo>
                      <a:pt x="13170" y="361"/>
                    </a:lnTo>
                    <a:lnTo>
                      <a:pt x="13160" y="365"/>
                    </a:lnTo>
                    <a:lnTo>
                      <a:pt x="13150" y="368"/>
                    </a:lnTo>
                    <a:lnTo>
                      <a:pt x="13142" y="372"/>
                    </a:lnTo>
                    <a:lnTo>
                      <a:pt x="13133" y="378"/>
                    </a:lnTo>
                    <a:lnTo>
                      <a:pt x="13125" y="384"/>
                    </a:lnTo>
                    <a:lnTo>
                      <a:pt x="13118" y="391"/>
                    </a:lnTo>
                    <a:lnTo>
                      <a:pt x="13111" y="399"/>
                    </a:lnTo>
                    <a:lnTo>
                      <a:pt x="13105" y="407"/>
                    </a:lnTo>
                    <a:lnTo>
                      <a:pt x="13098" y="417"/>
                    </a:lnTo>
                    <a:lnTo>
                      <a:pt x="13093" y="426"/>
                    </a:lnTo>
                    <a:lnTo>
                      <a:pt x="13084" y="446"/>
                    </a:lnTo>
                    <a:lnTo>
                      <a:pt x="13076" y="468"/>
                    </a:lnTo>
                    <a:lnTo>
                      <a:pt x="13070" y="492"/>
                    </a:lnTo>
                    <a:lnTo>
                      <a:pt x="13064" y="515"/>
                    </a:lnTo>
                    <a:lnTo>
                      <a:pt x="13061" y="538"/>
                    </a:lnTo>
                    <a:lnTo>
                      <a:pt x="13058" y="562"/>
                    </a:lnTo>
                    <a:lnTo>
                      <a:pt x="13056" y="607"/>
                    </a:lnTo>
                    <a:lnTo>
                      <a:pt x="13055" y="645"/>
                    </a:lnTo>
                    <a:lnTo>
                      <a:pt x="13055" y="662"/>
                    </a:lnTo>
                    <a:lnTo>
                      <a:pt x="13056" y="681"/>
                    </a:lnTo>
                    <a:lnTo>
                      <a:pt x="13057" y="700"/>
                    </a:lnTo>
                    <a:lnTo>
                      <a:pt x="13059" y="721"/>
                    </a:lnTo>
                    <a:lnTo>
                      <a:pt x="13062" y="740"/>
                    </a:lnTo>
                    <a:lnTo>
                      <a:pt x="13066" y="760"/>
                    </a:lnTo>
                    <a:lnTo>
                      <a:pt x="13071" y="779"/>
                    </a:lnTo>
                    <a:lnTo>
                      <a:pt x="13078" y="799"/>
                    </a:lnTo>
                    <a:lnTo>
                      <a:pt x="13085" y="816"/>
                    </a:lnTo>
                    <a:lnTo>
                      <a:pt x="13094" y="833"/>
                    </a:lnTo>
                    <a:lnTo>
                      <a:pt x="13099" y="840"/>
                    </a:lnTo>
                    <a:lnTo>
                      <a:pt x="13106" y="847"/>
                    </a:lnTo>
                    <a:lnTo>
                      <a:pt x="13111" y="853"/>
                    </a:lnTo>
                    <a:lnTo>
                      <a:pt x="13118" y="860"/>
                    </a:lnTo>
                    <a:lnTo>
                      <a:pt x="13125" y="865"/>
                    </a:lnTo>
                    <a:lnTo>
                      <a:pt x="13133" y="870"/>
                    </a:lnTo>
                    <a:lnTo>
                      <a:pt x="13140" y="874"/>
                    </a:lnTo>
                    <a:lnTo>
                      <a:pt x="13149" y="878"/>
                    </a:lnTo>
                    <a:lnTo>
                      <a:pt x="13159" y="880"/>
                    </a:lnTo>
                    <a:lnTo>
                      <a:pt x="13169" y="883"/>
                    </a:lnTo>
                    <a:lnTo>
                      <a:pt x="13178" y="884"/>
                    </a:lnTo>
                    <a:lnTo>
                      <a:pt x="13190" y="885"/>
                    </a:lnTo>
                    <a:lnTo>
                      <a:pt x="13200" y="884"/>
                    </a:lnTo>
                    <a:lnTo>
                      <a:pt x="13211" y="883"/>
                    </a:lnTo>
                    <a:lnTo>
                      <a:pt x="13221" y="880"/>
                    </a:lnTo>
                    <a:lnTo>
                      <a:pt x="13229" y="877"/>
                    </a:lnTo>
                    <a:lnTo>
                      <a:pt x="13239" y="873"/>
                    </a:lnTo>
                    <a:lnTo>
                      <a:pt x="13247" y="869"/>
                    </a:lnTo>
                    <a:lnTo>
                      <a:pt x="13255" y="863"/>
                    </a:lnTo>
                    <a:lnTo>
                      <a:pt x="13263" y="857"/>
                    </a:lnTo>
                    <a:lnTo>
                      <a:pt x="13270" y="850"/>
                    </a:lnTo>
                    <a:lnTo>
                      <a:pt x="13277" y="842"/>
                    </a:lnTo>
                    <a:lnTo>
                      <a:pt x="13284" y="835"/>
                    </a:lnTo>
                    <a:lnTo>
                      <a:pt x="13289" y="826"/>
                    </a:lnTo>
                    <a:lnTo>
                      <a:pt x="13300" y="808"/>
                    </a:lnTo>
                    <a:lnTo>
                      <a:pt x="13310" y="788"/>
                    </a:lnTo>
                    <a:lnTo>
                      <a:pt x="13318" y="768"/>
                    </a:lnTo>
                    <a:lnTo>
                      <a:pt x="13325" y="747"/>
                    </a:lnTo>
                    <a:lnTo>
                      <a:pt x="13331" y="725"/>
                    </a:lnTo>
                    <a:lnTo>
                      <a:pt x="13336" y="703"/>
                    </a:lnTo>
                    <a:lnTo>
                      <a:pt x="13339" y="682"/>
                    </a:lnTo>
                    <a:lnTo>
                      <a:pt x="13341" y="661"/>
                    </a:lnTo>
                    <a:lnTo>
                      <a:pt x="13342" y="643"/>
                    </a:lnTo>
                    <a:lnTo>
                      <a:pt x="13343" y="624"/>
                    </a:lnTo>
                    <a:lnTo>
                      <a:pt x="13342" y="607"/>
                    </a:lnTo>
                    <a:lnTo>
                      <a:pt x="13341" y="587"/>
                    </a:lnTo>
                    <a:lnTo>
                      <a:pt x="13340" y="566"/>
                    </a:lnTo>
                    <a:lnTo>
                      <a:pt x="13337" y="545"/>
                    </a:lnTo>
                    <a:lnTo>
                      <a:pt x="13333" y="522"/>
                    </a:lnTo>
                    <a:lnTo>
                      <a:pt x="13328" y="500"/>
                    </a:lnTo>
                    <a:lnTo>
                      <a:pt x="13322" y="479"/>
                    </a:lnTo>
                    <a:lnTo>
                      <a:pt x="13314" y="458"/>
                    </a:lnTo>
                    <a:lnTo>
                      <a:pt x="13305" y="437"/>
                    </a:lnTo>
                    <a:lnTo>
                      <a:pt x="13295" y="419"/>
                    </a:lnTo>
                    <a:lnTo>
                      <a:pt x="13288" y="410"/>
                    </a:lnTo>
                    <a:lnTo>
                      <a:pt x="13283" y="403"/>
                    </a:lnTo>
                    <a:lnTo>
                      <a:pt x="13275" y="395"/>
                    </a:lnTo>
                    <a:lnTo>
                      <a:pt x="13268" y="388"/>
                    </a:lnTo>
                    <a:lnTo>
                      <a:pt x="13261" y="382"/>
                    </a:lnTo>
                    <a:lnTo>
                      <a:pt x="13252" y="376"/>
                    </a:lnTo>
                    <a:lnTo>
                      <a:pt x="13244" y="371"/>
                    </a:lnTo>
                    <a:lnTo>
                      <a:pt x="13235" y="367"/>
                    </a:lnTo>
                    <a:lnTo>
                      <a:pt x="13225" y="364"/>
                    </a:lnTo>
                    <a:lnTo>
                      <a:pt x="13214" y="361"/>
                    </a:lnTo>
                    <a:lnTo>
                      <a:pt x="13203" y="360"/>
                    </a:lnTo>
                    <a:lnTo>
                      <a:pt x="13193" y="359"/>
                    </a:lnTo>
                    <a:close/>
                    <a:moveTo>
                      <a:pt x="13344" y="947"/>
                    </a:moveTo>
                    <a:lnTo>
                      <a:pt x="13344" y="836"/>
                    </a:lnTo>
                    <a:lnTo>
                      <a:pt x="13341" y="836"/>
                    </a:lnTo>
                    <a:lnTo>
                      <a:pt x="13337" y="850"/>
                    </a:lnTo>
                    <a:lnTo>
                      <a:pt x="13331" y="863"/>
                    </a:lnTo>
                    <a:lnTo>
                      <a:pt x="13324" y="876"/>
                    </a:lnTo>
                    <a:lnTo>
                      <a:pt x="13316" y="888"/>
                    </a:lnTo>
                    <a:lnTo>
                      <a:pt x="13308" y="899"/>
                    </a:lnTo>
                    <a:lnTo>
                      <a:pt x="13299" y="910"/>
                    </a:lnTo>
                    <a:lnTo>
                      <a:pt x="13288" y="918"/>
                    </a:lnTo>
                    <a:lnTo>
                      <a:pt x="13277" y="927"/>
                    </a:lnTo>
                    <a:lnTo>
                      <a:pt x="13266" y="936"/>
                    </a:lnTo>
                    <a:lnTo>
                      <a:pt x="13254" y="942"/>
                    </a:lnTo>
                    <a:lnTo>
                      <a:pt x="13241" y="948"/>
                    </a:lnTo>
                    <a:lnTo>
                      <a:pt x="13228" y="953"/>
                    </a:lnTo>
                    <a:lnTo>
                      <a:pt x="13214" y="958"/>
                    </a:lnTo>
                    <a:lnTo>
                      <a:pt x="13200" y="960"/>
                    </a:lnTo>
                    <a:lnTo>
                      <a:pt x="13186" y="962"/>
                    </a:lnTo>
                    <a:lnTo>
                      <a:pt x="13172" y="962"/>
                    </a:lnTo>
                    <a:lnTo>
                      <a:pt x="13155" y="962"/>
                    </a:lnTo>
                    <a:lnTo>
                      <a:pt x="13138" y="960"/>
                    </a:lnTo>
                    <a:lnTo>
                      <a:pt x="13123" y="958"/>
                    </a:lnTo>
                    <a:lnTo>
                      <a:pt x="13109" y="954"/>
                    </a:lnTo>
                    <a:lnTo>
                      <a:pt x="13095" y="950"/>
                    </a:lnTo>
                    <a:lnTo>
                      <a:pt x="13082" y="945"/>
                    </a:lnTo>
                    <a:lnTo>
                      <a:pt x="13070" y="938"/>
                    </a:lnTo>
                    <a:lnTo>
                      <a:pt x="13058" y="931"/>
                    </a:lnTo>
                    <a:lnTo>
                      <a:pt x="13047" y="924"/>
                    </a:lnTo>
                    <a:lnTo>
                      <a:pt x="13037" y="915"/>
                    </a:lnTo>
                    <a:lnTo>
                      <a:pt x="13028" y="907"/>
                    </a:lnTo>
                    <a:lnTo>
                      <a:pt x="13019" y="897"/>
                    </a:lnTo>
                    <a:lnTo>
                      <a:pt x="13011" y="886"/>
                    </a:lnTo>
                    <a:lnTo>
                      <a:pt x="13004" y="875"/>
                    </a:lnTo>
                    <a:lnTo>
                      <a:pt x="12996" y="863"/>
                    </a:lnTo>
                    <a:lnTo>
                      <a:pt x="12991" y="851"/>
                    </a:lnTo>
                    <a:lnTo>
                      <a:pt x="12984" y="839"/>
                    </a:lnTo>
                    <a:lnTo>
                      <a:pt x="12979" y="826"/>
                    </a:lnTo>
                    <a:lnTo>
                      <a:pt x="12974" y="813"/>
                    </a:lnTo>
                    <a:lnTo>
                      <a:pt x="12970" y="800"/>
                    </a:lnTo>
                    <a:lnTo>
                      <a:pt x="12964" y="772"/>
                    </a:lnTo>
                    <a:lnTo>
                      <a:pt x="12958" y="744"/>
                    </a:lnTo>
                    <a:lnTo>
                      <a:pt x="12954" y="714"/>
                    </a:lnTo>
                    <a:lnTo>
                      <a:pt x="12951" y="685"/>
                    </a:lnTo>
                    <a:lnTo>
                      <a:pt x="12949" y="656"/>
                    </a:lnTo>
                    <a:lnTo>
                      <a:pt x="12949" y="627"/>
                    </a:lnTo>
                    <a:lnTo>
                      <a:pt x="12949" y="600"/>
                    </a:lnTo>
                    <a:lnTo>
                      <a:pt x="12952" y="572"/>
                    </a:lnTo>
                    <a:lnTo>
                      <a:pt x="12954" y="543"/>
                    </a:lnTo>
                    <a:lnTo>
                      <a:pt x="12959" y="513"/>
                    </a:lnTo>
                    <a:lnTo>
                      <a:pt x="12965" y="484"/>
                    </a:lnTo>
                    <a:lnTo>
                      <a:pt x="12972" y="456"/>
                    </a:lnTo>
                    <a:lnTo>
                      <a:pt x="12977" y="442"/>
                    </a:lnTo>
                    <a:lnTo>
                      <a:pt x="12982" y="428"/>
                    </a:lnTo>
                    <a:lnTo>
                      <a:pt x="12987" y="415"/>
                    </a:lnTo>
                    <a:lnTo>
                      <a:pt x="12993" y="402"/>
                    </a:lnTo>
                    <a:lnTo>
                      <a:pt x="12999" y="389"/>
                    </a:lnTo>
                    <a:lnTo>
                      <a:pt x="13007" y="377"/>
                    </a:lnTo>
                    <a:lnTo>
                      <a:pt x="13015" y="365"/>
                    </a:lnTo>
                    <a:lnTo>
                      <a:pt x="13022" y="354"/>
                    </a:lnTo>
                    <a:lnTo>
                      <a:pt x="13031" y="343"/>
                    </a:lnTo>
                    <a:lnTo>
                      <a:pt x="13041" y="333"/>
                    </a:lnTo>
                    <a:lnTo>
                      <a:pt x="13050" y="323"/>
                    </a:lnTo>
                    <a:lnTo>
                      <a:pt x="13061" y="316"/>
                    </a:lnTo>
                    <a:lnTo>
                      <a:pt x="13072" y="308"/>
                    </a:lnTo>
                    <a:lnTo>
                      <a:pt x="13084" y="301"/>
                    </a:lnTo>
                    <a:lnTo>
                      <a:pt x="13097" y="295"/>
                    </a:lnTo>
                    <a:lnTo>
                      <a:pt x="13110" y="290"/>
                    </a:lnTo>
                    <a:lnTo>
                      <a:pt x="13124" y="287"/>
                    </a:lnTo>
                    <a:lnTo>
                      <a:pt x="13138" y="283"/>
                    </a:lnTo>
                    <a:lnTo>
                      <a:pt x="13155" y="282"/>
                    </a:lnTo>
                    <a:lnTo>
                      <a:pt x="13171" y="281"/>
                    </a:lnTo>
                    <a:lnTo>
                      <a:pt x="13186" y="282"/>
                    </a:lnTo>
                    <a:lnTo>
                      <a:pt x="13201" y="283"/>
                    </a:lnTo>
                    <a:lnTo>
                      <a:pt x="13215" y="285"/>
                    </a:lnTo>
                    <a:lnTo>
                      <a:pt x="13229" y="289"/>
                    </a:lnTo>
                    <a:lnTo>
                      <a:pt x="13242" y="293"/>
                    </a:lnTo>
                    <a:lnTo>
                      <a:pt x="13254" y="298"/>
                    </a:lnTo>
                    <a:lnTo>
                      <a:pt x="13266" y="305"/>
                    </a:lnTo>
                    <a:lnTo>
                      <a:pt x="13277" y="313"/>
                    </a:lnTo>
                    <a:lnTo>
                      <a:pt x="13288" y="320"/>
                    </a:lnTo>
                    <a:lnTo>
                      <a:pt x="13298" y="330"/>
                    </a:lnTo>
                    <a:lnTo>
                      <a:pt x="13306" y="340"/>
                    </a:lnTo>
                    <a:lnTo>
                      <a:pt x="13315" y="351"/>
                    </a:lnTo>
                    <a:lnTo>
                      <a:pt x="13323" y="363"/>
                    </a:lnTo>
                    <a:lnTo>
                      <a:pt x="13329" y="376"/>
                    </a:lnTo>
                    <a:lnTo>
                      <a:pt x="13336" y="389"/>
                    </a:lnTo>
                    <a:lnTo>
                      <a:pt x="13341" y="403"/>
                    </a:lnTo>
                    <a:lnTo>
                      <a:pt x="13344" y="403"/>
                    </a:lnTo>
                    <a:lnTo>
                      <a:pt x="13344" y="4"/>
                    </a:lnTo>
                    <a:lnTo>
                      <a:pt x="13437" y="4"/>
                    </a:lnTo>
                    <a:lnTo>
                      <a:pt x="13437" y="947"/>
                    </a:lnTo>
                    <a:lnTo>
                      <a:pt x="13344" y="947"/>
                    </a:lnTo>
                    <a:close/>
                    <a:moveTo>
                      <a:pt x="12639" y="359"/>
                    </a:moveTo>
                    <a:lnTo>
                      <a:pt x="12625" y="360"/>
                    </a:lnTo>
                    <a:lnTo>
                      <a:pt x="12612" y="361"/>
                    </a:lnTo>
                    <a:lnTo>
                      <a:pt x="12599" y="365"/>
                    </a:lnTo>
                    <a:lnTo>
                      <a:pt x="12587" y="369"/>
                    </a:lnTo>
                    <a:lnTo>
                      <a:pt x="12576" y="373"/>
                    </a:lnTo>
                    <a:lnTo>
                      <a:pt x="12565" y="380"/>
                    </a:lnTo>
                    <a:lnTo>
                      <a:pt x="12557" y="386"/>
                    </a:lnTo>
                    <a:lnTo>
                      <a:pt x="12547" y="394"/>
                    </a:lnTo>
                    <a:lnTo>
                      <a:pt x="12539" y="403"/>
                    </a:lnTo>
                    <a:lnTo>
                      <a:pt x="12532" y="412"/>
                    </a:lnTo>
                    <a:lnTo>
                      <a:pt x="12525" y="422"/>
                    </a:lnTo>
                    <a:lnTo>
                      <a:pt x="12519" y="433"/>
                    </a:lnTo>
                    <a:lnTo>
                      <a:pt x="12513" y="445"/>
                    </a:lnTo>
                    <a:lnTo>
                      <a:pt x="12509" y="457"/>
                    </a:lnTo>
                    <a:lnTo>
                      <a:pt x="12506" y="469"/>
                    </a:lnTo>
                    <a:lnTo>
                      <a:pt x="12502" y="482"/>
                    </a:lnTo>
                    <a:lnTo>
                      <a:pt x="12764" y="482"/>
                    </a:lnTo>
                    <a:lnTo>
                      <a:pt x="12763" y="469"/>
                    </a:lnTo>
                    <a:lnTo>
                      <a:pt x="12761" y="457"/>
                    </a:lnTo>
                    <a:lnTo>
                      <a:pt x="12759" y="445"/>
                    </a:lnTo>
                    <a:lnTo>
                      <a:pt x="12754" y="433"/>
                    </a:lnTo>
                    <a:lnTo>
                      <a:pt x="12749" y="422"/>
                    </a:lnTo>
                    <a:lnTo>
                      <a:pt x="12743" y="412"/>
                    </a:lnTo>
                    <a:lnTo>
                      <a:pt x="12736" y="403"/>
                    </a:lnTo>
                    <a:lnTo>
                      <a:pt x="12728" y="394"/>
                    </a:lnTo>
                    <a:lnTo>
                      <a:pt x="12719" y="386"/>
                    </a:lnTo>
                    <a:lnTo>
                      <a:pt x="12710" y="380"/>
                    </a:lnTo>
                    <a:lnTo>
                      <a:pt x="12700" y="373"/>
                    </a:lnTo>
                    <a:lnTo>
                      <a:pt x="12688" y="369"/>
                    </a:lnTo>
                    <a:lnTo>
                      <a:pt x="12677" y="365"/>
                    </a:lnTo>
                    <a:lnTo>
                      <a:pt x="12665" y="361"/>
                    </a:lnTo>
                    <a:lnTo>
                      <a:pt x="12652" y="360"/>
                    </a:lnTo>
                    <a:lnTo>
                      <a:pt x="12639" y="359"/>
                    </a:lnTo>
                    <a:close/>
                    <a:moveTo>
                      <a:pt x="12496" y="560"/>
                    </a:moveTo>
                    <a:lnTo>
                      <a:pt x="12496" y="598"/>
                    </a:lnTo>
                    <a:lnTo>
                      <a:pt x="12496" y="625"/>
                    </a:lnTo>
                    <a:lnTo>
                      <a:pt x="12499" y="651"/>
                    </a:lnTo>
                    <a:lnTo>
                      <a:pt x="12504" y="677"/>
                    </a:lnTo>
                    <a:lnTo>
                      <a:pt x="12509" y="703"/>
                    </a:lnTo>
                    <a:lnTo>
                      <a:pt x="12517" y="727"/>
                    </a:lnTo>
                    <a:lnTo>
                      <a:pt x="12526" y="751"/>
                    </a:lnTo>
                    <a:lnTo>
                      <a:pt x="12532" y="763"/>
                    </a:lnTo>
                    <a:lnTo>
                      <a:pt x="12538" y="774"/>
                    </a:lnTo>
                    <a:lnTo>
                      <a:pt x="12545" y="785"/>
                    </a:lnTo>
                    <a:lnTo>
                      <a:pt x="12551" y="795"/>
                    </a:lnTo>
                    <a:lnTo>
                      <a:pt x="12559" y="804"/>
                    </a:lnTo>
                    <a:lnTo>
                      <a:pt x="12566" y="814"/>
                    </a:lnTo>
                    <a:lnTo>
                      <a:pt x="12574" y="823"/>
                    </a:lnTo>
                    <a:lnTo>
                      <a:pt x="12583" y="832"/>
                    </a:lnTo>
                    <a:lnTo>
                      <a:pt x="12592" y="839"/>
                    </a:lnTo>
                    <a:lnTo>
                      <a:pt x="12602" y="847"/>
                    </a:lnTo>
                    <a:lnTo>
                      <a:pt x="12612" y="853"/>
                    </a:lnTo>
                    <a:lnTo>
                      <a:pt x="12623" y="860"/>
                    </a:lnTo>
                    <a:lnTo>
                      <a:pt x="12634" y="865"/>
                    </a:lnTo>
                    <a:lnTo>
                      <a:pt x="12646" y="871"/>
                    </a:lnTo>
                    <a:lnTo>
                      <a:pt x="12658" y="874"/>
                    </a:lnTo>
                    <a:lnTo>
                      <a:pt x="12671" y="878"/>
                    </a:lnTo>
                    <a:lnTo>
                      <a:pt x="12684" y="880"/>
                    </a:lnTo>
                    <a:lnTo>
                      <a:pt x="12698" y="883"/>
                    </a:lnTo>
                    <a:lnTo>
                      <a:pt x="12712" y="884"/>
                    </a:lnTo>
                    <a:lnTo>
                      <a:pt x="12727" y="885"/>
                    </a:lnTo>
                    <a:lnTo>
                      <a:pt x="12743" y="884"/>
                    </a:lnTo>
                    <a:lnTo>
                      <a:pt x="12760" y="883"/>
                    </a:lnTo>
                    <a:lnTo>
                      <a:pt x="12776" y="882"/>
                    </a:lnTo>
                    <a:lnTo>
                      <a:pt x="12791" y="879"/>
                    </a:lnTo>
                    <a:lnTo>
                      <a:pt x="12823" y="874"/>
                    </a:lnTo>
                    <a:lnTo>
                      <a:pt x="12855" y="866"/>
                    </a:lnTo>
                    <a:lnTo>
                      <a:pt x="12855" y="943"/>
                    </a:lnTo>
                    <a:lnTo>
                      <a:pt x="12837" y="948"/>
                    </a:lnTo>
                    <a:lnTo>
                      <a:pt x="12818" y="952"/>
                    </a:lnTo>
                    <a:lnTo>
                      <a:pt x="12800" y="955"/>
                    </a:lnTo>
                    <a:lnTo>
                      <a:pt x="12781" y="959"/>
                    </a:lnTo>
                    <a:lnTo>
                      <a:pt x="12763" y="960"/>
                    </a:lnTo>
                    <a:lnTo>
                      <a:pt x="12744" y="962"/>
                    </a:lnTo>
                    <a:lnTo>
                      <a:pt x="12725" y="962"/>
                    </a:lnTo>
                    <a:lnTo>
                      <a:pt x="12706" y="962"/>
                    </a:lnTo>
                    <a:lnTo>
                      <a:pt x="12686" y="962"/>
                    </a:lnTo>
                    <a:lnTo>
                      <a:pt x="12665" y="961"/>
                    </a:lnTo>
                    <a:lnTo>
                      <a:pt x="12646" y="959"/>
                    </a:lnTo>
                    <a:lnTo>
                      <a:pt x="12627" y="955"/>
                    </a:lnTo>
                    <a:lnTo>
                      <a:pt x="12610" y="951"/>
                    </a:lnTo>
                    <a:lnTo>
                      <a:pt x="12592" y="947"/>
                    </a:lnTo>
                    <a:lnTo>
                      <a:pt x="12577" y="941"/>
                    </a:lnTo>
                    <a:lnTo>
                      <a:pt x="12561" y="935"/>
                    </a:lnTo>
                    <a:lnTo>
                      <a:pt x="12547" y="928"/>
                    </a:lnTo>
                    <a:lnTo>
                      <a:pt x="12533" y="921"/>
                    </a:lnTo>
                    <a:lnTo>
                      <a:pt x="12519" y="912"/>
                    </a:lnTo>
                    <a:lnTo>
                      <a:pt x="12507" y="903"/>
                    </a:lnTo>
                    <a:lnTo>
                      <a:pt x="12495" y="893"/>
                    </a:lnTo>
                    <a:lnTo>
                      <a:pt x="12483" y="883"/>
                    </a:lnTo>
                    <a:lnTo>
                      <a:pt x="12473" y="872"/>
                    </a:lnTo>
                    <a:lnTo>
                      <a:pt x="12463" y="860"/>
                    </a:lnTo>
                    <a:lnTo>
                      <a:pt x="12454" y="848"/>
                    </a:lnTo>
                    <a:lnTo>
                      <a:pt x="12445" y="835"/>
                    </a:lnTo>
                    <a:lnTo>
                      <a:pt x="12437" y="821"/>
                    </a:lnTo>
                    <a:lnTo>
                      <a:pt x="12430" y="807"/>
                    </a:lnTo>
                    <a:lnTo>
                      <a:pt x="12423" y="793"/>
                    </a:lnTo>
                    <a:lnTo>
                      <a:pt x="12417" y="777"/>
                    </a:lnTo>
                    <a:lnTo>
                      <a:pt x="12411" y="762"/>
                    </a:lnTo>
                    <a:lnTo>
                      <a:pt x="12407" y="746"/>
                    </a:lnTo>
                    <a:lnTo>
                      <a:pt x="12403" y="728"/>
                    </a:lnTo>
                    <a:lnTo>
                      <a:pt x="12399" y="711"/>
                    </a:lnTo>
                    <a:lnTo>
                      <a:pt x="12396" y="694"/>
                    </a:lnTo>
                    <a:lnTo>
                      <a:pt x="12393" y="676"/>
                    </a:lnTo>
                    <a:lnTo>
                      <a:pt x="12392" y="658"/>
                    </a:lnTo>
                    <a:lnTo>
                      <a:pt x="12390" y="638"/>
                    </a:lnTo>
                    <a:lnTo>
                      <a:pt x="12390" y="620"/>
                    </a:lnTo>
                    <a:lnTo>
                      <a:pt x="12389" y="600"/>
                    </a:lnTo>
                    <a:lnTo>
                      <a:pt x="12390" y="569"/>
                    </a:lnTo>
                    <a:lnTo>
                      <a:pt x="12392" y="537"/>
                    </a:lnTo>
                    <a:lnTo>
                      <a:pt x="12396" y="508"/>
                    </a:lnTo>
                    <a:lnTo>
                      <a:pt x="12402" y="479"/>
                    </a:lnTo>
                    <a:lnTo>
                      <a:pt x="12405" y="465"/>
                    </a:lnTo>
                    <a:lnTo>
                      <a:pt x="12409" y="450"/>
                    </a:lnTo>
                    <a:lnTo>
                      <a:pt x="12413" y="437"/>
                    </a:lnTo>
                    <a:lnTo>
                      <a:pt x="12419" y="424"/>
                    </a:lnTo>
                    <a:lnTo>
                      <a:pt x="12424" y="412"/>
                    </a:lnTo>
                    <a:lnTo>
                      <a:pt x="12431" y="399"/>
                    </a:lnTo>
                    <a:lnTo>
                      <a:pt x="12437" y="389"/>
                    </a:lnTo>
                    <a:lnTo>
                      <a:pt x="12444" y="377"/>
                    </a:lnTo>
                    <a:lnTo>
                      <a:pt x="12453" y="366"/>
                    </a:lnTo>
                    <a:lnTo>
                      <a:pt x="12460" y="356"/>
                    </a:lnTo>
                    <a:lnTo>
                      <a:pt x="12469" y="346"/>
                    </a:lnTo>
                    <a:lnTo>
                      <a:pt x="12479" y="338"/>
                    </a:lnTo>
                    <a:lnTo>
                      <a:pt x="12488" y="329"/>
                    </a:lnTo>
                    <a:lnTo>
                      <a:pt x="12499" y="321"/>
                    </a:lnTo>
                    <a:lnTo>
                      <a:pt x="12511" y="314"/>
                    </a:lnTo>
                    <a:lnTo>
                      <a:pt x="12523" y="307"/>
                    </a:lnTo>
                    <a:lnTo>
                      <a:pt x="12535" y="302"/>
                    </a:lnTo>
                    <a:lnTo>
                      <a:pt x="12549" y="296"/>
                    </a:lnTo>
                    <a:lnTo>
                      <a:pt x="12562" y="292"/>
                    </a:lnTo>
                    <a:lnTo>
                      <a:pt x="12577" y="288"/>
                    </a:lnTo>
                    <a:lnTo>
                      <a:pt x="12592" y="285"/>
                    </a:lnTo>
                    <a:lnTo>
                      <a:pt x="12609" y="283"/>
                    </a:lnTo>
                    <a:lnTo>
                      <a:pt x="12626" y="282"/>
                    </a:lnTo>
                    <a:lnTo>
                      <a:pt x="12643" y="281"/>
                    </a:lnTo>
                    <a:lnTo>
                      <a:pt x="12658" y="281"/>
                    </a:lnTo>
                    <a:lnTo>
                      <a:pt x="12671" y="282"/>
                    </a:lnTo>
                    <a:lnTo>
                      <a:pt x="12684" y="284"/>
                    </a:lnTo>
                    <a:lnTo>
                      <a:pt x="12697" y="285"/>
                    </a:lnTo>
                    <a:lnTo>
                      <a:pt x="12709" y="289"/>
                    </a:lnTo>
                    <a:lnTo>
                      <a:pt x="12721" y="292"/>
                    </a:lnTo>
                    <a:lnTo>
                      <a:pt x="12731" y="295"/>
                    </a:lnTo>
                    <a:lnTo>
                      <a:pt x="12742" y="300"/>
                    </a:lnTo>
                    <a:lnTo>
                      <a:pt x="12753" y="305"/>
                    </a:lnTo>
                    <a:lnTo>
                      <a:pt x="12763" y="309"/>
                    </a:lnTo>
                    <a:lnTo>
                      <a:pt x="12773" y="316"/>
                    </a:lnTo>
                    <a:lnTo>
                      <a:pt x="12781" y="321"/>
                    </a:lnTo>
                    <a:lnTo>
                      <a:pt x="12790" y="329"/>
                    </a:lnTo>
                    <a:lnTo>
                      <a:pt x="12799" y="335"/>
                    </a:lnTo>
                    <a:lnTo>
                      <a:pt x="12806" y="343"/>
                    </a:lnTo>
                    <a:lnTo>
                      <a:pt x="12814" y="352"/>
                    </a:lnTo>
                    <a:lnTo>
                      <a:pt x="12820" y="359"/>
                    </a:lnTo>
                    <a:lnTo>
                      <a:pt x="12827" y="368"/>
                    </a:lnTo>
                    <a:lnTo>
                      <a:pt x="12832" y="378"/>
                    </a:lnTo>
                    <a:lnTo>
                      <a:pt x="12838" y="388"/>
                    </a:lnTo>
                    <a:lnTo>
                      <a:pt x="12847" y="408"/>
                    </a:lnTo>
                    <a:lnTo>
                      <a:pt x="12856" y="430"/>
                    </a:lnTo>
                    <a:lnTo>
                      <a:pt x="12862" y="453"/>
                    </a:lnTo>
                    <a:lnTo>
                      <a:pt x="12866" y="477"/>
                    </a:lnTo>
                    <a:lnTo>
                      <a:pt x="12869" y="503"/>
                    </a:lnTo>
                    <a:lnTo>
                      <a:pt x="12870" y="529"/>
                    </a:lnTo>
                    <a:lnTo>
                      <a:pt x="12870" y="560"/>
                    </a:lnTo>
                    <a:lnTo>
                      <a:pt x="12496" y="560"/>
                    </a:lnTo>
                    <a:close/>
                    <a:moveTo>
                      <a:pt x="12132" y="677"/>
                    </a:moveTo>
                    <a:lnTo>
                      <a:pt x="12132" y="947"/>
                    </a:lnTo>
                    <a:lnTo>
                      <a:pt x="12040" y="947"/>
                    </a:lnTo>
                    <a:lnTo>
                      <a:pt x="12040" y="296"/>
                    </a:lnTo>
                    <a:lnTo>
                      <a:pt x="12132" y="296"/>
                    </a:lnTo>
                    <a:lnTo>
                      <a:pt x="12132" y="422"/>
                    </a:lnTo>
                    <a:lnTo>
                      <a:pt x="12136" y="422"/>
                    </a:lnTo>
                    <a:lnTo>
                      <a:pt x="12143" y="405"/>
                    </a:lnTo>
                    <a:lnTo>
                      <a:pt x="12152" y="389"/>
                    </a:lnTo>
                    <a:lnTo>
                      <a:pt x="12162" y="374"/>
                    </a:lnTo>
                    <a:lnTo>
                      <a:pt x="12171" y="360"/>
                    </a:lnTo>
                    <a:lnTo>
                      <a:pt x="12183" y="347"/>
                    </a:lnTo>
                    <a:lnTo>
                      <a:pt x="12194" y="336"/>
                    </a:lnTo>
                    <a:lnTo>
                      <a:pt x="12207" y="326"/>
                    </a:lnTo>
                    <a:lnTo>
                      <a:pt x="12220" y="316"/>
                    </a:lnTo>
                    <a:lnTo>
                      <a:pt x="12234" y="308"/>
                    </a:lnTo>
                    <a:lnTo>
                      <a:pt x="12249" y="301"/>
                    </a:lnTo>
                    <a:lnTo>
                      <a:pt x="12265" y="295"/>
                    </a:lnTo>
                    <a:lnTo>
                      <a:pt x="12281" y="290"/>
                    </a:lnTo>
                    <a:lnTo>
                      <a:pt x="12297" y="287"/>
                    </a:lnTo>
                    <a:lnTo>
                      <a:pt x="12315" y="283"/>
                    </a:lnTo>
                    <a:lnTo>
                      <a:pt x="12333" y="282"/>
                    </a:lnTo>
                    <a:lnTo>
                      <a:pt x="12353" y="281"/>
                    </a:lnTo>
                    <a:lnTo>
                      <a:pt x="12353" y="381"/>
                    </a:lnTo>
                    <a:lnTo>
                      <a:pt x="12338" y="382"/>
                    </a:lnTo>
                    <a:lnTo>
                      <a:pt x="12322" y="383"/>
                    </a:lnTo>
                    <a:lnTo>
                      <a:pt x="12308" y="385"/>
                    </a:lnTo>
                    <a:lnTo>
                      <a:pt x="12295" y="389"/>
                    </a:lnTo>
                    <a:lnTo>
                      <a:pt x="12282" y="392"/>
                    </a:lnTo>
                    <a:lnTo>
                      <a:pt x="12270" y="396"/>
                    </a:lnTo>
                    <a:lnTo>
                      <a:pt x="12258" y="402"/>
                    </a:lnTo>
                    <a:lnTo>
                      <a:pt x="12247" y="407"/>
                    </a:lnTo>
                    <a:lnTo>
                      <a:pt x="12237" y="415"/>
                    </a:lnTo>
                    <a:lnTo>
                      <a:pt x="12227" y="421"/>
                    </a:lnTo>
                    <a:lnTo>
                      <a:pt x="12218" y="429"/>
                    </a:lnTo>
                    <a:lnTo>
                      <a:pt x="12209" y="437"/>
                    </a:lnTo>
                    <a:lnTo>
                      <a:pt x="12201" y="446"/>
                    </a:lnTo>
                    <a:lnTo>
                      <a:pt x="12193" y="456"/>
                    </a:lnTo>
                    <a:lnTo>
                      <a:pt x="12187" y="466"/>
                    </a:lnTo>
                    <a:lnTo>
                      <a:pt x="12179" y="477"/>
                    </a:lnTo>
                    <a:lnTo>
                      <a:pt x="12174" y="487"/>
                    </a:lnTo>
                    <a:lnTo>
                      <a:pt x="12168" y="498"/>
                    </a:lnTo>
                    <a:lnTo>
                      <a:pt x="12163" y="510"/>
                    </a:lnTo>
                    <a:lnTo>
                      <a:pt x="12157" y="521"/>
                    </a:lnTo>
                    <a:lnTo>
                      <a:pt x="12150" y="546"/>
                    </a:lnTo>
                    <a:lnTo>
                      <a:pt x="12143" y="571"/>
                    </a:lnTo>
                    <a:lnTo>
                      <a:pt x="12139" y="598"/>
                    </a:lnTo>
                    <a:lnTo>
                      <a:pt x="12136" y="624"/>
                    </a:lnTo>
                    <a:lnTo>
                      <a:pt x="12134" y="651"/>
                    </a:lnTo>
                    <a:lnTo>
                      <a:pt x="12132" y="677"/>
                    </a:lnTo>
                    <a:close/>
                    <a:moveTo>
                      <a:pt x="11690" y="359"/>
                    </a:moveTo>
                    <a:lnTo>
                      <a:pt x="11676" y="360"/>
                    </a:lnTo>
                    <a:lnTo>
                      <a:pt x="11663" y="361"/>
                    </a:lnTo>
                    <a:lnTo>
                      <a:pt x="11650" y="365"/>
                    </a:lnTo>
                    <a:lnTo>
                      <a:pt x="11638" y="369"/>
                    </a:lnTo>
                    <a:lnTo>
                      <a:pt x="11627" y="373"/>
                    </a:lnTo>
                    <a:lnTo>
                      <a:pt x="11616" y="380"/>
                    </a:lnTo>
                    <a:lnTo>
                      <a:pt x="11606" y="386"/>
                    </a:lnTo>
                    <a:lnTo>
                      <a:pt x="11597" y="394"/>
                    </a:lnTo>
                    <a:lnTo>
                      <a:pt x="11589" y="403"/>
                    </a:lnTo>
                    <a:lnTo>
                      <a:pt x="11582" y="412"/>
                    </a:lnTo>
                    <a:lnTo>
                      <a:pt x="11575" y="422"/>
                    </a:lnTo>
                    <a:lnTo>
                      <a:pt x="11569" y="433"/>
                    </a:lnTo>
                    <a:lnTo>
                      <a:pt x="11564" y="445"/>
                    </a:lnTo>
                    <a:lnTo>
                      <a:pt x="11560" y="457"/>
                    </a:lnTo>
                    <a:lnTo>
                      <a:pt x="11555" y="469"/>
                    </a:lnTo>
                    <a:lnTo>
                      <a:pt x="11553" y="482"/>
                    </a:lnTo>
                    <a:lnTo>
                      <a:pt x="11813" y="482"/>
                    </a:lnTo>
                    <a:lnTo>
                      <a:pt x="11813" y="469"/>
                    </a:lnTo>
                    <a:lnTo>
                      <a:pt x="11811" y="457"/>
                    </a:lnTo>
                    <a:lnTo>
                      <a:pt x="11808" y="445"/>
                    </a:lnTo>
                    <a:lnTo>
                      <a:pt x="11805" y="433"/>
                    </a:lnTo>
                    <a:lnTo>
                      <a:pt x="11799" y="422"/>
                    </a:lnTo>
                    <a:lnTo>
                      <a:pt x="11793" y="412"/>
                    </a:lnTo>
                    <a:lnTo>
                      <a:pt x="11786" y="403"/>
                    </a:lnTo>
                    <a:lnTo>
                      <a:pt x="11779" y="394"/>
                    </a:lnTo>
                    <a:lnTo>
                      <a:pt x="11770" y="386"/>
                    </a:lnTo>
                    <a:lnTo>
                      <a:pt x="11760" y="380"/>
                    </a:lnTo>
                    <a:lnTo>
                      <a:pt x="11749" y="373"/>
                    </a:lnTo>
                    <a:lnTo>
                      <a:pt x="11739" y="369"/>
                    </a:lnTo>
                    <a:lnTo>
                      <a:pt x="11728" y="365"/>
                    </a:lnTo>
                    <a:lnTo>
                      <a:pt x="11715" y="361"/>
                    </a:lnTo>
                    <a:lnTo>
                      <a:pt x="11703" y="360"/>
                    </a:lnTo>
                    <a:lnTo>
                      <a:pt x="11690" y="359"/>
                    </a:lnTo>
                    <a:close/>
                    <a:moveTo>
                      <a:pt x="11545" y="560"/>
                    </a:moveTo>
                    <a:lnTo>
                      <a:pt x="11545" y="598"/>
                    </a:lnTo>
                    <a:lnTo>
                      <a:pt x="11546" y="625"/>
                    </a:lnTo>
                    <a:lnTo>
                      <a:pt x="11550" y="651"/>
                    </a:lnTo>
                    <a:lnTo>
                      <a:pt x="11553" y="677"/>
                    </a:lnTo>
                    <a:lnTo>
                      <a:pt x="11560" y="703"/>
                    </a:lnTo>
                    <a:lnTo>
                      <a:pt x="11567" y="727"/>
                    </a:lnTo>
                    <a:lnTo>
                      <a:pt x="11577" y="751"/>
                    </a:lnTo>
                    <a:lnTo>
                      <a:pt x="11582" y="763"/>
                    </a:lnTo>
                    <a:lnTo>
                      <a:pt x="11588" y="774"/>
                    </a:lnTo>
                    <a:lnTo>
                      <a:pt x="11594" y="785"/>
                    </a:lnTo>
                    <a:lnTo>
                      <a:pt x="11602" y="795"/>
                    </a:lnTo>
                    <a:lnTo>
                      <a:pt x="11608" y="804"/>
                    </a:lnTo>
                    <a:lnTo>
                      <a:pt x="11617" y="814"/>
                    </a:lnTo>
                    <a:lnTo>
                      <a:pt x="11625" y="823"/>
                    </a:lnTo>
                    <a:lnTo>
                      <a:pt x="11633" y="832"/>
                    </a:lnTo>
                    <a:lnTo>
                      <a:pt x="11643" y="839"/>
                    </a:lnTo>
                    <a:lnTo>
                      <a:pt x="11653" y="847"/>
                    </a:lnTo>
                    <a:lnTo>
                      <a:pt x="11663" y="853"/>
                    </a:lnTo>
                    <a:lnTo>
                      <a:pt x="11673" y="860"/>
                    </a:lnTo>
                    <a:lnTo>
                      <a:pt x="11684" y="865"/>
                    </a:lnTo>
                    <a:lnTo>
                      <a:pt x="11696" y="871"/>
                    </a:lnTo>
                    <a:lnTo>
                      <a:pt x="11708" y="874"/>
                    </a:lnTo>
                    <a:lnTo>
                      <a:pt x="11721" y="878"/>
                    </a:lnTo>
                    <a:lnTo>
                      <a:pt x="11734" y="880"/>
                    </a:lnTo>
                    <a:lnTo>
                      <a:pt x="11748" y="883"/>
                    </a:lnTo>
                    <a:lnTo>
                      <a:pt x="11762" y="884"/>
                    </a:lnTo>
                    <a:lnTo>
                      <a:pt x="11777" y="885"/>
                    </a:lnTo>
                    <a:lnTo>
                      <a:pt x="11794" y="884"/>
                    </a:lnTo>
                    <a:lnTo>
                      <a:pt x="11810" y="883"/>
                    </a:lnTo>
                    <a:lnTo>
                      <a:pt x="11825" y="882"/>
                    </a:lnTo>
                    <a:lnTo>
                      <a:pt x="11842" y="879"/>
                    </a:lnTo>
                    <a:lnTo>
                      <a:pt x="11873" y="874"/>
                    </a:lnTo>
                    <a:lnTo>
                      <a:pt x="11906" y="866"/>
                    </a:lnTo>
                    <a:lnTo>
                      <a:pt x="11906" y="943"/>
                    </a:lnTo>
                    <a:lnTo>
                      <a:pt x="11887" y="948"/>
                    </a:lnTo>
                    <a:lnTo>
                      <a:pt x="11869" y="952"/>
                    </a:lnTo>
                    <a:lnTo>
                      <a:pt x="11850" y="955"/>
                    </a:lnTo>
                    <a:lnTo>
                      <a:pt x="11832" y="959"/>
                    </a:lnTo>
                    <a:lnTo>
                      <a:pt x="11813" y="960"/>
                    </a:lnTo>
                    <a:lnTo>
                      <a:pt x="11794" y="962"/>
                    </a:lnTo>
                    <a:lnTo>
                      <a:pt x="11775" y="962"/>
                    </a:lnTo>
                    <a:lnTo>
                      <a:pt x="11756" y="962"/>
                    </a:lnTo>
                    <a:lnTo>
                      <a:pt x="11735" y="962"/>
                    </a:lnTo>
                    <a:lnTo>
                      <a:pt x="11716" y="961"/>
                    </a:lnTo>
                    <a:lnTo>
                      <a:pt x="11696" y="959"/>
                    </a:lnTo>
                    <a:lnTo>
                      <a:pt x="11678" y="955"/>
                    </a:lnTo>
                    <a:lnTo>
                      <a:pt x="11660" y="951"/>
                    </a:lnTo>
                    <a:lnTo>
                      <a:pt x="11643" y="947"/>
                    </a:lnTo>
                    <a:lnTo>
                      <a:pt x="11627" y="941"/>
                    </a:lnTo>
                    <a:lnTo>
                      <a:pt x="11612" y="935"/>
                    </a:lnTo>
                    <a:lnTo>
                      <a:pt x="11597" y="928"/>
                    </a:lnTo>
                    <a:lnTo>
                      <a:pt x="11583" y="921"/>
                    </a:lnTo>
                    <a:lnTo>
                      <a:pt x="11569" y="912"/>
                    </a:lnTo>
                    <a:lnTo>
                      <a:pt x="11557" y="903"/>
                    </a:lnTo>
                    <a:lnTo>
                      <a:pt x="11545" y="893"/>
                    </a:lnTo>
                    <a:lnTo>
                      <a:pt x="11533" y="883"/>
                    </a:lnTo>
                    <a:lnTo>
                      <a:pt x="11524" y="872"/>
                    </a:lnTo>
                    <a:lnTo>
                      <a:pt x="11513" y="860"/>
                    </a:lnTo>
                    <a:lnTo>
                      <a:pt x="11504" y="848"/>
                    </a:lnTo>
                    <a:lnTo>
                      <a:pt x="11495" y="835"/>
                    </a:lnTo>
                    <a:lnTo>
                      <a:pt x="11488" y="821"/>
                    </a:lnTo>
                    <a:lnTo>
                      <a:pt x="11480" y="807"/>
                    </a:lnTo>
                    <a:lnTo>
                      <a:pt x="11474" y="793"/>
                    </a:lnTo>
                    <a:lnTo>
                      <a:pt x="11467" y="777"/>
                    </a:lnTo>
                    <a:lnTo>
                      <a:pt x="11462" y="762"/>
                    </a:lnTo>
                    <a:lnTo>
                      <a:pt x="11458" y="746"/>
                    </a:lnTo>
                    <a:lnTo>
                      <a:pt x="11453" y="728"/>
                    </a:lnTo>
                    <a:lnTo>
                      <a:pt x="11449" y="711"/>
                    </a:lnTo>
                    <a:lnTo>
                      <a:pt x="11447" y="694"/>
                    </a:lnTo>
                    <a:lnTo>
                      <a:pt x="11443" y="676"/>
                    </a:lnTo>
                    <a:lnTo>
                      <a:pt x="11442" y="658"/>
                    </a:lnTo>
                    <a:lnTo>
                      <a:pt x="11440" y="638"/>
                    </a:lnTo>
                    <a:lnTo>
                      <a:pt x="11440" y="620"/>
                    </a:lnTo>
                    <a:lnTo>
                      <a:pt x="11439" y="600"/>
                    </a:lnTo>
                    <a:lnTo>
                      <a:pt x="11440" y="569"/>
                    </a:lnTo>
                    <a:lnTo>
                      <a:pt x="11442" y="537"/>
                    </a:lnTo>
                    <a:lnTo>
                      <a:pt x="11447" y="508"/>
                    </a:lnTo>
                    <a:lnTo>
                      <a:pt x="11452" y="479"/>
                    </a:lnTo>
                    <a:lnTo>
                      <a:pt x="11455" y="465"/>
                    </a:lnTo>
                    <a:lnTo>
                      <a:pt x="11460" y="450"/>
                    </a:lnTo>
                    <a:lnTo>
                      <a:pt x="11464" y="437"/>
                    </a:lnTo>
                    <a:lnTo>
                      <a:pt x="11469" y="424"/>
                    </a:lnTo>
                    <a:lnTo>
                      <a:pt x="11475" y="412"/>
                    </a:lnTo>
                    <a:lnTo>
                      <a:pt x="11481" y="399"/>
                    </a:lnTo>
                    <a:lnTo>
                      <a:pt x="11488" y="389"/>
                    </a:lnTo>
                    <a:lnTo>
                      <a:pt x="11494" y="377"/>
                    </a:lnTo>
                    <a:lnTo>
                      <a:pt x="11502" y="366"/>
                    </a:lnTo>
                    <a:lnTo>
                      <a:pt x="11511" y="356"/>
                    </a:lnTo>
                    <a:lnTo>
                      <a:pt x="11519" y="346"/>
                    </a:lnTo>
                    <a:lnTo>
                      <a:pt x="11529" y="338"/>
                    </a:lnTo>
                    <a:lnTo>
                      <a:pt x="11539" y="329"/>
                    </a:lnTo>
                    <a:lnTo>
                      <a:pt x="11550" y="321"/>
                    </a:lnTo>
                    <a:lnTo>
                      <a:pt x="11561" y="314"/>
                    </a:lnTo>
                    <a:lnTo>
                      <a:pt x="11573" y="307"/>
                    </a:lnTo>
                    <a:lnTo>
                      <a:pt x="11586" y="302"/>
                    </a:lnTo>
                    <a:lnTo>
                      <a:pt x="11599" y="296"/>
                    </a:lnTo>
                    <a:lnTo>
                      <a:pt x="11613" y="292"/>
                    </a:lnTo>
                    <a:lnTo>
                      <a:pt x="11628" y="288"/>
                    </a:lnTo>
                    <a:lnTo>
                      <a:pt x="11643" y="285"/>
                    </a:lnTo>
                    <a:lnTo>
                      <a:pt x="11659" y="283"/>
                    </a:lnTo>
                    <a:lnTo>
                      <a:pt x="11676" y="282"/>
                    </a:lnTo>
                    <a:lnTo>
                      <a:pt x="11693" y="281"/>
                    </a:lnTo>
                    <a:lnTo>
                      <a:pt x="11707" y="281"/>
                    </a:lnTo>
                    <a:lnTo>
                      <a:pt x="11721" y="282"/>
                    </a:lnTo>
                    <a:lnTo>
                      <a:pt x="11734" y="284"/>
                    </a:lnTo>
                    <a:lnTo>
                      <a:pt x="11747" y="285"/>
                    </a:lnTo>
                    <a:lnTo>
                      <a:pt x="11759" y="289"/>
                    </a:lnTo>
                    <a:lnTo>
                      <a:pt x="11771" y="292"/>
                    </a:lnTo>
                    <a:lnTo>
                      <a:pt x="11782" y="295"/>
                    </a:lnTo>
                    <a:lnTo>
                      <a:pt x="11793" y="300"/>
                    </a:lnTo>
                    <a:lnTo>
                      <a:pt x="11804" y="305"/>
                    </a:lnTo>
                    <a:lnTo>
                      <a:pt x="11813" y="309"/>
                    </a:lnTo>
                    <a:lnTo>
                      <a:pt x="11823" y="316"/>
                    </a:lnTo>
                    <a:lnTo>
                      <a:pt x="11832" y="321"/>
                    </a:lnTo>
                    <a:lnTo>
                      <a:pt x="11841" y="329"/>
                    </a:lnTo>
                    <a:lnTo>
                      <a:pt x="11849" y="335"/>
                    </a:lnTo>
                    <a:lnTo>
                      <a:pt x="11857" y="343"/>
                    </a:lnTo>
                    <a:lnTo>
                      <a:pt x="11863" y="352"/>
                    </a:lnTo>
                    <a:lnTo>
                      <a:pt x="11871" y="359"/>
                    </a:lnTo>
                    <a:lnTo>
                      <a:pt x="11877" y="368"/>
                    </a:lnTo>
                    <a:lnTo>
                      <a:pt x="11883" y="378"/>
                    </a:lnTo>
                    <a:lnTo>
                      <a:pt x="11888" y="388"/>
                    </a:lnTo>
                    <a:lnTo>
                      <a:pt x="11898" y="408"/>
                    </a:lnTo>
                    <a:lnTo>
                      <a:pt x="11907" y="430"/>
                    </a:lnTo>
                    <a:lnTo>
                      <a:pt x="11912" y="453"/>
                    </a:lnTo>
                    <a:lnTo>
                      <a:pt x="11917" y="477"/>
                    </a:lnTo>
                    <a:lnTo>
                      <a:pt x="11920" y="503"/>
                    </a:lnTo>
                    <a:lnTo>
                      <a:pt x="11921" y="529"/>
                    </a:lnTo>
                    <a:lnTo>
                      <a:pt x="11921" y="560"/>
                    </a:lnTo>
                    <a:lnTo>
                      <a:pt x="11545" y="560"/>
                    </a:lnTo>
                    <a:close/>
                    <a:moveTo>
                      <a:pt x="11199" y="947"/>
                    </a:moveTo>
                    <a:lnTo>
                      <a:pt x="11105" y="947"/>
                    </a:lnTo>
                    <a:lnTo>
                      <a:pt x="10859" y="296"/>
                    </a:lnTo>
                    <a:lnTo>
                      <a:pt x="10958" y="296"/>
                    </a:lnTo>
                    <a:lnTo>
                      <a:pt x="11150" y="811"/>
                    </a:lnTo>
                    <a:lnTo>
                      <a:pt x="11153" y="811"/>
                    </a:lnTo>
                    <a:lnTo>
                      <a:pt x="11320" y="296"/>
                    </a:lnTo>
                    <a:lnTo>
                      <a:pt x="11420" y="296"/>
                    </a:lnTo>
                    <a:lnTo>
                      <a:pt x="11199" y="947"/>
                    </a:lnTo>
                    <a:close/>
                    <a:moveTo>
                      <a:pt x="10693" y="947"/>
                    </a:moveTo>
                    <a:lnTo>
                      <a:pt x="10693" y="296"/>
                    </a:lnTo>
                    <a:lnTo>
                      <a:pt x="10785" y="296"/>
                    </a:lnTo>
                    <a:lnTo>
                      <a:pt x="10785" y="947"/>
                    </a:lnTo>
                    <a:lnTo>
                      <a:pt x="10693" y="947"/>
                    </a:lnTo>
                    <a:close/>
                    <a:moveTo>
                      <a:pt x="10677" y="127"/>
                    </a:moveTo>
                    <a:lnTo>
                      <a:pt x="10677" y="4"/>
                    </a:lnTo>
                    <a:lnTo>
                      <a:pt x="10800" y="4"/>
                    </a:lnTo>
                    <a:lnTo>
                      <a:pt x="10800" y="127"/>
                    </a:lnTo>
                    <a:lnTo>
                      <a:pt x="10677" y="127"/>
                    </a:lnTo>
                    <a:close/>
                    <a:moveTo>
                      <a:pt x="10434" y="947"/>
                    </a:moveTo>
                    <a:lnTo>
                      <a:pt x="10434" y="4"/>
                    </a:lnTo>
                    <a:lnTo>
                      <a:pt x="10527" y="4"/>
                    </a:lnTo>
                    <a:lnTo>
                      <a:pt x="10527" y="947"/>
                    </a:lnTo>
                    <a:lnTo>
                      <a:pt x="10434" y="947"/>
                    </a:lnTo>
                    <a:close/>
                    <a:moveTo>
                      <a:pt x="10082" y="359"/>
                    </a:moveTo>
                    <a:lnTo>
                      <a:pt x="10068" y="360"/>
                    </a:lnTo>
                    <a:lnTo>
                      <a:pt x="10055" y="361"/>
                    </a:lnTo>
                    <a:lnTo>
                      <a:pt x="10043" y="365"/>
                    </a:lnTo>
                    <a:lnTo>
                      <a:pt x="10031" y="369"/>
                    </a:lnTo>
                    <a:lnTo>
                      <a:pt x="10019" y="373"/>
                    </a:lnTo>
                    <a:lnTo>
                      <a:pt x="10009" y="380"/>
                    </a:lnTo>
                    <a:lnTo>
                      <a:pt x="9999" y="386"/>
                    </a:lnTo>
                    <a:lnTo>
                      <a:pt x="9991" y="394"/>
                    </a:lnTo>
                    <a:lnTo>
                      <a:pt x="9982" y="403"/>
                    </a:lnTo>
                    <a:lnTo>
                      <a:pt x="9974" y="412"/>
                    </a:lnTo>
                    <a:lnTo>
                      <a:pt x="9968" y="422"/>
                    </a:lnTo>
                    <a:lnTo>
                      <a:pt x="9961" y="433"/>
                    </a:lnTo>
                    <a:lnTo>
                      <a:pt x="9957" y="445"/>
                    </a:lnTo>
                    <a:lnTo>
                      <a:pt x="9951" y="457"/>
                    </a:lnTo>
                    <a:lnTo>
                      <a:pt x="9948" y="469"/>
                    </a:lnTo>
                    <a:lnTo>
                      <a:pt x="9945" y="482"/>
                    </a:lnTo>
                    <a:lnTo>
                      <a:pt x="10206" y="482"/>
                    </a:lnTo>
                    <a:lnTo>
                      <a:pt x="10205" y="469"/>
                    </a:lnTo>
                    <a:lnTo>
                      <a:pt x="10204" y="457"/>
                    </a:lnTo>
                    <a:lnTo>
                      <a:pt x="10201" y="445"/>
                    </a:lnTo>
                    <a:lnTo>
                      <a:pt x="10197" y="433"/>
                    </a:lnTo>
                    <a:lnTo>
                      <a:pt x="10192" y="422"/>
                    </a:lnTo>
                    <a:lnTo>
                      <a:pt x="10186" y="412"/>
                    </a:lnTo>
                    <a:lnTo>
                      <a:pt x="10178" y="403"/>
                    </a:lnTo>
                    <a:lnTo>
                      <a:pt x="10171" y="394"/>
                    </a:lnTo>
                    <a:lnTo>
                      <a:pt x="10162" y="386"/>
                    </a:lnTo>
                    <a:lnTo>
                      <a:pt x="10152" y="380"/>
                    </a:lnTo>
                    <a:lnTo>
                      <a:pt x="10142" y="373"/>
                    </a:lnTo>
                    <a:lnTo>
                      <a:pt x="10132" y="369"/>
                    </a:lnTo>
                    <a:lnTo>
                      <a:pt x="10120" y="365"/>
                    </a:lnTo>
                    <a:lnTo>
                      <a:pt x="10108" y="361"/>
                    </a:lnTo>
                    <a:lnTo>
                      <a:pt x="10095" y="360"/>
                    </a:lnTo>
                    <a:lnTo>
                      <a:pt x="10082" y="359"/>
                    </a:lnTo>
                    <a:close/>
                    <a:moveTo>
                      <a:pt x="9938" y="560"/>
                    </a:moveTo>
                    <a:lnTo>
                      <a:pt x="9938" y="598"/>
                    </a:lnTo>
                    <a:lnTo>
                      <a:pt x="9940" y="625"/>
                    </a:lnTo>
                    <a:lnTo>
                      <a:pt x="9942" y="651"/>
                    </a:lnTo>
                    <a:lnTo>
                      <a:pt x="9946" y="677"/>
                    </a:lnTo>
                    <a:lnTo>
                      <a:pt x="9953" y="703"/>
                    </a:lnTo>
                    <a:lnTo>
                      <a:pt x="9960" y="727"/>
                    </a:lnTo>
                    <a:lnTo>
                      <a:pt x="9970" y="751"/>
                    </a:lnTo>
                    <a:lnTo>
                      <a:pt x="9975" y="763"/>
                    </a:lnTo>
                    <a:lnTo>
                      <a:pt x="9981" y="774"/>
                    </a:lnTo>
                    <a:lnTo>
                      <a:pt x="9987" y="785"/>
                    </a:lnTo>
                    <a:lnTo>
                      <a:pt x="9994" y="795"/>
                    </a:lnTo>
                    <a:lnTo>
                      <a:pt x="10001" y="804"/>
                    </a:lnTo>
                    <a:lnTo>
                      <a:pt x="10009" y="814"/>
                    </a:lnTo>
                    <a:lnTo>
                      <a:pt x="10018" y="823"/>
                    </a:lnTo>
                    <a:lnTo>
                      <a:pt x="10026" y="832"/>
                    </a:lnTo>
                    <a:lnTo>
                      <a:pt x="10035" y="839"/>
                    </a:lnTo>
                    <a:lnTo>
                      <a:pt x="10045" y="847"/>
                    </a:lnTo>
                    <a:lnTo>
                      <a:pt x="10056" y="853"/>
                    </a:lnTo>
                    <a:lnTo>
                      <a:pt x="10066" y="860"/>
                    </a:lnTo>
                    <a:lnTo>
                      <a:pt x="10077" y="865"/>
                    </a:lnTo>
                    <a:lnTo>
                      <a:pt x="10089" y="871"/>
                    </a:lnTo>
                    <a:lnTo>
                      <a:pt x="10101" y="874"/>
                    </a:lnTo>
                    <a:lnTo>
                      <a:pt x="10114" y="878"/>
                    </a:lnTo>
                    <a:lnTo>
                      <a:pt x="10127" y="880"/>
                    </a:lnTo>
                    <a:lnTo>
                      <a:pt x="10140" y="883"/>
                    </a:lnTo>
                    <a:lnTo>
                      <a:pt x="10154" y="884"/>
                    </a:lnTo>
                    <a:lnTo>
                      <a:pt x="10170" y="885"/>
                    </a:lnTo>
                    <a:lnTo>
                      <a:pt x="10186" y="884"/>
                    </a:lnTo>
                    <a:lnTo>
                      <a:pt x="10202" y="883"/>
                    </a:lnTo>
                    <a:lnTo>
                      <a:pt x="10218" y="882"/>
                    </a:lnTo>
                    <a:lnTo>
                      <a:pt x="10235" y="879"/>
                    </a:lnTo>
                    <a:lnTo>
                      <a:pt x="10266" y="874"/>
                    </a:lnTo>
                    <a:lnTo>
                      <a:pt x="10298" y="866"/>
                    </a:lnTo>
                    <a:lnTo>
                      <a:pt x="10298" y="943"/>
                    </a:lnTo>
                    <a:lnTo>
                      <a:pt x="10280" y="948"/>
                    </a:lnTo>
                    <a:lnTo>
                      <a:pt x="10262" y="952"/>
                    </a:lnTo>
                    <a:lnTo>
                      <a:pt x="10243" y="955"/>
                    </a:lnTo>
                    <a:lnTo>
                      <a:pt x="10225" y="959"/>
                    </a:lnTo>
                    <a:lnTo>
                      <a:pt x="10205" y="960"/>
                    </a:lnTo>
                    <a:lnTo>
                      <a:pt x="10187" y="962"/>
                    </a:lnTo>
                    <a:lnTo>
                      <a:pt x="10167" y="962"/>
                    </a:lnTo>
                    <a:lnTo>
                      <a:pt x="10149" y="962"/>
                    </a:lnTo>
                    <a:lnTo>
                      <a:pt x="10128" y="962"/>
                    </a:lnTo>
                    <a:lnTo>
                      <a:pt x="10108" y="961"/>
                    </a:lnTo>
                    <a:lnTo>
                      <a:pt x="10089" y="959"/>
                    </a:lnTo>
                    <a:lnTo>
                      <a:pt x="10071" y="955"/>
                    </a:lnTo>
                    <a:lnTo>
                      <a:pt x="10052" y="951"/>
                    </a:lnTo>
                    <a:lnTo>
                      <a:pt x="10036" y="947"/>
                    </a:lnTo>
                    <a:lnTo>
                      <a:pt x="10020" y="941"/>
                    </a:lnTo>
                    <a:lnTo>
                      <a:pt x="10005" y="935"/>
                    </a:lnTo>
                    <a:lnTo>
                      <a:pt x="9989" y="928"/>
                    </a:lnTo>
                    <a:lnTo>
                      <a:pt x="9975" y="921"/>
                    </a:lnTo>
                    <a:lnTo>
                      <a:pt x="9962" y="912"/>
                    </a:lnTo>
                    <a:lnTo>
                      <a:pt x="9949" y="903"/>
                    </a:lnTo>
                    <a:lnTo>
                      <a:pt x="9937" y="893"/>
                    </a:lnTo>
                    <a:lnTo>
                      <a:pt x="9926" y="883"/>
                    </a:lnTo>
                    <a:lnTo>
                      <a:pt x="9916" y="872"/>
                    </a:lnTo>
                    <a:lnTo>
                      <a:pt x="9906" y="860"/>
                    </a:lnTo>
                    <a:lnTo>
                      <a:pt x="9896" y="848"/>
                    </a:lnTo>
                    <a:lnTo>
                      <a:pt x="9889" y="835"/>
                    </a:lnTo>
                    <a:lnTo>
                      <a:pt x="9880" y="821"/>
                    </a:lnTo>
                    <a:lnTo>
                      <a:pt x="9872" y="807"/>
                    </a:lnTo>
                    <a:lnTo>
                      <a:pt x="9866" y="793"/>
                    </a:lnTo>
                    <a:lnTo>
                      <a:pt x="9860" y="777"/>
                    </a:lnTo>
                    <a:lnTo>
                      <a:pt x="9855" y="762"/>
                    </a:lnTo>
                    <a:lnTo>
                      <a:pt x="9849" y="746"/>
                    </a:lnTo>
                    <a:lnTo>
                      <a:pt x="9845" y="728"/>
                    </a:lnTo>
                    <a:lnTo>
                      <a:pt x="9842" y="711"/>
                    </a:lnTo>
                    <a:lnTo>
                      <a:pt x="9839" y="694"/>
                    </a:lnTo>
                    <a:lnTo>
                      <a:pt x="9836" y="676"/>
                    </a:lnTo>
                    <a:lnTo>
                      <a:pt x="9834" y="658"/>
                    </a:lnTo>
                    <a:lnTo>
                      <a:pt x="9833" y="638"/>
                    </a:lnTo>
                    <a:lnTo>
                      <a:pt x="9832" y="620"/>
                    </a:lnTo>
                    <a:lnTo>
                      <a:pt x="9832" y="600"/>
                    </a:lnTo>
                    <a:lnTo>
                      <a:pt x="9832" y="569"/>
                    </a:lnTo>
                    <a:lnTo>
                      <a:pt x="9835" y="537"/>
                    </a:lnTo>
                    <a:lnTo>
                      <a:pt x="9839" y="508"/>
                    </a:lnTo>
                    <a:lnTo>
                      <a:pt x="9845" y="479"/>
                    </a:lnTo>
                    <a:lnTo>
                      <a:pt x="9848" y="465"/>
                    </a:lnTo>
                    <a:lnTo>
                      <a:pt x="9853" y="450"/>
                    </a:lnTo>
                    <a:lnTo>
                      <a:pt x="9857" y="437"/>
                    </a:lnTo>
                    <a:lnTo>
                      <a:pt x="9861" y="424"/>
                    </a:lnTo>
                    <a:lnTo>
                      <a:pt x="9868" y="412"/>
                    </a:lnTo>
                    <a:lnTo>
                      <a:pt x="9873" y="399"/>
                    </a:lnTo>
                    <a:lnTo>
                      <a:pt x="9880" y="389"/>
                    </a:lnTo>
                    <a:lnTo>
                      <a:pt x="9887" y="377"/>
                    </a:lnTo>
                    <a:lnTo>
                      <a:pt x="9895" y="366"/>
                    </a:lnTo>
                    <a:lnTo>
                      <a:pt x="9904" y="356"/>
                    </a:lnTo>
                    <a:lnTo>
                      <a:pt x="9912" y="346"/>
                    </a:lnTo>
                    <a:lnTo>
                      <a:pt x="9921" y="338"/>
                    </a:lnTo>
                    <a:lnTo>
                      <a:pt x="9932" y="329"/>
                    </a:lnTo>
                    <a:lnTo>
                      <a:pt x="9943" y="321"/>
                    </a:lnTo>
                    <a:lnTo>
                      <a:pt x="9954" y="314"/>
                    </a:lnTo>
                    <a:lnTo>
                      <a:pt x="9966" y="307"/>
                    </a:lnTo>
                    <a:lnTo>
                      <a:pt x="9979" y="302"/>
                    </a:lnTo>
                    <a:lnTo>
                      <a:pt x="9992" y="296"/>
                    </a:lnTo>
                    <a:lnTo>
                      <a:pt x="10006" y="292"/>
                    </a:lnTo>
                    <a:lnTo>
                      <a:pt x="10020" y="288"/>
                    </a:lnTo>
                    <a:lnTo>
                      <a:pt x="10036" y="285"/>
                    </a:lnTo>
                    <a:lnTo>
                      <a:pt x="10051" y="283"/>
                    </a:lnTo>
                    <a:lnTo>
                      <a:pt x="10069" y="282"/>
                    </a:lnTo>
                    <a:lnTo>
                      <a:pt x="10086" y="281"/>
                    </a:lnTo>
                    <a:lnTo>
                      <a:pt x="10100" y="281"/>
                    </a:lnTo>
                    <a:lnTo>
                      <a:pt x="10113" y="282"/>
                    </a:lnTo>
                    <a:lnTo>
                      <a:pt x="10127" y="284"/>
                    </a:lnTo>
                    <a:lnTo>
                      <a:pt x="10139" y="285"/>
                    </a:lnTo>
                    <a:lnTo>
                      <a:pt x="10151" y="289"/>
                    </a:lnTo>
                    <a:lnTo>
                      <a:pt x="10163" y="292"/>
                    </a:lnTo>
                    <a:lnTo>
                      <a:pt x="10175" y="295"/>
                    </a:lnTo>
                    <a:lnTo>
                      <a:pt x="10186" y="300"/>
                    </a:lnTo>
                    <a:lnTo>
                      <a:pt x="10196" y="305"/>
                    </a:lnTo>
                    <a:lnTo>
                      <a:pt x="10205" y="309"/>
                    </a:lnTo>
                    <a:lnTo>
                      <a:pt x="10215" y="316"/>
                    </a:lnTo>
                    <a:lnTo>
                      <a:pt x="10225" y="321"/>
                    </a:lnTo>
                    <a:lnTo>
                      <a:pt x="10234" y="329"/>
                    </a:lnTo>
                    <a:lnTo>
                      <a:pt x="10241" y="335"/>
                    </a:lnTo>
                    <a:lnTo>
                      <a:pt x="10249" y="343"/>
                    </a:lnTo>
                    <a:lnTo>
                      <a:pt x="10256" y="352"/>
                    </a:lnTo>
                    <a:lnTo>
                      <a:pt x="10263" y="359"/>
                    </a:lnTo>
                    <a:lnTo>
                      <a:pt x="10269" y="368"/>
                    </a:lnTo>
                    <a:lnTo>
                      <a:pt x="10276" y="378"/>
                    </a:lnTo>
                    <a:lnTo>
                      <a:pt x="10281" y="388"/>
                    </a:lnTo>
                    <a:lnTo>
                      <a:pt x="10291" y="408"/>
                    </a:lnTo>
                    <a:lnTo>
                      <a:pt x="10299" y="430"/>
                    </a:lnTo>
                    <a:lnTo>
                      <a:pt x="10305" y="453"/>
                    </a:lnTo>
                    <a:lnTo>
                      <a:pt x="10310" y="477"/>
                    </a:lnTo>
                    <a:lnTo>
                      <a:pt x="10312" y="503"/>
                    </a:lnTo>
                    <a:lnTo>
                      <a:pt x="10313" y="529"/>
                    </a:lnTo>
                    <a:lnTo>
                      <a:pt x="10313" y="560"/>
                    </a:lnTo>
                    <a:lnTo>
                      <a:pt x="9938" y="560"/>
                    </a:lnTo>
                    <a:close/>
                    <a:moveTo>
                      <a:pt x="9470" y="113"/>
                    </a:moveTo>
                    <a:lnTo>
                      <a:pt x="9451" y="107"/>
                    </a:lnTo>
                    <a:lnTo>
                      <a:pt x="9433" y="102"/>
                    </a:lnTo>
                    <a:lnTo>
                      <a:pt x="9413" y="99"/>
                    </a:lnTo>
                    <a:lnTo>
                      <a:pt x="9394" y="97"/>
                    </a:lnTo>
                    <a:lnTo>
                      <a:pt x="9355" y="93"/>
                    </a:lnTo>
                    <a:lnTo>
                      <a:pt x="9316" y="92"/>
                    </a:lnTo>
                    <a:lnTo>
                      <a:pt x="9255" y="92"/>
                    </a:lnTo>
                    <a:lnTo>
                      <a:pt x="9255" y="859"/>
                    </a:lnTo>
                    <a:lnTo>
                      <a:pt x="9328" y="859"/>
                    </a:lnTo>
                    <a:lnTo>
                      <a:pt x="9348" y="858"/>
                    </a:lnTo>
                    <a:lnTo>
                      <a:pt x="9369" y="858"/>
                    </a:lnTo>
                    <a:lnTo>
                      <a:pt x="9388" y="855"/>
                    </a:lnTo>
                    <a:lnTo>
                      <a:pt x="9409" y="853"/>
                    </a:lnTo>
                    <a:lnTo>
                      <a:pt x="9430" y="850"/>
                    </a:lnTo>
                    <a:lnTo>
                      <a:pt x="9449" y="846"/>
                    </a:lnTo>
                    <a:lnTo>
                      <a:pt x="9469" y="840"/>
                    </a:lnTo>
                    <a:lnTo>
                      <a:pt x="9488" y="833"/>
                    </a:lnTo>
                    <a:lnTo>
                      <a:pt x="9500" y="826"/>
                    </a:lnTo>
                    <a:lnTo>
                      <a:pt x="9511" y="820"/>
                    </a:lnTo>
                    <a:lnTo>
                      <a:pt x="9522" y="813"/>
                    </a:lnTo>
                    <a:lnTo>
                      <a:pt x="9532" y="804"/>
                    </a:lnTo>
                    <a:lnTo>
                      <a:pt x="9541" y="797"/>
                    </a:lnTo>
                    <a:lnTo>
                      <a:pt x="9550" y="788"/>
                    </a:lnTo>
                    <a:lnTo>
                      <a:pt x="9558" y="778"/>
                    </a:lnTo>
                    <a:lnTo>
                      <a:pt x="9565" y="769"/>
                    </a:lnTo>
                    <a:lnTo>
                      <a:pt x="9573" y="759"/>
                    </a:lnTo>
                    <a:lnTo>
                      <a:pt x="9579" y="748"/>
                    </a:lnTo>
                    <a:lnTo>
                      <a:pt x="9585" y="737"/>
                    </a:lnTo>
                    <a:lnTo>
                      <a:pt x="9591" y="725"/>
                    </a:lnTo>
                    <a:lnTo>
                      <a:pt x="9601" y="702"/>
                    </a:lnTo>
                    <a:lnTo>
                      <a:pt x="9609" y="677"/>
                    </a:lnTo>
                    <a:lnTo>
                      <a:pt x="9615" y="652"/>
                    </a:lnTo>
                    <a:lnTo>
                      <a:pt x="9621" y="626"/>
                    </a:lnTo>
                    <a:lnTo>
                      <a:pt x="9624" y="600"/>
                    </a:lnTo>
                    <a:lnTo>
                      <a:pt x="9627" y="574"/>
                    </a:lnTo>
                    <a:lnTo>
                      <a:pt x="9629" y="548"/>
                    </a:lnTo>
                    <a:lnTo>
                      <a:pt x="9630" y="523"/>
                    </a:lnTo>
                    <a:lnTo>
                      <a:pt x="9631" y="498"/>
                    </a:lnTo>
                    <a:lnTo>
                      <a:pt x="9631" y="474"/>
                    </a:lnTo>
                    <a:lnTo>
                      <a:pt x="9631" y="448"/>
                    </a:lnTo>
                    <a:lnTo>
                      <a:pt x="9630" y="422"/>
                    </a:lnTo>
                    <a:lnTo>
                      <a:pt x="9629" y="396"/>
                    </a:lnTo>
                    <a:lnTo>
                      <a:pt x="9627" y="369"/>
                    </a:lnTo>
                    <a:lnTo>
                      <a:pt x="9624" y="342"/>
                    </a:lnTo>
                    <a:lnTo>
                      <a:pt x="9619" y="315"/>
                    </a:lnTo>
                    <a:lnTo>
                      <a:pt x="9613" y="289"/>
                    </a:lnTo>
                    <a:lnTo>
                      <a:pt x="9605" y="264"/>
                    </a:lnTo>
                    <a:lnTo>
                      <a:pt x="9601" y="251"/>
                    </a:lnTo>
                    <a:lnTo>
                      <a:pt x="9597" y="239"/>
                    </a:lnTo>
                    <a:lnTo>
                      <a:pt x="9591" y="227"/>
                    </a:lnTo>
                    <a:lnTo>
                      <a:pt x="9586" y="215"/>
                    </a:lnTo>
                    <a:lnTo>
                      <a:pt x="9579" y="204"/>
                    </a:lnTo>
                    <a:lnTo>
                      <a:pt x="9573" y="193"/>
                    </a:lnTo>
                    <a:lnTo>
                      <a:pt x="9565" y="182"/>
                    </a:lnTo>
                    <a:lnTo>
                      <a:pt x="9558" y="173"/>
                    </a:lnTo>
                    <a:lnTo>
                      <a:pt x="9549" y="163"/>
                    </a:lnTo>
                    <a:lnTo>
                      <a:pt x="9539" y="154"/>
                    </a:lnTo>
                    <a:lnTo>
                      <a:pt x="9529" y="145"/>
                    </a:lnTo>
                    <a:lnTo>
                      <a:pt x="9520" y="138"/>
                    </a:lnTo>
                    <a:lnTo>
                      <a:pt x="9508" y="131"/>
                    </a:lnTo>
                    <a:lnTo>
                      <a:pt x="9496" y="125"/>
                    </a:lnTo>
                    <a:lnTo>
                      <a:pt x="9484" y="118"/>
                    </a:lnTo>
                    <a:lnTo>
                      <a:pt x="9470" y="113"/>
                    </a:lnTo>
                    <a:close/>
                    <a:moveTo>
                      <a:pt x="9523" y="922"/>
                    </a:moveTo>
                    <a:lnTo>
                      <a:pt x="9499" y="928"/>
                    </a:lnTo>
                    <a:lnTo>
                      <a:pt x="9475" y="935"/>
                    </a:lnTo>
                    <a:lnTo>
                      <a:pt x="9450" y="939"/>
                    </a:lnTo>
                    <a:lnTo>
                      <a:pt x="9426" y="942"/>
                    </a:lnTo>
                    <a:lnTo>
                      <a:pt x="9401" y="945"/>
                    </a:lnTo>
                    <a:lnTo>
                      <a:pt x="9376" y="947"/>
                    </a:lnTo>
                    <a:lnTo>
                      <a:pt x="9351" y="947"/>
                    </a:lnTo>
                    <a:lnTo>
                      <a:pt x="9326" y="947"/>
                    </a:lnTo>
                    <a:lnTo>
                      <a:pt x="9149" y="947"/>
                    </a:lnTo>
                    <a:lnTo>
                      <a:pt x="9149" y="4"/>
                    </a:lnTo>
                    <a:lnTo>
                      <a:pt x="9360" y="4"/>
                    </a:lnTo>
                    <a:lnTo>
                      <a:pt x="9388" y="4"/>
                    </a:lnTo>
                    <a:lnTo>
                      <a:pt x="9414" y="6"/>
                    </a:lnTo>
                    <a:lnTo>
                      <a:pt x="9440" y="9"/>
                    </a:lnTo>
                    <a:lnTo>
                      <a:pt x="9464" y="13"/>
                    </a:lnTo>
                    <a:lnTo>
                      <a:pt x="9487" y="17"/>
                    </a:lnTo>
                    <a:lnTo>
                      <a:pt x="9509" y="24"/>
                    </a:lnTo>
                    <a:lnTo>
                      <a:pt x="9529" y="30"/>
                    </a:lnTo>
                    <a:lnTo>
                      <a:pt x="9549" y="39"/>
                    </a:lnTo>
                    <a:lnTo>
                      <a:pt x="9567" y="48"/>
                    </a:lnTo>
                    <a:lnTo>
                      <a:pt x="9585" y="57"/>
                    </a:lnTo>
                    <a:lnTo>
                      <a:pt x="9601" y="68"/>
                    </a:lnTo>
                    <a:lnTo>
                      <a:pt x="9616" y="80"/>
                    </a:lnTo>
                    <a:lnTo>
                      <a:pt x="9630" y="93"/>
                    </a:lnTo>
                    <a:lnTo>
                      <a:pt x="9643" y="106"/>
                    </a:lnTo>
                    <a:lnTo>
                      <a:pt x="9656" y="121"/>
                    </a:lnTo>
                    <a:lnTo>
                      <a:pt x="9667" y="136"/>
                    </a:lnTo>
                    <a:lnTo>
                      <a:pt x="9678" y="152"/>
                    </a:lnTo>
                    <a:lnTo>
                      <a:pt x="9688" y="169"/>
                    </a:lnTo>
                    <a:lnTo>
                      <a:pt x="9696" y="187"/>
                    </a:lnTo>
                    <a:lnTo>
                      <a:pt x="9705" y="205"/>
                    </a:lnTo>
                    <a:lnTo>
                      <a:pt x="9712" y="224"/>
                    </a:lnTo>
                    <a:lnTo>
                      <a:pt x="9718" y="243"/>
                    </a:lnTo>
                    <a:lnTo>
                      <a:pt x="9725" y="264"/>
                    </a:lnTo>
                    <a:lnTo>
                      <a:pt x="9729" y="284"/>
                    </a:lnTo>
                    <a:lnTo>
                      <a:pt x="9733" y="306"/>
                    </a:lnTo>
                    <a:lnTo>
                      <a:pt x="9738" y="329"/>
                    </a:lnTo>
                    <a:lnTo>
                      <a:pt x="9741" y="351"/>
                    </a:lnTo>
                    <a:lnTo>
                      <a:pt x="9743" y="374"/>
                    </a:lnTo>
                    <a:lnTo>
                      <a:pt x="9745" y="398"/>
                    </a:lnTo>
                    <a:lnTo>
                      <a:pt x="9746" y="422"/>
                    </a:lnTo>
                    <a:lnTo>
                      <a:pt x="9747" y="447"/>
                    </a:lnTo>
                    <a:lnTo>
                      <a:pt x="9747" y="472"/>
                    </a:lnTo>
                    <a:lnTo>
                      <a:pt x="9746" y="507"/>
                    </a:lnTo>
                    <a:lnTo>
                      <a:pt x="9745" y="541"/>
                    </a:lnTo>
                    <a:lnTo>
                      <a:pt x="9743" y="575"/>
                    </a:lnTo>
                    <a:lnTo>
                      <a:pt x="9739" y="609"/>
                    </a:lnTo>
                    <a:lnTo>
                      <a:pt x="9733" y="643"/>
                    </a:lnTo>
                    <a:lnTo>
                      <a:pt x="9727" y="676"/>
                    </a:lnTo>
                    <a:lnTo>
                      <a:pt x="9723" y="693"/>
                    </a:lnTo>
                    <a:lnTo>
                      <a:pt x="9718" y="709"/>
                    </a:lnTo>
                    <a:lnTo>
                      <a:pt x="9713" y="724"/>
                    </a:lnTo>
                    <a:lnTo>
                      <a:pt x="9707" y="739"/>
                    </a:lnTo>
                    <a:lnTo>
                      <a:pt x="9701" y="755"/>
                    </a:lnTo>
                    <a:lnTo>
                      <a:pt x="9693" y="770"/>
                    </a:lnTo>
                    <a:lnTo>
                      <a:pt x="9687" y="784"/>
                    </a:lnTo>
                    <a:lnTo>
                      <a:pt x="9678" y="798"/>
                    </a:lnTo>
                    <a:lnTo>
                      <a:pt x="9669" y="811"/>
                    </a:lnTo>
                    <a:lnTo>
                      <a:pt x="9660" y="824"/>
                    </a:lnTo>
                    <a:lnTo>
                      <a:pt x="9650" y="837"/>
                    </a:lnTo>
                    <a:lnTo>
                      <a:pt x="9639" y="849"/>
                    </a:lnTo>
                    <a:lnTo>
                      <a:pt x="9627" y="860"/>
                    </a:lnTo>
                    <a:lnTo>
                      <a:pt x="9615" y="871"/>
                    </a:lnTo>
                    <a:lnTo>
                      <a:pt x="9602" y="882"/>
                    </a:lnTo>
                    <a:lnTo>
                      <a:pt x="9588" y="890"/>
                    </a:lnTo>
                    <a:lnTo>
                      <a:pt x="9573" y="899"/>
                    </a:lnTo>
                    <a:lnTo>
                      <a:pt x="9558" y="908"/>
                    </a:lnTo>
                    <a:lnTo>
                      <a:pt x="9540" y="915"/>
                    </a:lnTo>
                    <a:lnTo>
                      <a:pt x="9523" y="922"/>
                    </a:lnTo>
                    <a:close/>
                    <a:moveTo>
                      <a:pt x="8639" y="947"/>
                    </a:moveTo>
                    <a:lnTo>
                      <a:pt x="8639" y="811"/>
                    </a:lnTo>
                    <a:lnTo>
                      <a:pt x="8775" y="811"/>
                    </a:lnTo>
                    <a:lnTo>
                      <a:pt x="8775" y="947"/>
                    </a:lnTo>
                    <a:lnTo>
                      <a:pt x="8639" y="947"/>
                    </a:lnTo>
                    <a:close/>
                    <a:moveTo>
                      <a:pt x="8333" y="359"/>
                    </a:moveTo>
                    <a:lnTo>
                      <a:pt x="8318" y="360"/>
                    </a:lnTo>
                    <a:lnTo>
                      <a:pt x="8305" y="361"/>
                    </a:lnTo>
                    <a:lnTo>
                      <a:pt x="8292" y="365"/>
                    </a:lnTo>
                    <a:lnTo>
                      <a:pt x="8282" y="369"/>
                    </a:lnTo>
                    <a:lnTo>
                      <a:pt x="8270" y="373"/>
                    </a:lnTo>
                    <a:lnTo>
                      <a:pt x="8260" y="380"/>
                    </a:lnTo>
                    <a:lnTo>
                      <a:pt x="8250" y="386"/>
                    </a:lnTo>
                    <a:lnTo>
                      <a:pt x="8241" y="394"/>
                    </a:lnTo>
                    <a:lnTo>
                      <a:pt x="8233" y="403"/>
                    </a:lnTo>
                    <a:lnTo>
                      <a:pt x="8225" y="412"/>
                    </a:lnTo>
                    <a:lnTo>
                      <a:pt x="8219" y="422"/>
                    </a:lnTo>
                    <a:lnTo>
                      <a:pt x="8212" y="433"/>
                    </a:lnTo>
                    <a:lnTo>
                      <a:pt x="8207" y="445"/>
                    </a:lnTo>
                    <a:lnTo>
                      <a:pt x="8202" y="457"/>
                    </a:lnTo>
                    <a:lnTo>
                      <a:pt x="8199" y="469"/>
                    </a:lnTo>
                    <a:lnTo>
                      <a:pt x="8196" y="482"/>
                    </a:lnTo>
                    <a:lnTo>
                      <a:pt x="8457" y="482"/>
                    </a:lnTo>
                    <a:lnTo>
                      <a:pt x="8456" y="469"/>
                    </a:lnTo>
                    <a:lnTo>
                      <a:pt x="8455" y="457"/>
                    </a:lnTo>
                    <a:lnTo>
                      <a:pt x="8452" y="445"/>
                    </a:lnTo>
                    <a:lnTo>
                      <a:pt x="8448" y="433"/>
                    </a:lnTo>
                    <a:lnTo>
                      <a:pt x="8442" y="422"/>
                    </a:lnTo>
                    <a:lnTo>
                      <a:pt x="8437" y="412"/>
                    </a:lnTo>
                    <a:lnTo>
                      <a:pt x="8429" y="403"/>
                    </a:lnTo>
                    <a:lnTo>
                      <a:pt x="8422" y="394"/>
                    </a:lnTo>
                    <a:lnTo>
                      <a:pt x="8413" y="386"/>
                    </a:lnTo>
                    <a:lnTo>
                      <a:pt x="8403" y="380"/>
                    </a:lnTo>
                    <a:lnTo>
                      <a:pt x="8393" y="373"/>
                    </a:lnTo>
                    <a:lnTo>
                      <a:pt x="8382" y="369"/>
                    </a:lnTo>
                    <a:lnTo>
                      <a:pt x="8371" y="365"/>
                    </a:lnTo>
                    <a:lnTo>
                      <a:pt x="8359" y="361"/>
                    </a:lnTo>
                    <a:lnTo>
                      <a:pt x="8346" y="360"/>
                    </a:lnTo>
                    <a:lnTo>
                      <a:pt x="8333" y="359"/>
                    </a:lnTo>
                    <a:close/>
                    <a:moveTo>
                      <a:pt x="8189" y="560"/>
                    </a:moveTo>
                    <a:lnTo>
                      <a:pt x="8189" y="598"/>
                    </a:lnTo>
                    <a:lnTo>
                      <a:pt x="8190" y="625"/>
                    </a:lnTo>
                    <a:lnTo>
                      <a:pt x="8193" y="651"/>
                    </a:lnTo>
                    <a:lnTo>
                      <a:pt x="8197" y="677"/>
                    </a:lnTo>
                    <a:lnTo>
                      <a:pt x="8202" y="703"/>
                    </a:lnTo>
                    <a:lnTo>
                      <a:pt x="8211" y="727"/>
                    </a:lnTo>
                    <a:lnTo>
                      <a:pt x="8220" y="751"/>
                    </a:lnTo>
                    <a:lnTo>
                      <a:pt x="8225" y="763"/>
                    </a:lnTo>
                    <a:lnTo>
                      <a:pt x="8232" y="774"/>
                    </a:lnTo>
                    <a:lnTo>
                      <a:pt x="8238" y="785"/>
                    </a:lnTo>
                    <a:lnTo>
                      <a:pt x="8245" y="795"/>
                    </a:lnTo>
                    <a:lnTo>
                      <a:pt x="8252" y="804"/>
                    </a:lnTo>
                    <a:lnTo>
                      <a:pt x="8260" y="814"/>
                    </a:lnTo>
                    <a:lnTo>
                      <a:pt x="8269" y="823"/>
                    </a:lnTo>
                    <a:lnTo>
                      <a:pt x="8277" y="832"/>
                    </a:lnTo>
                    <a:lnTo>
                      <a:pt x="8286" y="839"/>
                    </a:lnTo>
                    <a:lnTo>
                      <a:pt x="8296" y="847"/>
                    </a:lnTo>
                    <a:lnTo>
                      <a:pt x="8306" y="853"/>
                    </a:lnTo>
                    <a:lnTo>
                      <a:pt x="8316" y="860"/>
                    </a:lnTo>
                    <a:lnTo>
                      <a:pt x="8328" y="865"/>
                    </a:lnTo>
                    <a:lnTo>
                      <a:pt x="8339" y="871"/>
                    </a:lnTo>
                    <a:lnTo>
                      <a:pt x="8352" y="874"/>
                    </a:lnTo>
                    <a:lnTo>
                      <a:pt x="8364" y="878"/>
                    </a:lnTo>
                    <a:lnTo>
                      <a:pt x="8378" y="880"/>
                    </a:lnTo>
                    <a:lnTo>
                      <a:pt x="8391" y="883"/>
                    </a:lnTo>
                    <a:lnTo>
                      <a:pt x="8405" y="884"/>
                    </a:lnTo>
                    <a:lnTo>
                      <a:pt x="8420" y="885"/>
                    </a:lnTo>
                    <a:lnTo>
                      <a:pt x="8437" y="884"/>
                    </a:lnTo>
                    <a:lnTo>
                      <a:pt x="8453" y="883"/>
                    </a:lnTo>
                    <a:lnTo>
                      <a:pt x="8469" y="882"/>
                    </a:lnTo>
                    <a:lnTo>
                      <a:pt x="8486" y="879"/>
                    </a:lnTo>
                    <a:lnTo>
                      <a:pt x="8517" y="874"/>
                    </a:lnTo>
                    <a:lnTo>
                      <a:pt x="8548" y="866"/>
                    </a:lnTo>
                    <a:lnTo>
                      <a:pt x="8548" y="943"/>
                    </a:lnTo>
                    <a:lnTo>
                      <a:pt x="8531" y="948"/>
                    </a:lnTo>
                    <a:lnTo>
                      <a:pt x="8513" y="952"/>
                    </a:lnTo>
                    <a:lnTo>
                      <a:pt x="8494" y="955"/>
                    </a:lnTo>
                    <a:lnTo>
                      <a:pt x="8475" y="959"/>
                    </a:lnTo>
                    <a:lnTo>
                      <a:pt x="8456" y="960"/>
                    </a:lnTo>
                    <a:lnTo>
                      <a:pt x="8438" y="962"/>
                    </a:lnTo>
                    <a:lnTo>
                      <a:pt x="8418" y="962"/>
                    </a:lnTo>
                    <a:lnTo>
                      <a:pt x="8400" y="962"/>
                    </a:lnTo>
                    <a:lnTo>
                      <a:pt x="8379" y="962"/>
                    </a:lnTo>
                    <a:lnTo>
                      <a:pt x="8359" y="961"/>
                    </a:lnTo>
                    <a:lnTo>
                      <a:pt x="8340" y="959"/>
                    </a:lnTo>
                    <a:lnTo>
                      <a:pt x="8322" y="955"/>
                    </a:lnTo>
                    <a:lnTo>
                      <a:pt x="8303" y="951"/>
                    </a:lnTo>
                    <a:lnTo>
                      <a:pt x="8287" y="947"/>
                    </a:lnTo>
                    <a:lnTo>
                      <a:pt x="8271" y="941"/>
                    </a:lnTo>
                    <a:lnTo>
                      <a:pt x="8256" y="935"/>
                    </a:lnTo>
                    <a:lnTo>
                      <a:pt x="8240" y="928"/>
                    </a:lnTo>
                    <a:lnTo>
                      <a:pt x="8226" y="921"/>
                    </a:lnTo>
                    <a:lnTo>
                      <a:pt x="8213" y="912"/>
                    </a:lnTo>
                    <a:lnTo>
                      <a:pt x="8200" y="903"/>
                    </a:lnTo>
                    <a:lnTo>
                      <a:pt x="8188" y="893"/>
                    </a:lnTo>
                    <a:lnTo>
                      <a:pt x="8177" y="883"/>
                    </a:lnTo>
                    <a:lnTo>
                      <a:pt x="8167" y="872"/>
                    </a:lnTo>
                    <a:lnTo>
                      <a:pt x="8157" y="860"/>
                    </a:lnTo>
                    <a:lnTo>
                      <a:pt x="8147" y="848"/>
                    </a:lnTo>
                    <a:lnTo>
                      <a:pt x="8138" y="835"/>
                    </a:lnTo>
                    <a:lnTo>
                      <a:pt x="8131" y="821"/>
                    </a:lnTo>
                    <a:lnTo>
                      <a:pt x="8123" y="807"/>
                    </a:lnTo>
                    <a:lnTo>
                      <a:pt x="8117" y="793"/>
                    </a:lnTo>
                    <a:lnTo>
                      <a:pt x="8111" y="777"/>
                    </a:lnTo>
                    <a:lnTo>
                      <a:pt x="8106" y="762"/>
                    </a:lnTo>
                    <a:lnTo>
                      <a:pt x="8100" y="746"/>
                    </a:lnTo>
                    <a:lnTo>
                      <a:pt x="8096" y="728"/>
                    </a:lnTo>
                    <a:lnTo>
                      <a:pt x="8093" y="711"/>
                    </a:lnTo>
                    <a:lnTo>
                      <a:pt x="8089" y="694"/>
                    </a:lnTo>
                    <a:lnTo>
                      <a:pt x="8087" y="676"/>
                    </a:lnTo>
                    <a:lnTo>
                      <a:pt x="8085" y="658"/>
                    </a:lnTo>
                    <a:lnTo>
                      <a:pt x="8084" y="638"/>
                    </a:lnTo>
                    <a:lnTo>
                      <a:pt x="8083" y="620"/>
                    </a:lnTo>
                    <a:lnTo>
                      <a:pt x="8083" y="600"/>
                    </a:lnTo>
                    <a:lnTo>
                      <a:pt x="8083" y="569"/>
                    </a:lnTo>
                    <a:lnTo>
                      <a:pt x="8086" y="537"/>
                    </a:lnTo>
                    <a:lnTo>
                      <a:pt x="8089" y="508"/>
                    </a:lnTo>
                    <a:lnTo>
                      <a:pt x="8096" y="479"/>
                    </a:lnTo>
                    <a:lnTo>
                      <a:pt x="8099" y="465"/>
                    </a:lnTo>
                    <a:lnTo>
                      <a:pt x="8104" y="450"/>
                    </a:lnTo>
                    <a:lnTo>
                      <a:pt x="8108" y="437"/>
                    </a:lnTo>
                    <a:lnTo>
                      <a:pt x="8112" y="424"/>
                    </a:lnTo>
                    <a:lnTo>
                      <a:pt x="8118" y="412"/>
                    </a:lnTo>
                    <a:lnTo>
                      <a:pt x="8124" y="399"/>
                    </a:lnTo>
                    <a:lnTo>
                      <a:pt x="8131" y="389"/>
                    </a:lnTo>
                    <a:lnTo>
                      <a:pt x="8138" y="377"/>
                    </a:lnTo>
                    <a:lnTo>
                      <a:pt x="8146" y="366"/>
                    </a:lnTo>
                    <a:lnTo>
                      <a:pt x="8154" y="356"/>
                    </a:lnTo>
                    <a:lnTo>
                      <a:pt x="8163" y="346"/>
                    </a:lnTo>
                    <a:lnTo>
                      <a:pt x="8172" y="338"/>
                    </a:lnTo>
                    <a:lnTo>
                      <a:pt x="8183" y="329"/>
                    </a:lnTo>
                    <a:lnTo>
                      <a:pt x="8193" y="321"/>
                    </a:lnTo>
                    <a:lnTo>
                      <a:pt x="8205" y="314"/>
                    </a:lnTo>
                    <a:lnTo>
                      <a:pt x="8216" y="307"/>
                    </a:lnTo>
                    <a:lnTo>
                      <a:pt x="8229" y="302"/>
                    </a:lnTo>
                    <a:lnTo>
                      <a:pt x="8242" y="296"/>
                    </a:lnTo>
                    <a:lnTo>
                      <a:pt x="8257" y="292"/>
                    </a:lnTo>
                    <a:lnTo>
                      <a:pt x="8271" y="288"/>
                    </a:lnTo>
                    <a:lnTo>
                      <a:pt x="8286" y="285"/>
                    </a:lnTo>
                    <a:lnTo>
                      <a:pt x="8302" y="283"/>
                    </a:lnTo>
                    <a:lnTo>
                      <a:pt x="8320" y="282"/>
                    </a:lnTo>
                    <a:lnTo>
                      <a:pt x="8337" y="281"/>
                    </a:lnTo>
                    <a:lnTo>
                      <a:pt x="8351" y="281"/>
                    </a:lnTo>
                    <a:lnTo>
                      <a:pt x="8364" y="282"/>
                    </a:lnTo>
                    <a:lnTo>
                      <a:pt x="8377" y="284"/>
                    </a:lnTo>
                    <a:lnTo>
                      <a:pt x="8390" y="285"/>
                    </a:lnTo>
                    <a:lnTo>
                      <a:pt x="8402" y="289"/>
                    </a:lnTo>
                    <a:lnTo>
                      <a:pt x="8414" y="292"/>
                    </a:lnTo>
                    <a:lnTo>
                      <a:pt x="8426" y="295"/>
                    </a:lnTo>
                    <a:lnTo>
                      <a:pt x="8437" y="300"/>
                    </a:lnTo>
                    <a:lnTo>
                      <a:pt x="8446" y="305"/>
                    </a:lnTo>
                    <a:lnTo>
                      <a:pt x="8456" y="309"/>
                    </a:lnTo>
                    <a:lnTo>
                      <a:pt x="8466" y="316"/>
                    </a:lnTo>
                    <a:lnTo>
                      <a:pt x="8476" y="321"/>
                    </a:lnTo>
                    <a:lnTo>
                      <a:pt x="8484" y="329"/>
                    </a:lnTo>
                    <a:lnTo>
                      <a:pt x="8492" y="335"/>
                    </a:lnTo>
                    <a:lnTo>
                      <a:pt x="8500" y="343"/>
                    </a:lnTo>
                    <a:lnTo>
                      <a:pt x="8507" y="352"/>
                    </a:lnTo>
                    <a:lnTo>
                      <a:pt x="8514" y="359"/>
                    </a:lnTo>
                    <a:lnTo>
                      <a:pt x="8520" y="368"/>
                    </a:lnTo>
                    <a:lnTo>
                      <a:pt x="8527" y="378"/>
                    </a:lnTo>
                    <a:lnTo>
                      <a:pt x="8532" y="388"/>
                    </a:lnTo>
                    <a:lnTo>
                      <a:pt x="8542" y="408"/>
                    </a:lnTo>
                    <a:lnTo>
                      <a:pt x="8550" y="430"/>
                    </a:lnTo>
                    <a:lnTo>
                      <a:pt x="8556" y="453"/>
                    </a:lnTo>
                    <a:lnTo>
                      <a:pt x="8560" y="477"/>
                    </a:lnTo>
                    <a:lnTo>
                      <a:pt x="8563" y="503"/>
                    </a:lnTo>
                    <a:lnTo>
                      <a:pt x="8564" y="529"/>
                    </a:lnTo>
                    <a:lnTo>
                      <a:pt x="8564" y="560"/>
                    </a:lnTo>
                    <a:lnTo>
                      <a:pt x="8189" y="560"/>
                    </a:lnTo>
                    <a:close/>
                    <a:moveTo>
                      <a:pt x="7932" y="495"/>
                    </a:moveTo>
                    <a:lnTo>
                      <a:pt x="7932" y="481"/>
                    </a:lnTo>
                    <a:lnTo>
                      <a:pt x="7931" y="467"/>
                    </a:lnTo>
                    <a:lnTo>
                      <a:pt x="7929" y="454"/>
                    </a:lnTo>
                    <a:lnTo>
                      <a:pt x="7926" y="442"/>
                    </a:lnTo>
                    <a:lnTo>
                      <a:pt x="7922" y="430"/>
                    </a:lnTo>
                    <a:lnTo>
                      <a:pt x="7917" y="419"/>
                    </a:lnTo>
                    <a:lnTo>
                      <a:pt x="7912" y="408"/>
                    </a:lnTo>
                    <a:lnTo>
                      <a:pt x="7905" y="398"/>
                    </a:lnTo>
                    <a:lnTo>
                      <a:pt x="7897" y="390"/>
                    </a:lnTo>
                    <a:lnTo>
                      <a:pt x="7890" y="382"/>
                    </a:lnTo>
                    <a:lnTo>
                      <a:pt x="7880" y="376"/>
                    </a:lnTo>
                    <a:lnTo>
                      <a:pt x="7869" y="370"/>
                    </a:lnTo>
                    <a:lnTo>
                      <a:pt x="7857" y="366"/>
                    </a:lnTo>
                    <a:lnTo>
                      <a:pt x="7845" y="363"/>
                    </a:lnTo>
                    <a:lnTo>
                      <a:pt x="7831" y="360"/>
                    </a:lnTo>
                    <a:lnTo>
                      <a:pt x="7816" y="359"/>
                    </a:lnTo>
                    <a:lnTo>
                      <a:pt x="7805" y="359"/>
                    </a:lnTo>
                    <a:lnTo>
                      <a:pt x="7794" y="360"/>
                    </a:lnTo>
                    <a:lnTo>
                      <a:pt x="7785" y="363"/>
                    </a:lnTo>
                    <a:lnTo>
                      <a:pt x="7775" y="365"/>
                    </a:lnTo>
                    <a:lnTo>
                      <a:pt x="7766" y="368"/>
                    </a:lnTo>
                    <a:lnTo>
                      <a:pt x="7757" y="372"/>
                    </a:lnTo>
                    <a:lnTo>
                      <a:pt x="7750" y="377"/>
                    </a:lnTo>
                    <a:lnTo>
                      <a:pt x="7742" y="381"/>
                    </a:lnTo>
                    <a:lnTo>
                      <a:pt x="7735" y="386"/>
                    </a:lnTo>
                    <a:lnTo>
                      <a:pt x="7727" y="393"/>
                    </a:lnTo>
                    <a:lnTo>
                      <a:pt x="7721" y="398"/>
                    </a:lnTo>
                    <a:lnTo>
                      <a:pt x="7715" y="406"/>
                    </a:lnTo>
                    <a:lnTo>
                      <a:pt x="7704" y="420"/>
                    </a:lnTo>
                    <a:lnTo>
                      <a:pt x="7695" y="436"/>
                    </a:lnTo>
                    <a:lnTo>
                      <a:pt x="7686" y="454"/>
                    </a:lnTo>
                    <a:lnTo>
                      <a:pt x="7679" y="472"/>
                    </a:lnTo>
                    <a:lnTo>
                      <a:pt x="7674" y="491"/>
                    </a:lnTo>
                    <a:lnTo>
                      <a:pt x="7670" y="510"/>
                    </a:lnTo>
                    <a:lnTo>
                      <a:pt x="7666" y="530"/>
                    </a:lnTo>
                    <a:lnTo>
                      <a:pt x="7663" y="548"/>
                    </a:lnTo>
                    <a:lnTo>
                      <a:pt x="7662" y="568"/>
                    </a:lnTo>
                    <a:lnTo>
                      <a:pt x="7662" y="586"/>
                    </a:lnTo>
                    <a:lnTo>
                      <a:pt x="7663" y="618"/>
                    </a:lnTo>
                    <a:lnTo>
                      <a:pt x="7665" y="647"/>
                    </a:lnTo>
                    <a:lnTo>
                      <a:pt x="7670" y="676"/>
                    </a:lnTo>
                    <a:lnTo>
                      <a:pt x="7676" y="703"/>
                    </a:lnTo>
                    <a:lnTo>
                      <a:pt x="7680" y="718"/>
                    </a:lnTo>
                    <a:lnTo>
                      <a:pt x="7685" y="730"/>
                    </a:lnTo>
                    <a:lnTo>
                      <a:pt x="7689" y="743"/>
                    </a:lnTo>
                    <a:lnTo>
                      <a:pt x="7695" y="755"/>
                    </a:lnTo>
                    <a:lnTo>
                      <a:pt x="7701" y="766"/>
                    </a:lnTo>
                    <a:lnTo>
                      <a:pt x="7708" y="777"/>
                    </a:lnTo>
                    <a:lnTo>
                      <a:pt x="7714" y="788"/>
                    </a:lnTo>
                    <a:lnTo>
                      <a:pt x="7722" y="798"/>
                    </a:lnTo>
                    <a:lnTo>
                      <a:pt x="7729" y="808"/>
                    </a:lnTo>
                    <a:lnTo>
                      <a:pt x="7738" y="817"/>
                    </a:lnTo>
                    <a:lnTo>
                      <a:pt x="7748" y="826"/>
                    </a:lnTo>
                    <a:lnTo>
                      <a:pt x="7757" y="835"/>
                    </a:lnTo>
                    <a:lnTo>
                      <a:pt x="7767" y="842"/>
                    </a:lnTo>
                    <a:lnTo>
                      <a:pt x="7778" y="849"/>
                    </a:lnTo>
                    <a:lnTo>
                      <a:pt x="7790" y="855"/>
                    </a:lnTo>
                    <a:lnTo>
                      <a:pt x="7802" y="861"/>
                    </a:lnTo>
                    <a:lnTo>
                      <a:pt x="7814" y="866"/>
                    </a:lnTo>
                    <a:lnTo>
                      <a:pt x="7828" y="872"/>
                    </a:lnTo>
                    <a:lnTo>
                      <a:pt x="7841" y="875"/>
                    </a:lnTo>
                    <a:lnTo>
                      <a:pt x="7856" y="878"/>
                    </a:lnTo>
                    <a:lnTo>
                      <a:pt x="7871" y="882"/>
                    </a:lnTo>
                    <a:lnTo>
                      <a:pt x="7887" y="883"/>
                    </a:lnTo>
                    <a:lnTo>
                      <a:pt x="7903" y="884"/>
                    </a:lnTo>
                    <a:lnTo>
                      <a:pt x="7920" y="885"/>
                    </a:lnTo>
                    <a:lnTo>
                      <a:pt x="7946" y="884"/>
                    </a:lnTo>
                    <a:lnTo>
                      <a:pt x="7973" y="882"/>
                    </a:lnTo>
                    <a:lnTo>
                      <a:pt x="7986" y="879"/>
                    </a:lnTo>
                    <a:lnTo>
                      <a:pt x="7999" y="877"/>
                    </a:lnTo>
                    <a:lnTo>
                      <a:pt x="8012" y="874"/>
                    </a:lnTo>
                    <a:lnTo>
                      <a:pt x="8025" y="871"/>
                    </a:lnTo>
                    <a:lnTo>
                      <a:pt x="8025" y="945"/>
                    </a:lnTo>
                    <a:lnTo>
                      <a:pt x="8008" y="949"/>
                    </a:lnTo>
                    <a:lnTo>
                      <a:pt x="7992" y="953"/>
                    </a:lnTo>
                    <a:lnTo>
                      <a:pt x="7976" y="956"/>
                    </a:lnTo>
                    <a:lnTo>
                      <a:pt x="7958" y="959"/>
                    </a:lnTo>
                    <a:lnTo>
                      <a:pt x="7925" y="962"/>
                    </a:lnTo>
                    <a:lnTo>
                      <a:pt x="7890" y="962"/>
                    </a:lnTo>
                    <a:lnTo>
                      <a:pt x="7869" y="962"/>
                    </a:lnTo>
                    <a:lnTo>
                      <a:pt x="7849" y="961"/>
                    </a:lnTo>
                    <a:lnTo>
                      <a:pt x="7830" y="959"/>
                    </a:lnTo>
                    <a:lnTo>
                      <a:pt x="7811" y="955"/>
                    </a:lnTo>
                    <a:lnTo>
                      <a:pt x="7793" y="952"/>
                    </a:lnTo>
                    <a:lnTo>
                      <a:pt x="7776" y="948"/>
                    </a:lnTo>
                    <a:lnTo>
                      <a:pt x="7759" y="943"/>
                    </a:lnTo>
                    <a:lnTo>
                      <a:pt x="7743" y="937"/>
                    </a:lnTo>
                    <a:lnTo>
                      <a:pt x="7727" y="930"/>
                    </a:lnTo>
                    <a:lnTo>
                      <a:pt x="7713" y="924"/>
                    </a:lnTo>
                    <a:lnTo>
                      <a:pt x="7699" y="915"/>
                    </a:lnTo>
                    <a:lnTo>
                      <a:pt x="7686" y="908"/>
                    </a:lnTo>
                    <a:lnTo>
                      <a:pt x="7673" y="898"/>
                    </a:lnTo>
                    <a:lnTo>
                      <a:pt x="7661" y="888"/>
                    </a:lnTo>
                    <a:lnTo>
                      <a:pt x="7649" y="877"/>
                    </a:lnTo>
                    <a:lnTo>
                      <a:pt x="7638" y="866"/>
                    </a:lnTo>
                    <a:lnTo>
                      <a:pt x="7628" y="854"/>
                    </a:lnTo>
                    <a:lnTo>
                      <a:pt x="7619" y="841"/>
                    </a:lnTo>
                    <a:lnTo>
                      <a:pt x="7610" y="828"/>
                    </a:lnTo>
                    <a:lnTo>
                      <a:pt x="7602" y="815"/>
                    </a:lnTo>
                    <a:lnTo>
                      <a:pt x="7595" y="800"/>
                    </a:lnTo>
                    <a:lnTo>
                      <a:pt x="7587" y="786"/>
                    </a:lnTo>
                    <a:lnTo>
                      <a:pt x="7582" y="770"/>
                    </a:lnTo>
                    <a:lnTo>
                      <a:pt x="7576" y="755"/>
                    </a:lnTo>
                    <a:lnTo>
                      <a:pt x="7571" y="737"/>
                    </a:lnTo>
                    <a:lnTo>
                      <a:pt x="7566" y="721"/>
                    </a:lnTo>
                    <a:lnTo>
                      <a:pt x="7563" y="702"/>
                    </a:lnTo>
                    <a:lnTo>
                      <a:pt x="7560" y="685"/>
                    </a:lnTo>
                    <a:lnTo>
                      <a:pt x="7558" y="665"/>
                    </a:lnTo>
                    <a:lnTo>
                      <a:pt x="7557" y="647"/>
                    </a:lnTo>
                    <a:lnTo>
                      <a:pt x="7556" y="627"/>
                    </a:lnTo>
                    <a:lnTo>
                      <a:pt x="7555" y="607"/>
                    </a:lnTo>
                    <a:lnTo>
                      <a:pt x="7556" y="574"/>
                    </a:lnTo>
                    <a:lnTo>
                      <a:pt x="7558" y="542"/>
                    </a:lnTo>
                    <a:lnTo>
                      <a:pt x="7562" y="510"/>
                    </a:lnTo>
                    <a:lnTo>
                      <a:pt x="7569" y="481"/>
                    </a:lnTo>
                    <a:lnTo>
                      <a:pt x="7572" y="467"/>
                    </a:lnTo>
                    <a:lnTo>
                      <a:pt x="7576" y="453"/>
                    </a:lnTo>
                    <a:lnTo>
                      <a:pt x="7581" y="439"/>
                    </a:lnTo>
                    <a:lnTo>
                      <a:pt x="7586" y="426"/>
                    </a:lnTo>
                    <a:lnTo>
                      <a:pt x="7593" y="412"/>
                    </a:lnTo>
                    <a:lnTo>
                      <a:pt x="7598" y="401"/>
                    </a:lnTo>
                    <a:lnTo>
                      <a:pt x="7606" y="389"/>
                    </a:lnTo>
                    <a:lnTo>
                      <a:pt x="7613" y="378"/>
                    </a:lnTo>
                    <a:lnTo>
                      <a:pt x="7621" y="367"/>
                    </a:lnTo>
                    <a:lnTo>
                      <a:pt x="7629" y="356"/>
                    </a:lnTo>
                    <a:lnTo>
                      <a:pt x="7639" y="346"/>
                    </a:lnTo>
                    <a:lnTo>
                      <a:pt x="7649" y="338"/>
                    </a:lnTo>
                    <a:lnTo>
                      <a:pt x="7659" y="329"/>
                    </a:lnTo>
                    <a:lnTo>
                      <a:pt x="7671" y="321"/>
                    </a:lnTo>
                    <a:lnTo>
                      <a:pt x="7683" y="314"/>
                    </a:lnTo>
                    <a:lnTo>
                      <a:pt x="7695" y="307"/>
                    </a:lnTo>
                    <a:lnTo>
                      <a:pt x="7708" y="302"/>
                    </a:lnTo>
                    <a:lnTo>
                      <a:pt x="7722" y="296"/>
                    </a:lnTo>
                    <a:lnTo>
                      <a:pt x="7736" y="292"/>
                    </a:lnTo>
                    <a:lnTo>
                      <a:pt x="7752" y="288"/>
                    </a:lnTo>
                    <a:lnTo>
                      <a:pt x="7767" y="285"/>
                    </a:lnTo>
                    <a:lnTo>
                      <a:pt x="7785" y="283"/>
                    </a:lnTo>
                    <a:lnTo>
                      <a:pt x="7802" y="282"/>
                    </a:lnTo>
                    <a:lnTo>
                      <a:pt x="7820" y="281"/>
                    </a:lnTo>
                    <a:lnTo>
                      <a:pt x="7845" y="282"/>
                    </a:lnTo>
                    <a:lnTo>
                      <a:pt x="7869" y="284"/>
                    </a:lnTo>
                    <a:lnTo>
                      <a:pt x="7892" y="289"/>
                    </a:lnTo>
                    <a:lnTo>
                      <a:pt x="7914" y="295"/>
                    </a:lnTo>
                    <a:lnTo>
                      <a:pt x="7933" y="303"/>
                    </a:lnTo>
                    <a:lnTo>
                      <a:pt x="7952" y="312"/>
                    </a:lnTo>
                    <a:lnTo>
                      <a:pt x="7960" y="317"/>
                    </a:lnTo>
                    <a:lnTo>
                      <a:pt x="7968" y="322"/>
                    </a:lnTo>
                    <a:lnTo>
                      <a:pt x="7976" y="329"/>
                    </a:lnTo>
                    <a:lnTo>
                      <a:pt x="7983" y="335"/>
                    </a:lnTo>
                    <a:lnTo>
                      <a:pt x="7991" y="342"/>
                    </a:lnTo>
                    <a:lnTo>
                      <a:pt x="7997" y="350"/>
                    </a:lnTo>
                    <a:lnTo>
                      <a:pt x="8003" y="357"/>
                    </a:lnTo>
                    <a:lnTo>
                      <a:pt x="8009" y="365"/>
                    </a:lnTo>
                    <a:lnTo>
                      <a:pt x="8015" y="373"/>
                    </a:lnTo>
                    <a:lnTo>
                      <a:pt x="8019" y="383"/>
                    </a:lnTo>
                    <a:lnTo>
                      <a:pt x="8023" y="392"/>
                    </a:lnTo>
                    <a:lnTo>
                      <a:pt x="8028" y="402"/>
                    </a:lnTo>
                    <a:lnTo>
                      <a:pt x="8031" y="412"/>
                    </a:lnTo>
                    <a:lnTo>
                      <a:pt x="8034" y="422"/>
                    </a:lnTo>
                    <a:lnTo>
                      <a:pt x="8036" y="434"/>
                    </a:lnTo>
                    <a:lnTo>
                      <a:pt x="8038" y="445"/>
                    </a:lnTo>
                    <a:lnTo>
                      <a:pt x="8042" y="469"/>
                    </a:lnTo>
                    <a:lnTo>
                      <a:pt x="8043" y="495"/>
                    </a:lnTo>
                    <a:lnTo>
                      <a:pt x="7932" y="495"/>
                    </a:lnTo>
                    <a:close/>
                    <a:moveTo>
                      <a:pt x="7349" y="947"/>
                    </a:moveTo>
                    <a:lnTo>
                      <a:pt x="7349" y="586"/>
                    </a:lnTo>
                    <a:lnTo>
                      <a:pt x="7349" y="556"/>
                    </a:lnTo>
                    <a:lnTo>
                      <a:pt x="7349" y="522"/>
                    </a:lnTo>
                    <a:lnTo>
                      <a:pt x="7348" y="505"/>
                    </a:lnTo>
                    <a:lnTo>
                      <a:pt x="7347" y="486"/>
                    </a:lnTo>
                    <a:lnTo>
                      <a:pt x="7344" y="469"/>
                    </a:lnTo>
                    <a:lnTo>
                      <a:pt x="7341" y="453"/>
                    </a:lnTo>
                    <a:lnTo>
                      <a:pt x="7336" y="436"/>
                    </a:lnTo>
                    <a:lnTo>
                      <a:pt x="7330" y="422"/>
                    </a:lnTo>
                    <a:lnTo>
                      <a:pt x="7327" y="415"/>
                    </a:lnTo>
                    <a:lnTo>
                      <a:pt x="7322" y="408"/>
                    </a:lnTo>
                    <a:lnTo>
                      <a:pt x="7318" y="403"/>
                    </a:lnTo>
                    <a:lnTo>
                      <a:pt x="7314" y="397"/>
                    </a:lnTo>
                    <a:lnTo>
                      <a:pt x="7308" y="392"/>
                    </a:lnTo>
                    <a:lnTo>
                      <a:pt x="7302" y="388"/>
                    </a:lnTo>
                    <a:lnTo>
                      <a:pt x="7295" y="383"/>
                    </a:lnTo>
                    <a:lnTo>
                      <a:pt x="7288" y="380"/>
                    </a:lnTo>
                    <a:lnTo>
                      <a:pt x="7280" y="378"/>
                    </a:lnTo>
                    <a:lnTo>
                      <a:pt x="7272" y="376"/>
                    </a:lnTo>
                    <a:lnTo>
                      <a:pt x="7263" y="374"/>
                    </a:lnTo>
                    <a:lnTo>
                      <a:pt x="7253" y="374"/>
                    </a:lnTo>
                    <a:lnTo>
                      <a:pt x="7241" y="374"/>
                    </a:lnTo>
                    <a:lnTo>
                      <a:pt x="7230" y="377"/>
                    </a:lnTo>
                    <a:lnTo>
                      <a:pt x="7219" y="379"/>
                    </a:lnTo>
                    <a:lnTo>
                      <a:pt x="7208" y="383"/>
                    </a:lnTo>
                    <a:lnTo>
                      <a:pt x="7198" y="388"/>
                    </a:lnTo>
                    <a:lnTo>
                      <a:pt x="7188" y="394"/>
                    </a:lnTo>
                    <a:lnTo>
                      <a:pt x="7179" y="401"/>
                    </a:lnTo>
                    <a:lnTo>
                      <a:pt x="7169" y="407"/>
                    </a:lnTo>
                    <a:lnTo>
                      <a:pt x="7161" y="416"/>
                    </a:lnTo>
                    <a:lnTo>
                      <a:pt x="7153" y="424"/>
                    </a:lnTo>
                    <a:lnTo>
                      <a:pt x="7145" y="434"/>
                    </a:lnTo>
                    <a:lnTo>
                      <a:pt x="7138" y="444"/>
                    </a:lnTo>
                    <a:lnTo>
                      <a:pt x="7125" y="466"/>
                    </a:lnTo>
                    <a:lnTo>
                      <a:pt x="7113" y="488"/>
                    </a:lnTo>
                    <a:lnTo>
                      <a:pt x="7102" y="512"/>
                    </a:lnTo>
                    <a:lnTo>
                      <a:pt x="7093" y="537"/>
                    </a:lnTo>
                    <a:lnTo>
                      <a:pt x="7086" y="563"/>
                    </a:lnTo>
                    <a:lnTo>
                      <a:pt x="7079" y="588"/>
                    </a:lnTo>
                    <a:lnTo>
                      <a:pt x="7075" y="613"/>
                    </a:lnTo>
                    <a:lnTo>
                      <a:pt x="7072" y="636"/>
                    </a:lnTo>
                    <a:lnTo>
                      <a:pt x="7070" y="659"/>
                    </a:lnTo>
                    <a:lnTo>
                      <a:pt x="7068" y="680"/>
                    </a:lnTo>
                    <a:lnTo>
                      <a:pt x="7068" y="947"/>
                    </a:lnTo>
                    <a:lnTo>
                      <a:pt x="6976" y="947"/>
                    </a:lnTo>
                    <a:lnTo>
                      <a:pt x="6976" y="296"/>
                    </a:lnTo>
                    <a:lnTo>
                      <a:pt x="7068" y="296"/>
                    </a:lnTo>
                    <a:lnTo>
                      <a:pt x="7068" y="447"/>
                    </a:lnTo>
                    <a:lnTo>
                      <a:pt x="7072" y="447"/>
                    </a:lnTo>
                    <a:lnTo>
                      <a:pt x="7078" y="429"/>
                    </a:lnTo>
                    <a:lnTo>
                      <a:pt x="7085" y="411"/>
                    </a:lnTo>
                    <a:lnTo>
                      <a:pt x="7092" y="394"/>
                    </a:lnTo>
                    <a:lnTo>
                      <a:pt x="7101" y="379"/>
                    </a:lnTo>
                    <a:lnTo>
                      <a:pt x="7111" y="364"/>
                    </a:lnTo>
                    <a:lnTo>
                      <a:pt x="7121" y="351"/>
                    </a:lnTo>
                    <a:lnTo>
                      <a:pt x="7131" y="338"/>
                    </a:lnTo>
                    <a:lnTo>
                      <a:pt x="7143" y="327"/>
                    </a:lnTo>
                    <a:lnTo>
                      <a:pt x="7156" y="316"/>
                    </a:lnTo>
                    <a:lnTo>
                      <a:pt x="7169" y="307"/>
                    </a:lnTo>
                    <a:lnTo>
                      <a:pt x="7185" y="300"/>
                    </a:lnTo>
                    <a:lnTo>
                      <a:pt x="7200" y="293"/>
                    </a:lnTo>
                    <a:lnTo>
                      <a:pt x="7217" y="288"/>
                    </a:lnTo>
                    <a:lnTo>
                      <a:pt x="7236" y="284"/>
                    </a:lnTo>
                    <a:lnTo>
                      <a:pt x="7255" y="282"/>
                    </a:lnTo>
                    <a:lnTo>
                      <a:pt x="7276" y="281"/>
                    </a:lnTo>
                    <a:lnTo>
                      <a:pt x="7285" y="281"/>
                    </a:lnTo>
                    <a:lnTo>
                      <a:pt x="7296" y="282"/>
                    </a:lnTo>
                    <a:lnTo>
                      <a:pt x="7306" y="283"/>
                    </a:lnTo>
                    <a:lnTo>
                      <a:pt x="7315" y="285"/>
                    </a:lnTo>
                    <a:lnTo>
                      <a:pt x="7325" y="288"/>
                    </a:lnTo>
                    <a:lnTo>
                      <a:pt x="7333" y="291"/>
                    </a:lnTo>
                    <a:lnTo>
                      <a:pt x="7342" y="294"/>
                    </a:lnTo>
                    <a:lnTo>
                      <a:pt x="7349" y="298"/>
                    </a:lnTo>
                    <a:lnTo>
                      <a:pt x="7365" y="307"/>
                    </a:lnTo>
                    <a:lnTo>
                      <a:pt x="7379" y="318"/>
                    </a:lnTo>
                    <a:lnTo>
                      <a:pt x="7391" y="330"/>
                    </a:lnTo>
                    <a:lnTo>
                      <a:pt x="7402" y="343"/>
                    </a:lnTo>
                    <a:lnTo>
                      <a:pt x="7411" y="358"/>
                    </a:lnTo>
                    <a:lnTo>
                      <a:pt x="7419" y="373"/>
                    </a:lnTo>
                    <a:lnTo>
                      <a:pt x="7427" y="391"/>
                    </a:lnTo>
                    <a:lnTo>
                      <a:pt x="7432" y="408"/>
                    </a:lnTo>
                    <a:lnTo>
                      <a:pt x="7436" y="426"/>
                    </a:lnTo>
                    <a:lnTo>
                      <a:pt x="7440" y="444"/>
                    </a:lnTo>
                    <a:lnTo>
                      <a:pt x="7442" y="464"/>
                    </a:lnTo>
                    <a:lnTo>
                      <a:pt x="7442" y="482"/>
                    </a:lnTo>
                    <a:lnTo>
                      <a:pt x="7442" y="947"/>
                    </a:lnTo>
                    <a:lnTo>
                      <a:pt x="7349" y="947"/>
                    </a:lnTo>
                    <a:close/>
                    <a:moveTo>
                      <a:pt x="6682" y="652"/>
                    </a:moveTo>
                    <a:lnTo>
                      <a:pt x="6666" y="652"/>
                    </a:lnTo>
                    <a:lnTo>
                      <a:pt x="6650" y="654"/>
                    </a:lnTo>
                    <a:lnTo>
                      <a:pt x="6632" y="656"/>
                    </a:lnTo>
                    <a:lnTo>
                      <a:pt x="6614" y="659"/>
                    </a:lnTo>
                    <a:lnTo>
                      <a:pt x="6596" y="663"/>
                    </a:lnTo>
                    <a:lnTo>
                      <a:pt x="6578" y="669"/>
                    </a:lnTo>
                    <a:lnTo>
                      <a:pt x="6561" y="674"/>
                    </a:lnTo>
                    <a:lnTo>
                      <a:pt x="6544" y="682"/>
                    </a:lnTo>
                    <a:lnTo>
                      <a:pt x="6529" y="690"/>
                    </a:lnTo>
                    <a:lnTo>
                      <a:pt x="6515" y="700"/>
                    </a:lnTo>
                    <a:lnTo>
                      <a:pt x="6507" y="706"/>
                    </a:lnTo>
                    <a:lnTo>
                      <a:pt x="6502" y="712"/>
                    </a:lnTo>
                    <a:lnTo>
                      <a:pt x="6496" y="718"/>
                    </a:lnTo>
                    <a:lnTo>
                      <a:pt x="6491" y="724"/>
                    </a:lnTo>
                    <a:lnTo>
                      <a:pt x="6486" y="732"/>
                    </a:lnTo>
                    <a:lnTo>
                      <a:pt x="6481" y="738"/>
                    </a:lnTo>
                    <a:lnTo>
                      <a:pt x="6478" y="746"/>
                    </a:lnTo>
                    <a:lnTo>
                      <a:pt x="6475" y="755"/>
                    </a:lnTo>
                    <a:lnTo>
                      <a:pt x="6473" y="763"/>
                    </a:lnTo>
                    <a:lnTo>
                      <a:pt x="6471" y="772"/>
                    </a:lnTo>
                    <a:lnTo>
                      <a:pt x="6469" y="781"/>
                    </a:lnTo>
                    <a:lnTo>
                      <a:pt x="6469" y="790"/>
                    </a:lnTo>
                    <a:lnTo>
                      <a:pt x="6469" y="800"/>
                    </a:lnTo>
                    <a:lnTo>
                      <a:pt x="6471" y="810"/>
                    </a:lnTo>
                    <a:lnTo>
                      <a:pt x="6473" y="819"/>
                    </a:lnTo>
                    <a:lnTo>
                      <a:pt x="6476" y="828"/>
                    </a:lnTo>
                    <a:lnTo>
                      <a:pt x="6479" y="836"/>
                    </a:lnTo>
                    <a:lnTo>
                      <a:pt x="6484" y="844"/>
                    </a:lnTo>
                    <a:lnTo>
                      <a:pt x="6489" y="851"/>
                    </a:lnTo>
                    <a:lnTo>
                      <a:pt x="6494" y="858"/>
                    </a:lnTo>
                    <a:lnTo>
                      <a:pt x="6501" y="864"/>
                    </a:lnTo>
                    <a:lnTo>
                      <a:pt x="6507" y="869"/>
                    </a:lnTo>
                    <a:lnTo>
                      <a:pt x="6515" y="874"/>
                    </a:lnTo>
                    <a:lnTo>
                      <a:pt x="6524" y="877"/>
                    </a:lnTo>
                    <a:lnTo>
                      <a:pt x="6531" y="880"/>
                    </a:lnTo>
                    <a:lnTo>
                      <a:pt x="6541" y="883"/>
                    </a:lnTo>
                    <a:lnTo>
                      <a:pt x="6551" y="884"/>
                    </a:lnTo>
                    <a:lnTo>
                      <a:pt x="6561" y="885"/>
                    </a:lnTo>
                    <a:lnTo>
                      <a:pt x="6573" y="884"/>
                    </a:lnTo>
                    <a:lnTo>
                      <a:pt x="6585" y="883"/>
                    </a:lnTo>
                    <a:lnTo>
                      <a:pt x="6596" y="880"/>
                    </a:lnTo>
                    <a:lnTo>
                      <a:pt x="6608" y="877"/>
                    </a:lnTo>
                    <a:lnTo>
                      <a:pt x="6619" y="873"/>
                    </a:lnTo>
                    <a:lnTo>
                      <a:pt x="6630" y="867"/>
                    </a:lnTo>
                    <a:lnTo>
                      <a:pt x="6641" y="862"/>
                    </a:lnTo>
                    <a:lnTo>
                      <a:pt x="6651" y="855"/>
                    </a:lnTo>
                    <a:lnTo>
                      <a:pt x="6660" y="849"/>
                    </a:lnTo>
                    <a:lnTo>
                      <a:pt x="6669" y="841"/>
                    </a:lnTo>
                    <a:lnTo>
                      <a:pt x="6678" y="833"/>
                    </a:lnTo>
                    <a:lnTo>
                      <a:pt x="6687" y="824"/>
                    </a:lnTo>
                    <a:lnTo>
                      <a:pt x="6694" y="814"/>
                    </a:lnTo>
                    <a:lnTo>
                      <a:pt x="6701" y="804"/>
                    </a:lnTo>
                    <a:lnTo>
                      <a:pt x="6707" y="794"/>
                    </a:lnTo>
                    <a:lnTo>
                      <a:pt x="6713" y="783"/>
                    </a:lnTo>
                    <a:lnTo>
                      <a:pt x="6720" y="765"/>
                    </a:lnTo>
                    <a:lnTo>
                      <a:pt x="6726" y="749"/>
                    </a:lnTo>
                    <a:lnTo>
                      <a:pt x="6730" y="734"/>
                    </a:lnTo>
                    <a:lnTo>
                      <a:pt x="6733" y="720"/>
                    </a:lnTo>
                    <a:lnTo>
                      <a:pt x="6735" y="705"/>
                    </a:lnTo>
                    <a:lnTo>
                      <a:pt x="6736" y="688"/>
                    </a:lnTo>
                    <a:lnTo>
                      <a:pt x="6736" y="671"/>
                    </a:lnTo>
                    <a:lnTo>
                      <a:pt x="6737" y="652"/>
                    </a:lnTo>
                    <a:lnTo>
                      <a:pt x="6682" y="652"/>
                    </a:lnTo>
                    <a:close/>
                    <a:moveTo>
                      <a:pt x="6740" y="947"/>
                    </a:moveTo>
                    <a:lnTo>
                      <a:pt x="6740" y="861"/>
                    </a:lnTo>
                    <a:lnTo>
                      <a:pt x="6737" y="861"/>
                    </a:lnTo>
                    <a:lnTo>
                      <a:pt x="6730" y="874"/>
                    </a:lnTo>
                    <a:lnTo>
                      <a:pt x="6721" y="885"/>
                    </a:lnTo>
                    <a:lnTo>
                      <a:pt x="6711" y="896"/>
                    </a:lnTo>
                    <a:lnTo>
                      <a:pt x="6701" y="905"/>
                    </a:lnTo>
                    <a:lnTo>
                      <a:pt x="6690" y="915"/>
                    </a:lnTo>
                    <a:lnTo>
                      <a:pt x="6677" y="923"/>
                    </a:lnTo>
                    <a:lnTo>
                      <a:pt x="6665" y="930"/>
                    </a:lnTo>
                    <a:lnTo>
                      <a:pt x="6651" y="937"/>
                    </a:lnTo>
                    <a:lnTo>
                      <a:pt x="6638" y="943"/>
                    </a:lnTo>
                    <a:lnTo>
                      <a:pt x="6622" y="948"/>
                    </a:lnTo>
                    <a:lnTo>
                      <a:pt x="6608" y="952"/>
                    </a:lnTo>
                    <a:lnTo>
                      <a:pt x="6594" y="956"/>
                    </a:lnTo>
                    <a:lnTo>
                      <a:pt x="6580" y="959"/>
                    </a:lnTo>
                    <a:lnTo>
                      <a:pt x="6565" y="961"/>
                    </a:lnTo>
                    <a:lnTo>
                      <a:pt x="6551" y="962"/>
                    </a:lnTo>
                    <a:lnTo>
                      <a:pt x="6538" y="962"/>
                    </a:lnTo>
                    <a:lnTo>
                      <a:pt x="6517" y="962"/>
                    </a:lnTo>
                    <a:lnTo>
                      <a:pt x="6498" y="959"/>
                    </a:lnTo>
                    <a:lnTo>
                      <a:pt x="6479" y="955"/>
                    </a:lnTo>
                    <a:lnTo>
                      <a:pt x="6463" y="950"/>
                    </a:lnTo>
                    <a:lnTo>
                      <a:pt x="6447" y="942"/>
                    </a:lnTo>
                    <a:lnTo>
                      <a:pt x="6433" y="934"/>
                    </a:lnTo>
                    <a:lnTo>
                      <a:pt x="6420" y="924"/>
                    </a:lnTo>
                    <a:lnTo>
                      <a:pt x="6408" y="913"/>
                    </a:lnTo>
                    <a:lnTo>
                      <a:pt x="6398" y="900"/>
                    </a:lnTo>
                    <a:lnTo>
                      <a:pt x="6388" y="887"/>
                    </a:lnTo>
                    <a:lnTo>
                      <a:pt x="6381" y="872"/>
                    </a:lnTo>
                    <a:lnTo>
                      <a:pt x="6374" y="855"/>
                    </a:lnTo>
                    <a:lnTo>
                      <a:pt x="6369" y="838"/>
                    </a:lnTo>
                    <a:lnTo>
                      <a:pt x="6365" y="820"/>
                    </a:lnTo>
                    <a:lnTo>
                      <a:pt x="6363" y="801"/>
                    </a:lnTo>
                    <a:lnTo>
                      <a:pt x="6362" y="781"/>
                    </a:lnTo>
                    <a:lnTo>
                      <a:pt x="6363" y="766"/>
                    </a:lnTo>
                    <a:lnTo>
                      <a:pt x="6364" y="753"/>
                    </a:lnTo>
                    <a:lnTo>
                      <a:pt x="6367" y="741"/>
                    </a:lnTo>
                    <a:lnTo>
                      <a:pt x="6371" y="728"/>
                    </a:lnTo>
                    <a:lnTo>
                      <a:pt x="6375" y="718"/>
                    </a:lnTo>
                    <a:lnTo>
                      <a:pt x="6381" y="707"/>
                    </a:lnTo>
                    <a:lnTo>
                      <a:pt x="6387" y="696"/>
                    </a:lnTo>
                    <a:lnTo>
                      <a:pt x="6394" y="686"/>
                    </a:lnTo>
                    <a:lnTo>
                      <a:pt x="6402" y="676"/>
                    </a:lnTo>
                    <a:lnTo>
                      <a:pt x="6410" y="668"/>
                    </a:lnTo>
                    <a:lnTo>
                      <a:pt x="6420" y="659"/>
                    </a:lnTo>
                    <a:lnTo>
                      <a:pt x="6429" y="651"/>
                    </a:lnTo>
                    <a:lnTo>
                      <a:pt x="6439" y="644"/>
                    </a:lnTo>
                    <a:lnTo>
                      <a:pt x="6450" y="636"/>
                    </a:lnTo>
                    <a:lnTo>
                      <a:pt x="6461" y="630"/>
                    </a:lnTo>
                    <a:lnTo>
                      <a:pt x="6473" y="623"/>
                    </a:lnTo>
                    <a:lnTo>
                      <a:pt x="6497" y="612"/>
                    </a:lnTo>
                    <a:lnTo>
                      <a:pt x="6522" y="602"/>
                    </a:lnTo>
                    <a:lnTo>
                      <a:pt x="6548" y="595"/>
                    </a:lnTo>
                    <a:lnTo>
                      <a:pt x="6574" y="588"/>
                    </a:lnTo>
                    <a:lnTo>
                      <a:pt x="6600" y="584"/>
                    </a:lnTo>
                    <a:lnTo>
                      <a:pt x="6625" y="581"/>
                    </a:lnTo>
                    <a:lnTo>
                      <a:pt x="6650" y="579"/>
                    </a:lnTo>
                    <a:lnTo>
                      <a:pt x="6672" y="578"/>
                    </a:lnTo>
                    <a:lnTo>
                      <a:pt x="6689" y="578"/>
                    </a:lnTo>
                    <a:lnTo>
                      <a:pt x="6705" y="578"/>
                    </a:lnTo>
                    <a:lnTo>
                      <a:pt x="6721" y="576"/>
                    </a:lnTo>
                    <a:lnTo>
                      <a:pt x="6737" y="574"/>
                    </a:lnTo>
                    <a:lnTo>
                      <a:pt x="6737" y="560"/>
                    </a:lnTo>
                    <a:lnTo>
                      <a:pt x="6737" y="523"/>
                    </a:lnTo>
                    <a:lnTo>
                      <a:pt x="6736" y="487"/>
                    </a:lnTo>
                    <a:lnTo>
                      <a:pt x="6734" y="471"/>
                    </a:lnTo>
                    <a:lnTo>
                      <a:pt x="6732" y="454"/>
                    </a:lnTo>
                    <a:lnTo>
                      <a:pt x="6729" y="439"/>
                    </a:lnTo>
                    <a:lnTo>
                      <a:pt x="6724" y="423"/>
                    </a:lnTo>
                    <a:lnTo>
                      <a:pt x="6718" y="409"/>
                    </a:lnTo>
                    <a:lnTo>
                      <a:pt x="6710" y="397"/>
                    </a:lnTo>
                    <a:lnTo>
                      <a:pt x="6705" y="392"/>
                    </a:lnTo>
                    <a:lnTo>
                      <a:pt x="6700" y="386"/>
                    </a:lnTo>
                    <a:lnTo>
                      <a:pt x="6694" y="381"/>
                    </a:lnTo>
                    <a:lnTo>
                      <a:pt x="6688" y="377"/>
                    </a:lnTo>
                    <a:lnTo>
                      <a:pt x="6681" y="373"/>
                    </a:lnTo>
                    <a:lnTo>
                      <a:pt x="6673" y="369"/>
                    </a:lnTo>
                    <a:lnTo>
                      <a:pt x="6666" y="367"/>
                    </a:lnTo>
                    <a:lnTo>
                      <a:pt x="6656" y="364"/>
                    </a:lnTo>
                    <a:lnTo>
                      <a:pt x="6647" y="363"/>
                    </a:lnTo>
                    <a:lnTo>
                      <a:pt x="6637" y="360"/>
                    </a:lnTo>
                    <a:lnTo>
                      <a:pt x="6626" y="359"/>
                    </a:lnTo>
                    <a:lnTo>
                      <a:pt x="6614" y="359"/>
                    </a:lnTo>
                    <a:lnTo>
                      <a:pt x="6600" y="359"/>
                    </a:lnTo>
                    <a:lnTo>
                      <a:pt x="6587" y="360"/>
                    </a:lnTo>
                    <a:lnTo>
                      <a:pt x="6574" y="363"/>
                    </a:lnTo>
                    <a:lnTo>
                      <a:pt x="6563" y="365"/>
                    </a:lnTo>
                    <a:lnTo>
                      <a:pt x="6551" y="368"/>
                    </a:lnTo>
                    <a:lnTo>
                      <a:pt x="6541" y="371"/>
                    </a:lnTo>
                    <a:lnTo>
                      <a:pt x="6531" y="377"/>
                    </a:lnTo>
                    <a:lnTo>
                      <a:pt x="6523" y="382"/>
                    </a:lnTo>
                    <a:lnTo>
                      <a:pt x="6515" y="389"/>
                    </a:lnTo>
                    <a:lnTo>
                      <a:pt x="6507" y="396"/>
                    </a:lnTo>
                    <a:lnTo>
                      <a:pt x="6501" y="405"/>
                    </a:lnTo>
                    <a:lnTo>
                      <a:pt x="6496" y="414"/>
                    </a:lnTo>
                    <a:lnTo>
                      <a:pt x="6490" y="424"/>
                    </a:lnTo>
                    <a:lnTo>
                      <a:pt x="6487" y="436"/>
                    </a:lnTo>
                    <a:lnTo>
                      <a:pt x="6484" y="449"/>
                    </a:lnTo>
                    <a:lnTo>
                      <a:pt x="6481" y="464"/>
                    </a:lnTo>
                    <a:lnTo>
                      <a:pt x="6377" y="464"/>
                    </a:lnTo>
                    <a:lnTo>
                      <a:pt x="6378" y="452"/>
                    </a:lnTo>
                    <a:lnTo>
                      <a:pt x="6379" y="440"/>
                    </a:lnTo>
                    <a:lnTo>
                      <a:pt x="6382" y="429"/>
                    </a:lnTo>
                    <a:lnTo>
                      <a:pt x="6384" y="418"/>
                    </a:lnTo>
                    <a:lnTo>
                      <a:pt x="6387" y="407"/>
                    </a:lnTo>
                    <a:lnTo>
                      <a:pt x="6390" y="397"/>
                    </a:lnTo>
                    <a:lnTo>
                      <a:pt x="6395" y="389"/>
                    </a:lnTo>
                    <a:lnTo>
                      <a:pt x="6399" y="379"/>
                    </a:lnTo>
                    <a:lnTo>
                      <a:pt x="6404" y="371"/>
                    </a:lnTo>
                    <a:lnTo>
                      <a:pt x="6410" y="363"/>
                    </a:lnTo>
                    <a:lnTo>
                      <a:pt x="6415" y="355"/>
                    </a:lnTo>
                    <a:lnTo>
                      <a:pt x="6422" y="348"/>
                    </a:lnTo>
                    <a:lnTo>
                      <a:pt x="6436" y="334"/>
                    </a:lnTo>
                    <a:lnTo>
                      <a:pt x="6452" y="323"/>
                    </a:lnTo>
                    <a:lnTo>
                      <a:pt x="6468" y="313"/>
                    </a:lnTo>
                    <a:lnTo>
                      <a:pt x="6487" y="304"/>
                    </a:lnTo>
                    <a:lnTo>
                      <a:pt x="6506" y="297"/>
                    </a:lnTo>
                    <a:lnTo>
                      <a:pt x="6526" y="291"/>
                    </a:lnTo>
                    <a:lnTo>
                      <a:pt x="6547" y="287"/>
                    </a:lnTo>
                    <a:lnTo>
                      <a:pt x="6568" y="283"/>
                    </a:lnTo>
                    <a:lnTo>
                      <a:pt x="6590" y="282"/>
                    </a:lnTo>
                    <a:lnTo>
                      <a:pt x="6612" y="281"/>
                    </a:lnTo>
                    <a:lnTo>
                      <a:pt x="6638" y="282"/>
                    </a:lnTo>
                    <a:lnTo>
                      <a:pt x="6663" y="284"/>
                    </a:lnTo>
                    <a:lnTo>
                      <a:pt x="6687" y="288"/>
                    </a:lnTo>
                    <a:lnTo>
                      <a:pt x="6707" y="293"/>
                    </a:lnTo>
                    <a:lnTo>
                      <a:pt x="6728" y="301"/>
                    </a:lnTo>
                    <a:lnTo>
                      <a:pt x="6745" y="309"/>
                    </a:lnTo>
                    <a:lnTo>
                      <a:pt x="6754" y="314"/>
                    </a:lnTo>
                    <a:lnTo>
                      <a:pt x="6761" y="319"/>
                    </a:lnTo>
                    <a:lnTo>
                      <a:pt x="6769" y="326"/>
                    </a:lnTo>
                    <a:lnTo>
                      <a:pt x="6775" y="331"/>
                    </a:lnTo>
                    <a:lnTo>
                      <a:pt x="6782" y="339"/>
                    </a:lnTo>
                    <a:lnTo>
                      <a:pt x="6788" y="345"/>
                    </a:lnTo>
                    <a:lnTo>
                      <a:pt x="6794" y="353"/>
                    </a:lnTo>
                    <a:lnTo>
                      <a:pt x="6799" y="360"/>
                    </a:lnTo>
                    <a:lnTo>
                      <a:pt x="6805" y="369"/>
                    </a:lnTo>
                    <a:lnTo>
                      <a:pt x="6809" y="378"/>
                    </a:lnTo>
                    <a:lnTo>
                      <a:pt x="6812" y="386"/>
                    </a:lnTo>
                    <a:lnTo>
                      <a:pt x="6817" y="396"/>
                    </a:lnTo>
                    <a:lnTo>
                      <a:pt x="6822" y="417"/>
                    </a:lnTo>
                    <a:lnTo>
                      <a:pt x="6826" y="440"/>
                    </a:lnTo>
                    <a:lnTo>
                      <a:pt x="6829" y="465"/>
                    </a:lnTo>
                    <a:lnTo>
                      <a:pt x="6830" y="491"/>
                    </a:lnTo>
                    <a:lnTo>
                      <a:pt x="6830" y="947"/>
                    </a:lnTo>
                    <a:lnTo>
                      <a:pt x="6740" y="947"/>
                    </a:lnTo>
                    <a:close/>
                    <a:moveTo>
                      <a:pt x="6160" y="947"/>
                    </a:moveTo>
                    <a:lnTo>
                      <a:pt x="6160" y="586"/>
                    </a:lnTo>
                    <a:lnTo>
                      <a:pt x="6160" y="556"/>
                    </a:lnTo>
                    <a:lnTo>
                      <a:pt x="6160" y="522"/>
                    </a:lnTo>
                    <a:lnTo>
                      <a:pt x="6159" y="505"/>
                    </a:lnTo>
                    <a:lnTo>
                      <a:pt x="6158" y="486"/>
                    </a:lnTo>
                    <a:lnTo>
                      <a:pt x="6156" y="469"/>
                    </a:lnTo>
                    <a:lnTo>
                      <a:pt x="6153" y="453"/>
                    </a:lnTo>
                    <a:lnTo>
                      <a:pt x="6147" y="436"/>
                    </a:lnTo>
                    <a:lnTo>
                      <a:pt x="6142" y="422"/>
                    </a:lnTo>
                    <a:lnTo>
                      <a:pt x="6137" y="415"/>
                    </a:lnTo>
                    <a:lnTo>
                      <a:pt x="6134" y="408"/>
                    </a:lnTo>
                    <a:lnTo>
                      <a:pt x="6129" y="403"/>
                    </a:lnTo>
                    <a:lnTo>
                      <a:pt x="6124" y="397"/>
                    </a:lnTo>
                    <a:lnTo>
                      <a:pt x="6119" y="392"/>
                    </a:lnTo>
                    <a:lnTo>
                      <a:pt x="6113" y="388"/>
                    </a:lnTo>
                    <a:lnTo>
                      <a:pt x="6106" y="383"/>
                    </a:lnTo>
                    <a:lnTo>
                      <a:pt x="6099" y="380"/>
                    </a:lnTo>
                    <a:lnTo>
                      <a:pt x="6091" y="378"/>
                    </a:lnTo>
                    <a:lnTo>
                      <a:pt x="6083" y="376"/>
                    </a:lnTo>
                    <a:lnTo>
                      <a:pt x="6073" y="374"/>
                    </a:lnTo>
                    <a:lnTo>
                      <a:pt x="6065" y="374"/>
                    </a:lnTo>
                    <a:lnTo>
                      <a:pt x="6053" y="374"/>
                    </a:lnTo>
                    <a:lnTo>
                      <a:pt x="6043" y="377"/>
                    </a:lnTo>
                    <a:lnTo>
                      <a:pt x="6032" y="380"/>
                    </a:lnTo>
                    <a:lnTo>
                      <a:pt x="6022" y="383"/>
                    </a:lnTo>
                    <a:lnTo>
                      <a:pt x="6014" y="389"/>
                    </a:lnTo>
                    <a:lnTo>
                      <a:pt x="6005" y="395"/>
                    </a:lnTo>
                    <a:lnTo>
                      <a:pt x="5996" y="402"/>
                    </a:lnTo>
                    <a:lnTo>
                      <a:pt x="5988" y="409"/>
                    </a:lnTo>
                    <a:lnTo>
                      <a:pt x="5980" y="418"/>
                    </a:lnTo>
                    <a:lnTo>
                      <a:pt x="5974" y="427"/>
                    </a:lnTo>
                    <a:lnTo>
                      <a:pt x="5966" y="436"/>
                    </a:lnTo>
                    <a:lnTo>
                      <a:pt x="5960" y="447"/>
                    </a:lnTo>
                    <a:lnTo>
                      <a:pt x="5949" y="469"/>
                    </a:lnTo>
                    <a:lnTo>
                      <a:pt x="5938" y="493"/>
                    </a:lnTo>
                    <a:lnTo>
                      <a:pt x="5929" y="518"/>
                    </a:lnTo>
                    <a:lnTo>
                      <a:pt x="5922" y="543"/>
                    </a:lnTo>
                    <a:lnTo>
                      <a:pt x="5915" y="569"/>
                    </a:lnTo>
                    <a:lnTo>
                      <a:pt x="5911" y="594"/>
                    </a:lnTo>
                    <a:lnTo>
                      <a:pt x="5906" y="618"/>
                    </a:lnTo>
                    <a:lnTo>
                      <a:pt x="5904" y="640"/>
                    </a:lnTo>
                    <a:lnTo>
                      <a:pt x="5902" y="661"/>
                    </a:lnTo>
                    <a:lnTo>
                      <a:pt x="5902" y="680"/>
                    </a:lnTo>
                    <a:lnTo>
                      <a:pt x="5902" y="947"/>
                    </a:lnTo>
                    <a:lnTo>
                      <a:pt x="5809" y="947"/>
                    </a:lnTo>
                    <a:lnTo>
                      <a:pt x="5809" y="586"/>
                    </a:lnTo>
                    <a:lnTo>
                      <a:pt x="5809" y="556"/>
                    </a:lnTo>
                    <a:lnTo>
                      <a:pt x="5809" y="522"/>
                    </a:lnTo>
                    <a:lnTo>
                      <a:pt x="5808" y="505"/>
                    </a:lnTo>
                    <a:lnTo>
                      <a:pt x="5807" y="486"/>
                    </a:lnTo>
                    <a:lnTo>
                      <a:pt x="5804" y="469"/>
                    </a:lnTo>
                    <a:lnTo>
                      <a:pt x="5801" y="453"/>
                    </a:lnTo>
                    <a:lnTo>
                      <a:pt x="5797" y="436"/>
                    </a:lnTo>
                    <a:lnTo>
                      <a:pt x="5790" y="422"/>
                    </a:lnTo>
                    <a:lnTo>
                      <a:pt x="5787" y="415"/>
                    </a:lnTo>
                    <a:lnTo>
                      <a:pt x="5783" y="408"/>
                    </a:lnTo>
                    <a:lnTo>
                      <a:pt x="5778" y="403"/>
                    </a:lnTo>
                    <a:lnTo>
                      <a:pt x="5773" y="397"/>
                    </a:lnTo>
                    <a:lnTo>
                      <a:pt x="5767" y="392"/>
                    </a:lnTo>
                    <a:lnTo>
                      <a:pt x="5762" y="388"/>
                    </a:lnTo>
                    <a:lnTo>
                      <a:pt x="5756" y="383"/>
                    </a:lnTo>
                    <a:lnTo>
                      <a:pt x="5748" y="380"/>
                    </a:lnTo>
                    <a:lnTo>
                      <a:pt x="5740" y="378"/>
                    </a:lnTo>
                    <a:lnTo>
                      <a:pt x="5732" y="376"/>
                    </a:lnTo>
                    <a:lnTo>
                      <a:pt x="5723" y="374"/>
                    </a:lnTo>
                    <a:lnTo>
                      <a:pt x="5713" y="374"/>
                    </a:lnTo>
                    <a:lnTo>
                      <a:pt x="5702" y="374"/>
                    </a:lnTo>
                    <a:lnTo>
                      <a:pt x="5691" y="377"/>
                    </a:lnTo>
                    <a:lnTo>
                      <a:pt x="5682" y="380"/>
                    </a:lnTo>
                    <a:lnTo>
                      <a:pt x="5672" y="383"/>
                    </a:lnTo>
                    <a:lnTo>
                      <a:pt x="5663" y="389"/>
                    </a:lnTo>
                    <a:lnTo>
                      <a:pt x="5654" y="395"/>
                    </a:lnTo>
                    <a:lnTo>
                      <a:pt x="5646" y="402"/>
                    </a:lnTo>
                    <a:lnTo>
                      <a:pt x="5637" y="409"/>
                    </a:lnTo>
                    <a:lnTo>
                      <a:pt x="5630" y="418"/>
                    </a:lnTo>
                    <a:lnTo>
                      <a:pt x="5623" y="427"/>
                    </a:lnTo>
                    <a:lnTo>
                      <a:pt x="5616" y="436"/>
                    </a:lnTo>
                    <a:lnTo>
                      <a:pt x="5609" y="447"/>
                    </a:lnTo>
                    <a:lnTo>
                      <a:pt x="5597" y="469"/>
                    </a:lnTo>
                    <a:lnTo>
                      <a:pt x="5587" y="493"/>
                    </a:lnTo>
                    <a:lnTo>
                      <a:pt x="5579" y="518"/>
                    </a:lnTo>
                    <a:lnTo>
                      <a:pt x="5571" y="543"/>
                    </a:lnTo>
                    <a:lnTo>
                      <a:pt x="5565" y="569"/>
                    </a:lnTo>
                    <a:lnTo>
                      <a:pt x="5559" y="594"/>
                    </a:lnTo>
                    <a:lnTo>
                      <a:pt x="5555" y="618"/>
                    </a:lnTo>
                    <a:lnTo>
                      <a:pt x="5553" y="640"/>
                    </a:lnTo>
                    <a:lnTo>
                      <a:pt x="5552" y="661"/>
                    </a:lnTo>
                    <a:lnTo>
                      <a:pt x="5550" y="680"/>
                    </a:lnTo>
                    <a:lnTo>
                      <a:pt x="5550" y="947"/>
                    </a:lnTo>
                    <a:lnTo>
                      <a:pt x="5457" y="947"/>
                    </a:lnTo>
                    <a:lnTo>
                      <a:pt x="5457" y="296"/>
                    </a:lnTo>
                    <a:lnTo>
                      <a:pt x="5550" y="296"/>
                    </a:lnTo>
                    <a:lnTo>
                      <a:pt x="5550" y="447"/>
                    </a:lnTo>
                    <a:lnTo>
                      <a:pt x="5554" y="447"/>
                    </a:lnTo>
                    <a:lnTo>
                      <a:pt x="5558" y="430"/>
                    </a:lnTo>
                    <a:lnTo>
                      <a:pt x="5565" y="412"/>
                    </a:lnTo>
                    <a:lnTo>
                      <a:pt x="5571" y="397"/>
                    </a:lnTo>
                    <a:lnTo>
                      <a:pt x="5578" y="382"/>
                    </a:lnTo>
                    <a:lnTo>
                      <a:pt x="5585" y="367"/>
                    </a:lnTo>
                    <a:lnTo>
                      <a:pt x="5594" y="354"/>
                    </a:lnTo>
                    <a:lnTo>
                      <a:pt x="5604" y="341"/>
                    </a:lnTo>
                    <a:lnTo>
                      <a:pt x="5614" y="329"/>
                    </a:lnTo>
                    <a:lnTo>
                      <a:pt x="5625" y="318"/>
                    </a:lnTo>
                    <a:lnTo>
                      <a:pt x="5637" y="309"/>
                    </a:lnTo>
                    <a:lnTo>
                      <a:pt x="5651" y="301"/>
                    </a:lnTo>
                    <a:lnTo>
                      <a:pt x="5665" y="294"/>
                    </a:lnTo>
                    <a:lnTo>
                      <a:pt x="5681" y="289"/>
                    </a:lnTo>
                    <a:lnTo>
                      <a:pt x="5698" y="284"/>
                    </a:lnTo>
                    <a:lnTo>
                      <a:pt x="5715" y="282"/>
                    </a:lnTo>
                    <a:lnTo>
                      <a:pt x="5735" y="281"/>
                    </a:lnTo>
                    <a:lnTo>
                      <a:pt x="5752" y="282"/>
                    </a:lnTo>
                    <a:lnTo>
                      <a:pt x="5770" y="283"/>
                    </a:lnTo>
                    <a:lnTo>
                      <a:pt x="5786" y="287"/>
                    </a:lnTo>
                    <a:lnTo>
                      <a:pt x="5801" y="291"/>
                    </a:lnTo>
                    <a:lnTo>
                      <a:pt x="5814" y="296"/>
                    </a:lnTo>
                    <a:lnTo>
                      <a:pt x="5828" y="303"/>
                    </a:lnTo>
                    <a:lnTo>
                      <a:pt x="5840" y="310"/>
                    </a:lnTo>
                    <a:lnTo>
                      <a:pt x="5851" y="319"/>
                    </a:lnTo>
                    <a:lnTo>
                      <a:pt x="5861" y="329"/>
                    </a:lnTo>
                    <a:lnTo>
                      <a:pt x="5869" y="341"/>
                    </a:lnTo>
                    <a:lnTo>
                      <a:pt x="5877" y="353"/>
                    </a:lnTo>
                    <a:lnTo>
                      <a:pt x="5885" y="366"/>
                    </a:lnTo>
                    <a:lnTo>
                      <a:pt x="5890" y="381"/>
                    </a:lnTo>
                    <a:lnTo>
                      <a:pt x="5894" y="396"/>
                    </a:lnTo>
                    <a:lnTo>
                      <a:pt x="5898" y="412"/>
                    </a:lnTo>
                    <a:lnTo>
                      <a:pt x="5899" y="430"/>
                    </a:lnTo>
                    <a:lnTo>
                      <a:pt x="5902" y="430"/>
                    </a:lnTo>
                    <a:lnTo>
                      <a:pt x="5907" y="415"/>
                    </a:lnTo>
                    <a:lnTo>
                      <a:pt x="5914" y="399"/>
                    </a:lnTo>
                    <a:lnTo>
                      <a:pt x="5922" y="385"/>
                    </a:lnTo>
                    <a:lnTo>
                      <a:pt x="5929" y="372"/>
                    </a:lnTo>
                    <a:lnTo>
                      <a:pt x="5938" y="359"/>
                    </a:lnTo>
                    <a:lnTo>
                      <a:pt x="5948" y="346"/>
                    </a:lnTo>
                    <a:lnTo>
                      <a:pt x="5958" y="335"/>
                    </a:lnTo>
                    <a:lnTo>
                      <a:pt x="5970" y="325"/>
                    </a:lnTo>
                    <a:lnTo>
                      <a:pt x="5982" y="315"/>
                    </a:lnTo>
                    <a:lnTo>
                      <a:pt x="5995" y="306"/>
                    </a:lnTo>
                    <a:lnTo>
                      <a:pt x="6008" y="298"/>
                    </a:lnTo>
                    <a:lnTo>
                      <a:pt x="6022" y="293"/>
                    </a:lnTo>
                    <a:lnTo>
                      <a:pt x="6038" y="288"/>
                    </a:lnTo>
                    <a:lnTo>
                      <a:pt x="6053" y="284"/>
                    </a:lnTo>
                    <a:lnTo>
                      <a:pt x="6069" y="282"/>
                    </a:lnTo>
                    <a:lnTo>
                      <a:pt x="6086" y="281"/>
                    </a:lnTo>
                    <a:lnTo>
                      <a:pt x="6097" y="281"/>
                    </a:lnTo>
                    <a:lnTo>
                      <a:pt x="6107" y="282"/>
                    </a:lnTo>
                    <a:lnTo>
                      <a:pt x="6117" y="283"/>
                    </a:lnTo>
                    <a:lnTo>
                      <a:pt x="6127" y="285"/>
                    </a:lnTo>
                    <a:lnTo>
                      <a:pt x="6135" y="288"/>
                    </a:lnTo>
                    <a:lnTo>
                      <a:pt x="6144" y="291"/>
                    </a:lnTo>
                    <a:lnTo>
                      <a:pt x="6153" y="294"/>
                    </a:lnTo>
                    <a:lnTo>
                      <a:pt x="6160" y="298"/>
                    </a:lnTo>
                    <a:lnTo>
                      <a:pt x="6175" y="307"/>
                    </a:lnTo>
                    <a:lnTo>
                      <a:pt x="6190" y="318"/>
                    </a:lnTo>
                    <a:lnTo>
                      <a:pt x="6201" y="330"/>
                    </a:lnTo>
                    <a:lnTo>
                      <a:pt x="6212" y="343"/>
                    </a:lnTo>
                    <a:lnTo>
                      <a:pt x="6222" y="358"/>
                    </a:lnTo>
                    <a:lnTo>
                      <a:pt x="6231" y="373"/>
                    </a:lnTo>
                    <a:lnTo>
                      <a:pt x="6237" y="391"/>
                    </a:lnTo>
                    <a:lnTo>
                      <a:pt x="6243" y="408"/>
                    </a:lnTo>
                    <a:lnTo>
                      <a:pt x="6247" y="426"/>
                    </a:lnTo>
                    <a:lnTo>
                      <a:pt x="6250" y="444"/>
                    </a:lnTo>
                    <a:lnTo>
                      <a:pt x="6252" y="464"/>
                    </a:lnTo>
                    <a:lnTo>
                      <a:pt x="6252" y="482"/>
                    </a:lnTo>
                    <a:lnTo>
                      <a:pt x="6252" y="947"/>
                    </a:lnTo>
                    <a:lnTo>
                      <a:pt x="6160" y="947"/>
                    </a:lnTo>
                    <a:close/>
                    <a:moveTo>
                      <a:pt x="5158" y="677"/>
                    </a:moveTo>
                    <a:lnTo>
                      <a:pt x="5158" y="947"/>
                    </a:lnTo>
                    <a:lnTo>
                      <a:pt x="5065" y="947"/>
                    </a:lnTo>
                    <a:lnTo>
                      <a:pt x="5065" y="296"/>
                    </a:lnTo>
                    <a:lnTo>
                      <a:pt x="5158" y="296"/>
                    </a:lnTo>
                    <a:lnTo>
                      <a:pt x="5158" y="422"/>
                    </a:lnTo>
                    <a:lnTo>
                      <a:pt x="5161" y="422"/>
                    </a:lnTo>
                    <a:lnTo>
                      <a:pt x="5168" y="405"/>
                    </a:lnTo>
                    <a:lnTo>
                      <a:pt x="5178" y="389"/>
                    </a:lnTo>
                    <a:lnTo>
                      <a:pt x="5187" y="374"/>
                    </a:lnTo>
                    <a:lnTo>
                      <a:pt x="5198" y="360"/>
                    </a:lnTo>
                    <a:lnTo>
                      <a:pt x="5209" y="347"/>
                    </a:lnTo>
                    <a:lnTo>
                      <a:pt x="5221" y="336"/>
                    </a:lnTo>
                    <a:lnTo>
                      <a:pt x="5233" y="326"/>
                    </a:lnTo>
                    <a:lnTo>
                      <a:pt x="5246" y="316"/>
                    </a:lnTo>
                    <a:lnTo>
                      <a:pt x="5260" y="308"/>
                    </a:lnTo>
                    <a:lnTo>
                      <a:pt x="5275" y="301"/>
                    </a:lnTo>
                    <a:lnTo>
                      <a:pt x="5290" y="295"/>
                    </a:lnTo>
                    <a:lnTo>
                      <a:pt x="5306" y="290"/>
                    </a:lnTo>
                    <a:lnTo>
                      <a:pt x="5323" y="287"/>
                    </a:lnTo>
                    <a:lnTo>
                      <a:pt x="5341" y="283"/>
                    </a:lnTo>
                    <a:lnTo>
                      <a:pt x="5359" y="282"/>
                    </a:lnTo>
                    <a:lnTo>
                      <a:pt x="5378" y="281"/>
                    </a:lnTo>
                    <a:lnTo>
                      <a:pt x="5378" y="381"/>
                    </a:lnTo>
                    <a:lnTo>
                      <a:pt x="5363" y="382"/>
                    </a:lnTo>
                    <a:lnTo>
                      <a:pt x="5348" y="383"/>
                    </a:lnTo>
                    <a:lnTo>
                      <a:pt x="5333" y="385"/>
                    </a:lnTo>
                    <a:lnTo>
                      <a:pt x="5320" y="389"/>
                    </a:lnTo>
                    <a:lnTo>
                      <a:pt x="5307" y="392"/>
                    </a:lnTo>
                    <a:lnTo>
                      <a:pt x="5295" y="396"/>
                    </a:lnTo>
                    <a:lnTo>
                      <a:pt x="5284" y="402"/>
                    </a:lnTo>
                    <a:lnTo>
                      <a:pt x="5273" y="407"/>
                    </a:lnTo>
                    <a:lnTo>
                      <a:pt x="5263" y="415"/>
                    </a:lnTo>
                    <a:lnTo>
                      <a:pt x="5253" y="421"/>
                    </a:lnTo>
                    <a:lnTo>
                      <a:pt x="5243" y="429"/>
                    </a:lnTo>
                    <a:lnTo>
                      <a:pt x="5235" y="437"/>
                    </a:lnTo>
                    <a:lnTo>
                      <a:pt x="5226" y="446"/>
                    </a:lnTo>
                    <a:lnTo>
                      <a:pt x="5218" y="456"/>
                    </a:lnTo>
                    <a:lnTo>
                      <a:pt x="5212" y="466"/>
                    </a:lnTo>
                    <a:lnTo>
                      <a:pt x="5205" y="477"/>
                    </a:lnTo>
                    <a:lnTo>
                      <a:pt x="5199" y="487"/>
                    </a:lnTo>
                    <a:lnTo>
                      <a:pt x="5193" y="498"/>
                    </a:lnTo>
                    <a:lnTo>
                      <a:pt x="5188" y="510"/>
                    </a:lnTo>
                    <a:lnTo>
                      <a:pt x="5184" y="521"/>
                    </a:lnTo>
                    <a:lnTo>
                      <a:pt x="5175" y="546"/>
                    </a:lnTo>
                    <a:lnTo>
                      <a:pt x="5168" y="571"/>
                    </a:lnTo>
                    <a:lnTo>
                      <a:pt x="5164" y="598"/>
                    </a:lnTo>
                    <a:lnTo>
                      <a:pt x="5161" y="624"/>
                    </a:lnTo>
                    <a:lnTo>
                      <a:pt x="5159" y="651"/>
                    </a:lnTo>
                    <a:lnTo>
                      <a:pt x="5158" y="677"/>
                    </a:lnTo>
                    <a:close/>
                    <a:moveTo>
                      <a:pt x="4683" y="359"/>
                    </a:moveTo>
                    <a:lnTo>
                      <a:pt x="4672" y="359"/>
                    </a:lnTo>
                    <a:lnTo>
                      <a:pt x="4660" y="361"/>
                    </a:lnTo>
                    <a:lnTo>
                      <a:pt x="4649" y="364"/>
                    </a:lnTo>
                    <a:lnTo>
                      <a:pt x="4638" y="367"/>
                    </a:lnTo>
                    <a:lnTo>
                      <a:pt x="4628" y="370"/>
                    </a:lnTo>
                    <a:lnTo>
                      <a:pt x="4619" y="374"/>
                    </a:lnTo>
                    <a:lnTo>
                      <a:pt x="4610" y="380"/>
                    </a:lnTo>
                    <a:lnTo>
                      <a:pt x="4602" y="385"/>
                    </a:lnTo>
                    <a:lnTo>
                      <a:pt x="4594" y="392"/>
                    </a:lnTo>
                    <a:lnTo>
                      <a:pt x="4587" y="399"/>
                    </a:lnTo>
                    <a:lnTo>
                      <a:pt x="4580" y="407"/>
                    </a:lnTo>
                    <a:lnTo>
                      <a:pt x="4574" y="415"/>
                    </a:lnTo>
                    <a:lnTo>
                      <a:pt x="4568" y="423"/>
                    </a:lnTo>
                    <a:lnTo>
                      <a:pt x="4563" y="432"/>
                    </a:lnTo>
                    <a:lnTo>
                      <a:pt x="4559" y="442"/>
                    </a:lnTo>
                    <a:lnTo>
                      <a:pt x="4554" y="452"/>
                    </a:lnTo>
                    <a:lnTo>
                      <a:pt x="4546" y="472"/>
                    </a:lnTo>
                    <a:lnTo>
                      <a:pt x="4540" y="493"/>
                    </a:lnTo>
                    <a:lnTo>
                      <a:pt x="4535" y="515"/>
                    </a:lnTo>
                    <a:lnTo>
                      <a:pt x="4532" y="537"/>
                    </a:lnTo>
                    <a:lnTo>
                      <a:pt x="4528" y="559"/>
                    </a:lnTo>
                    <a:lnTo>
                      <a:pt x="4526" y="581"/>
                    </a:lnTo>
                    <a:lnTo>
                      <a:pt x="4525" y="601"/>
                    </a:lnTo>
                    <a:lnTo>
                      <a:pt x="4525" y="622"/>
                    </a:lnTo>
                    <a:lnTo>
                      <a:pt x="4525" y="642"/>
                    </a:lnTo>
                    <a:lnTo>
                      <a:pt x="4526" y="663"/>
                    </a:lnTo>
                    <a:lnTo>
                      <a:pt x="4528" y="685"/>
                    </a:lnTo>
                    <a:lnTo>
                      <a:pt x="4532" y="707"/>
                    </a:lnTo>
                    <a:lnTo>
                      <a:pt x="4535" y="728"/>
                    </a:lnTo>
                    <a:lnTo>
                      <a:pt x="4540" y="750"/>
                    </a:lnTo>
                    <a:lnTo>
                      <a:pt x="4546" y="772"/>
                    </a:lnTo>
                    <a:lnTo>
                      <a:pt x="4554" y="793"/>
                    </a:lnTo>
                    <a:lnTo>
                      <a:pt x="4559" y="802"/>
                    </a:lnTo>
                    <a:lnTo>
                      <a:pt x="4563" y="811"/>
                    </a:lnTo>
                    <a:lnTo>
                      <a:pt x="4568" y="820"/>
                    </a:lnTo>
                    <a:lnTo>
                      <a:pt x="4574" y="828"/>
                    </a:lnTo>
                    <a:lnTo>
                      <a:pt x="4580" y="837"/>
                    </a:lnTo>
                    <a:lnTo>
                      <a:pt x="4587" y="845"/>
                    </a:lnTo>
                    <a:lnTo>
                      <a:pt x="4594" y="851"/>
                    </a:lnTo>
                    <a:lnTo>
                      <a:pt x="4602" y="858"/>
                    </a:lnTo>
                    <a:lnTo>
                      <a:pt x="4610" y="864"/>
                    </a:lnTo>
                    <a:lnTo>
                      <a:pt x="4619" y="869"/>
                    </a:lnTo>
                    <a:lnTo>
                      <a:pt x="4628" y="874"/>
                    </a:lnTo>
                    <a:lnTo>
                      <a:pt x="4638" y="877"/>
                    </a:lnTo>
                    <a:lnTo>
                      <a:pt x="4649" y="880"/>
                    </a:lnTo>
                    <a:lnTo>
                      <a:pt x="4660" y="883"/>
                    </a:lnTo>
                    <a:lnTo>
                      <a:pt x="4672" y="884"/>
                    </a:lnTo>
                    <a:lnTo>
                      <a:pt x="4683" y="885"/>
                    </a:lnTo>
                    <a:lnTo>
                      <a:pt x="4696" y="884"/>
                    </a:lnTo>
                    <a:lnTo>
                      <a:pt x="4708" y="883"/>
                    </a:lnTo>
                    <a:lnTo>
                      <a:pt x="4719" y="880"/>
                    </a:lnTo>
                    <a:lnTo>
                      <a:pt x="4730" y="877"/>
                    </a:lnTo>
                    <a:lnTo>
                      <a:pt x="4740" y="874"/>
                    </a:lnTo>
                    <a:lnTo>
                      <a:pt x="4750" y="870"/>
                    </a:lnTo>
                    <a:lnTo>
                      <a:pt x="4758" y="864"/>
                    </a:lnTo>
                    <a:lnTo>
                      <a:pt x="4767" y="858"/>
                    </a:lnTo>
                    <a:lnTo>
                      <a:pt x="4775" y="852"/>
                    </a:lnTo>
                    <a:lnTo>
                      <a:pt x="4782" y="845"/>
                    </a:lnTo>
                    <a:lnTo>
                      <a:pt x="4789" y="837"/>
                    </a:lnTo>
                    <a:lnTo>
                      <a:pt x="4795" y="829"/>
                    </a:lnTo>
                    <a:lnTo>
                      <a:pt x="4801" y="821"/>
                    </a:lnTo>
                    <a:lnTo>
                      <a:pt x="4806" y="812"/>
                    </a:lnTo>
                    <a:lnTo>
                      <a:pt x="4812" y="802"/>
                    </a:lnTo>
                    <a:lnTo>
                      <a:pt x="4816" y="793"/>
                    </a:lnTo>
                    <a:lnTo>
                      <a:pt x="4823" y="772"/>
                    </a:lnTo>
                    <a:lnTo>
                      <a:pt x="4830" y="751"/>
                    </a:lnTo>
                    <a:lnTo>
                      <a:pt x="4835" y="730"/>
                    </a:lnTo>
                    <a:lnTo>
                      <a:pt x="4839" y="707"/>
                    </a:lnTo>
                    <a:lnTo>
                      <a:pt x="4842" y="685"/>
                    </a:lnTo>
                    <a:lnTo>
                      <a:pt x="4844" y="663"/>
                    </a:lnTo>
                    <a:lnTo>
                      <a:pt x="4845" y="642"/>
                    </a:lnTo>
                    <a:lnTo>
                      <a:pt x="4845" y="622"/>
                    </a:lnTo>
                    <a:lnTo>
                      <a:pt x="4845" y="601"/>
                    </a:lnTo>
                    <a:lnTo>
                      <a:pt x="4844" y="581"/>
                    </a:lnTo>
                    <a:lnTo>
                      <a:pt x="4842" y="558"/>
                    </a:lnTo>
                    <a:lnTo>
                      <a:pt x="4839" y="536"/>
                    </a:lnTo>
                    <a:lnTo>
                      <a:pt x="4835" y="515"/>
                    </a:lnTo>
                    <a:lnTo>
                      <a:pt x="4830" y="493"/>
                    </a:lnTo>
                    <a:lnTo>
                      <a:pt x="4823" y="471"/>
                    </a:lnTo>
                    <a:lnTo>
                      <a:pt x="4815" y="452"/>
                    </a:lnTo>
                    <a:lnTo>
                      <a:pt x="4810" y="442"/>
                    </a:lnTo>
                    <a:lnTo>
                      <a:pt x="4805" y="432"/>
                    </a:lnTo>
                    <a:lnTo>
                      <a:pt x="4800" y="423"/>
                    </a:lnTo>
                    <a:lnTo>
                      <a:pt x="4794" y="415"/>
                    </a:lnTo>
                    <a:lnTo>
                      <a:pt x="4788" y="407"/>
                    </a:lnTo>
                    <a:lnTo>
                      <a:pt x="4781" y="399"/>
                    </a:lnTo>
                    <a:lnTo>
                      <a:pt x="4774" y="392"/>
                    </a:lnTo>
                    <a:lnTo>
                      <a:pt x="4766" y="385"/>
                    </a:lnTo>
                    <a:lnTo>
                      <a:pt x="4757" y="380"/>
                    </a:lnTo>
                    <a:lnTo>
                      <a:pt x="4749" y="374"/>
                    </a:lnTo>
                    <a:lnTo>
                      <a:pt x="4740" y="370"/>
                    </a:lnTo>
                    <a:lnTo>
                      <a:pt x="4729" y="366"/>
                    </a:lnTo>
                    <a:lnTo>
                      <a:pt x="4719" y="364"/>
                    </a:lnTo>
                    <a:lnTo>
                      <a:pt x="4707" y="361"/>
                    </a:lnTo>
                    <a:lnTo>
                      <a:pt x="4696" y="359"/>
                    </a:lnTo>
                    <a:lnTo>
                      <a:pt x="4683" y="359"/>
                    </a:lnTo>
                    <a:close/>
                    <a:moveTo>
                      <a:pt x="4683" y="962"/>
                    </a:moveTo>
                    <a:lnTo>
                      <a:pt x="4665" y="962"/>
                    </a:lnTo>
                    <a:lnTo>
                      <a:pt x="4648" y="961"/>
                    </a:lnTo>
                    <a:lnTo>
                      <a:pt x="4630" y="958"/>
                    </a:lnTo>
                    <a:lnTo>
                      <a:pt x="4615" y="955"/>
                    </a:lnTo>
                    <a:lnTo>
                      <a:pt x="4599" y="951"/>
                    </a:lnTo>
                    <a:lnTo>
                      <a:pt x="4585" y="946"/>
                    </a:lnTo>
                    <a:lnTo>
                      <a:pt x="4571" y="940"/>
                    </a:lnTo>
                    <a:lnTo>
                      <a:pt x="4558" y="934"/>
                    </a:lnTo>
                    <a:lnTo>
                      <a:pt x="4545" y="927"/>
                    </a:lnTo>
                    <a:lnTo>
                      <a:pt x="4534" y="918"/>
                    </a:lnTo>
                    <a:lnTo>
                      <a:pt x="4522" y="910"/>
                    </a:lnTo>
                    <a:lnTo>
                      <a:pt x="4512" y="901"/>
                    </a:lnTo>
                    <a:lnTo>
                      <a:pt x="4502" y="891"/>
                    </a:lnTo>
                    <a:lnTo>
                      <a:pt x="4493" y="880"/>
                    </a:lnTo>
                    <a:lnTo>
                      <a:pt x="4484" y="870"/>
                    </a:lnTo>
                    <a:lnTo>
                      <a:pt x="4476" y="859"/>
                    </a:lnTo>
                    <a:lnTo>
                      <a:pt x="4469" y="847"/>
                    </a:lnTo>
                    <a:lnTo>
                      <a:pt x="4462" y="834"/>
                    </a:lnTo>
                    <a:lnTo>
                      <a:pt x="4456" y="821"/>
                    </a:lnTo>
                    <a:lnTo>
                      <a:pt x="4449" y="808"/>
                    </a:lnTo>
                    <a:lnTo>
                      <a:pt x="4445" y="794"/>
                    </a:lnTo>
                    <a:lnTo>
                      <a:pt x="4439" y="779"/>
                    </a:lnTo>
                    <a:lnTo>
                      <a:pt x="4435" y="764"/>
                    </a:lnTo>
                    <a:lnTo>
                      <a:pt x="4432" y="750"/>
                    </a:lnTo>
                    <a:lnTo>
                      <a:pt x="4426" y="720"/>
                    </a:lnTo>
                    <a:lnTo>
                      <a:pt x="4422" y="688"/>
                    </a:lnTo>
                    <a:lnTo>
                      <a:pt x="4420" y="656"/>
                    </a:lnTo>
                    <a:lnTo>
                      <a:pt x="4419" y="623"/>
                    </a:lnTo>
                    <a:lnTo>
                      <a:pt x="4420" y="591"/>
                    </a:lnTo>
                    <a:lnTo>
                      <a:pt x="4422" y="558"/>
                    </a:lnTo>
                    <a:lnTo>
                      <a:pt x="4426" y="526"/>
                    </a:lnTo>
                    <a:lnTo>
                      <a:pt x="4432" y="496"/>
                    </a:lnTo>
                    <a:lnTo>
                      <a:pt x="4435" y="481"/>
                    </a:lnTo>
                    <a:lnTo>
                      <a:pt x="4439" y="467"/>
                    </a:lnTo>
                    <a:lnTo>
                      <a:pt x="4445" y="452"/>
                    </a:lnTo>
                    <a:lnTo>
                      <a:pt x="4449" y="439"/>
                    </a:lnTo>
                    <a:lnTo>
                      <a:pt x="4456" y="424"/>
                    </a:lnTo>
                    <a:lnTo>
                      <a:pt x="4462" y="411"/>
                    </a:lnTo>
                    <a:lnTo>
                      <a:pt x="4469" y="398"/>
                    </a:lnTo>
                    <a:lnTo>
                      <a:pt x="4476" y="386"/>
                    </a:lnTo>
                    <a:lnTo>
                      <a:pt x="4484" y="374"/>
                    </a:lnTo>
                    <a:lnTo>
                      <a:pt x="4493" y="364"/>
                    </a:lnTo>
                    <a:lnTo>
                      <a:pt x="4502" y="353"/>
                    </a:lnTo>
                    <a:lnTo>
                      <a:pt x="4512" y="343"/>
                    </a:lnTo>
                    <a:lnTo>
                      <a:pt x="4522" y="334"/>
                    </a:lnTo>
                    <a:lnTo>
                      <a:pt x="4534" y="326"/>
                    </a:lnTo>
                    <a:lnTo>
                      <a:pt x="4545" y="317"/>
                    </a:lnTo>
                    <a:lnTo>
                      <a:pt x="4558" y="310"/>
                    </a:lnTo>
                    <a:lnTo>
                      <a:pt x="4571" y="304"/>
                    </a:lnTo>
                    <a:lnTo>
                      <a:pt x="4585" y="297"/>
                    </a:lnTo>
                    <a:lnTo>
                      <a:pt x="4599" y="293"/>
                    </a:lnTo>
                    <a:lnTo>
                      <a:pt x="4615" y="289"/>
                    </a:lnTo>
                    <a:lnTo>
                      <a:pt x="4630" y="285"/>
                    </a:lnTo>
                    <a:lnTo>
                      <a:pt x="4648" y="283"/>
                    </a:lnTo>
                    <a:lnTo>
                      <a:pt x="4665" y="282"/>
                    </a:lnTo>
                    <a:lnTo>
                      <a:pt x="4683" y="281"/>
                    </a:lnTo>
                    <a:lnTo>
                      <a:pt x="4702" y="282"/>
                    </a:lnTo>
                    <a:lnTo>
                      <a:pt x="4720" y="283"/>
                    </a:lnTo>
                    <a:lnTo>
                      <a:pt x="4737" y="285"/>
                    </a:lnTo>
                    <a:lnTo>
                      <a:pt x="4753" y="289"/>
                    </a:lnTo>
                    <a:lnTo>
                      <a:pt x="4769" y="293"/>
                    </a:lnTo>
                    <a:lnTo>
                      <a:pt x="4783" y="297"/>
                    </a:lnTo>
                    <a:lnTo>
                      <a:pt x="4797" y="304"/>
                    </a:lnTo>
                    <a:lnTo>
                      <a:pt x="4810" y="309"/>
                    </a:lnTo>
                    <a:lnTo>
                      <a:pt x="4823" y="317"/>
                    </a:lnTo>
                    <a:lnTo>
                      <a:pt x="4835" y="325"/>
                    </a:lnTo>
                    <a:lnTo>
                      <a:pt x="4846" y="333"/>
                    </a:lnTo>
                    <a:lnTo>
                      <a:pt x="4857" y="343"/>
                    </a:lnTo>
                    <a:lnTo>
                      <a:pt x="4867" y="353"/>
                    </a:lnTo>
                    <a:lnTo>
                      <a:pt x="4877" y="364"/>
                    </a:lnTo>
                    <a:lnTo>
                      <a:pt x="4885" y="374"/>
                    </a:lnTo>
                    <a:lnTo>
                      <a:pt x="4894" y="386"/>
                    </a:lnTo>
                    <a:lnTo>
                      <a:pt x="4902" y="398"/>
                    </a:lnTo>
                    <a:lnTo>
                      <a:pt x="4908" y="410"/>
                    </a:lnTo>
                    <a:lnTo>
                      <a:pt x="4915" y="424"/>
                    </a:lnTo>
                    <a:lnTo>
                      <a:pt x="4920" y="437"/>
                    </a:lnTo>
                    <a:lnTo>
                      <a:pt x="4925" y="452"/>
                    </a:lnTo>
                    <a:lnTo>
                      <a:pt x="4930" y="466"/>
                    </a:lnTo>
                    <a:lnTo>
                      <a:pt x="4934" y="481"/>
                    </a:lnTo>
                    <a:lnTo>
                      <a:pt x="4938" y="495"/>
                    </a:lnTo>
                    <a:lnTo>
                      <a:pt x="4944" y="526"/>
                    </a:lnTo>
                    <a:lnTo>
                      <a:pt x="4948" y="558"/>
                    </a:lnTo>
                    <a:lnTo>
                      <a:pt x="4950" y="591"/>
                    </a:lnTo>
                    <a:lnTo>
                      <a:pt x="4951" y="623"/>
                    </a:lnTo>
                    <a:lnTo>
                      <a:pt x="4950" y="656"/>
                    </a:lnTo>
                    <a:lnTo>
                      <a:pt x="4948" y="688"/>
                    </a:lnTo>
                    <a:lnTo>
                      <a:pt x="4944" y="720"/>
                    </a:lnTo>
                    <a:lnTo>
                      <a:pt x="4938" y="750"/>
                    </a:lnTo>
                    <a:lnTo>
                      <a:pt x="4934" y="765"/>
                    </a:lnTo>
                    <a:lnTo>
                      <a:pt x="4930" y="779"/>
                    </a:lnTo>
                    <a:lnTo>
                      <a:pt x="4925" y="794"/>
                    </a:lnTo>
                    <a:lnTo>
                      <a:pt x="4920" y="808"/>
                    </a:lnTo>
                    <a:lnTo>
                      <a:pt x="4915" y="822"/>
                    </a:lnTo>
                    <a:lnTo>
                      <a:pt x="4908" y="834"/>
                    </a:lnTo>
                    <a:lnTo>
                      <a:pt x="4902" y="847"/>
                    </a:lnTo>
                    <a:lnTo>
                      <a:pt x="4894" y="859"/>
                    </a:lnTo>
                    <a:lnTo>
                      <a:pt x="4885" y="871"/>
                    </a:lnTo>
                    <a:lnTo>
                      <a:pt x="4877" y="882"/>
                    </a:lnTo>
                    <a:lnTo>
                      <a:pt x="4867" y="891"/>
                    </a:lnTo>
                    <a:lnTo>
                      <a:pt x="4857" y="901"/>
                    </a:lnTo>
                    <a:lnTo>
                      <a:pt x="4846" y="911"/>
                    </a:lnTo>
                    <a:lnTo>
                      <a:pt x="4835" y="920"/>
                    </a:lnTo>
                    <a:lnTo>
                      <a:pt x="4823" y="927"/>
                    </a:lnTo>
                    <a:lnTo>
                      <a:pt x="4810" y="934"/>
                    </a:lnTo>
                    <a:lnTo>
                      <a:pt x="4797" y="940"/>
                    </a:lnTo>
                    <a:lnTo>
                      <a:pt x="4783" y="946"/>
                    </a:lnTo>
                    <a:lnTo>
                      <a:pt x="4769" y="951"/>
                    </a:lnTo>
                    <a:lnTo>
                      <a:pt x="4753" y="955"/>
                    </a:lnTo>
                    <a:lnTo>
                      <a:pt x="4737" y="958"/>
                    </a:lnTo>
                    <a:lnTo>
                      <a:pt x="4720" y="961"/>
                    </a:lnTo>
                    <a:lnTo>
                      <a:pt x="4702" y="962"/>
                    </a:lnTo>
                    <a:lnTo>
                      <a:pt x="4683" y="962"/>
                    </a:lnTo>
                    <a:close/>
                    <a:moveTo>
                      <a:pt x="4340" y="77"/>
                    </a:moveTo>
                    <a:lnTo>
                      <a:pt x="4325" y="78"/>
                    </a:lnTo>
                    <a:lnTo>
                      <a:pt x="4313" y="79"/>
                    </a:lnTo>
                    <a:lnTo>
                      <a:pt x="4302" y="80"/>
                    </a:lnTo>
                    <a:lnTo>
                      <a:pt x="4291" y="82"/>
                    </a:lnTo>
                    <a:lnTo>
                      <a:pt x="4281" y="85"/>
                    </a:lnTo>
                    <a:lnTo>
                      <a:pt x="4272" y="88"/>
                    </a:lnTo>
                    <a:lnTo>
                      <a:pt x="4264" y="92"/>
                    </a:lnTo>
                    <a:lnTo>
                      <a:pt x="4256" y="95"/>
                    </a:lnTo>
                    <a:lnTo>
                      <a:pt x="4248" y="101"/>
                    </a:lnTo>
                    <a:lnTo>
                      <a:pt x="4242" y="105"/>
                    </a:lnTo>
                    <a:lnTo>
                      <a:pt x="4236" y="112"/>
                    </a:lnTo>
                    <a:lnTo>
                      <a:pt x="4231" y="117"/>
                    </a:lnTo>
                    <a:lnTo>
                      <a:pt x="4227" y="124"/>
                    </a:lnTo>
                    <a:lnTo>
                      <a:pt x="4222" y="130"/>
                    </a:lnTo>
                    <a:lnTo>
                      <a:pt x="4219" y="138"/>
                    </a:lnTo>
                    <a:lnTo>
                      <a:pt x="4216" y="145"/>
                    </a:lnTo>
                    <a:lnTo>
                      <a:pt x="4210" y="161"/>
                    </a:lnTo>
                    <a:lnTo>
                      <a:pt x="4207" y="178"/>
                    </a:lnTo>
                    <a:lnTo>
                      <a:pt x="4205" y="196"/>
                    </a:lnTo>
                    <a:lnTo>
                      <a:pt x="4203" y="215"/>
                    </a:lnTo>
                    <a:lnTo>
                      <a:pt x="4203" y="255"/>
                    </a:lnTo>
                    <a:lnTo>
                      <a:pt x="4203" y="296"/>
                    </a:lnTo>
                    <a:lnTo>
                      <a:pt x="4389" y="296"/>
                    </a:lnTo>
                    <a:lnTo>
                      <a:pt x="4389" y="374"/>
                    </a:lnTo>
                    <a:lnTo>
                      <a:pt x="4203" y="374"/>
                    </a:lnTo>
                    <a:lnTo>
                      <a:pt x="4203" y="947"/>
                    </a:lnTo>
                    <a:lnTo>
                      <a:pt x="4109" y="947"/>
                    </a:lnTo>
                    <a:lnTo>
                      <a:pt x="4109" y="374"/>
                    </a:lnTo>
                    <a:lnTo>
                      <a:pt x="4001" y="374"/>
                    </a:lnTo>
                    <a:lnTo>
                      <a:pt x="4001" y="296"/>
                    </a:lnTo>
                    <a:lnTo>
                      <a:pt x="4109" y="296"/>
                    </a:lnTo>
                    <a:lnTo>
                      <a:pt x="4109" y="206"/>
                    </a:lnTo>
                    <a:lnTo>
                      <a:pt x="4111" y="181"/>
                    </a:lnTo>
                    <a:lnTo>
                      <a:pt x="4114" y="158"/>
                    </a:lnTo>
                    <a:lnTo>
                      <a:pt x="4118" y="137"/>
                    </a:lnTo>
                    <a:lnTo>
                      <a:pt x="4124" y="117"/>
                    </a:lnTo>
                    <a:lnTo>
                      <a:pt x="4128" y="107"/>
                    </a:lnTo>
                    <a:lnTo>
                      <a:pt x="4132" y="99"/>
                    </a:lnTo>
                    <a:lnTo>
                      <a:pt x="4137" y="90"/>
                    </a:lnTo>
                    <a:lnTo>
                      <a:pt x="4142" y="81"/>
                    </a:lnTo>
                    <a:lnTo>
                      <a:pt x="4147" y="74"/>
                    </a:lnTo>
                    <a:lnTo>
                      <a:pt x="4153" y="66"/>
                    </a:lnTo>
                    <a:lnTo>
                      <a:pt x="4159" y="59"/>
                    </a:lnTo>
                    <a:lnTo>
                      <a:pt x="4166" y="52"/>
                    </a:lnTo>
                    <a:lnTo>
                      <a:pt x="4172" y="45"/>
                    </a:lnTo>
                    <a:lnTo>
                      <a:pt x="4180" y="40"/>
                    </a:lnTo>
                    <a:lnTo>
                      <a:pt x="4188" y="35"/>
                    </a:lnTo>
                    <a:lnTo>
                      <a:pt x="4196" y="29"/>
                    </a:lnTo>
                    <a:lnTo>
                      <a:pt x="4214" y="21"/>
                    </a:lnTo>
                    <a:lnTo>
                      <a:pt x="4232" y="13"/>
                    </a:lnTo>
                    <a:lnTo>
                      <a:pt x="4253" y="7"/>
                    </a:lnTo>
                    <a:lnTo>
                      <a:pt x="4275" y="3"/>
                    </a:lnTo>
                    <a:lnTo>
                      <a:pt x="4298" y="1"/>
                    </a:lnTo>
                    <a:lnTo>
                      <a:pt x="4323" y="0"/>
                    </a:lnTo>
                    <a:lnTo>
                      <a:pt x="4350" y="1"/>
                    </a:lnTo>
                    <a:lnTo>
                      <a:pt x="4379" y="3"/>
                    </a:lnTo>
                    <a:lnTo>
                      <a:pt x="4406" y="6"/>
                    </a:lnTo>
                    <a:lnTo>
                      <a:pt x="4434" y="12"/>
                    </a:lnTo>
                    <a:lnTo>
                      <a:pt x="4434" y="95"/>
                    </a:lnTo>
                    <a:lnTo>
                      <a:pt x="4410" y="88"/>
                    </a:lnTo>
                    <a:lnTo>
                      <a:pt x="4387" y="82"/>
                    </a:lnTo>
                    <a:lnTo>
                      <a:pt x="4375" y="80"/>
                    </a:lnTo>
                    <a:lnTo>
                      <a:pt x="4363" y="79"/>
                    </a:lnTo>
                    <a:lnTo>
                      <a:pt x="4351" y="78"/>
                    </a:lnTo>
                    <a:lnTo>
                      <a:pt x="4340" y="77"/>
                    </a:lnTo>
                    <a:close/>
                    <a:moveTo>
                      <a:pt x="3709" y="677"/>
                    </a:moveTo>
                    <a:lnTo>
                      <a:pt x="3709" y="947"/>
                    </a:lnTo>
                    <a:lnTo>
                      <a:pt x="3617" y="947"/>
                    </a:lnTo>
                    <a:lnTo>
                      <a:pt x="3617" y="296"/>
                    </a:lnTo>
                    <a:lnTo>
                      <a:pt x="3709" y="296"/>
                    </a:lnTo>
                    <a:lnTo>
                      <a:pt x="3709" y="422"/>
                    </a:lnTo>
                    <a:lnTo>
                      <a:pt x="3712" y="422"/>
                    </a:lnTo>
                    <a:lnTo>
                      <a:pt x="3720" y="405"/>
                    </a:lnTo>
                    <a:lnTo>
                      <a:pt x="3729" y="389"/>
                    </a:lnTo>
                    <a:lnTo>
                      <a:pt x="3738" y="374"/>
                    </a:lnTo>
                    <a:lnTo>
                      <a:pt x="3748" y="360"/>
                    </a:lnTo>
                    <a:lnTo>
                      <a:pt x="3760" y="347"/>
                    </a:lnTo>
                    <a:lnTo>
                      <a:pt x="3771" y="336"/>
                    </a:lnTo>
                    <a:lnTo>
                      <a:pt x="3784" y="326"/>
                    </a:lnTo>
                    <a:lnTo>
                      <a:pt x="3797" y="316"/>
                    </a:lnTo>
                    <a:lnTo>
                      <a:pt x="3811" y="308"/>
                    </a:lnTo>
                    <a:lnTo>
                      <a:pt x="3825" y="301"/>
                    </a:lnTo>
                    <a:lnTo>
                      <a:pt x="3841" y="295"/>
                    </a:lnTo>
                    <a:lnTo>
                      <a:pt x="3858" y="290"/>
                    </a:lnTo>
                    <a:lnTo>
                      <a:pt x="3874" y="287"/>
                    </a:lnTo>
                    <a:lnTo>
                      <a:pt x="3891" y="283"/>
                    </a:lnTo>
                    <a:lnTo>
                      <a:pt x="3910" y="282"/>
                    </a:lnTo>
                    <a:lnTo>
                      <a:pt x="3929" y="281"/>
                    </a:lnTo>
                    <a:lnTo>
                      <a:pt x="3929" y="381"/>
                    </a:lnTo>
                    <a:lnTo>
                      <a:pt x="3914" y="382"/>
                    </a:lnTo>
                    <a:lnTo>
                      <a:pt x="3899" y="383"/>
                    </a:lnTo>
                    <a:lnTo>
                      <a:pt x="3885" y="385"/>
                    </a:lnTo>
                    <a:lnTo>
                      <a:pt x="3872" y="389"/>
                    </a:lnTo>
                    <a:lnTo>
                      <a:pt x="3859" y="392"/>
                    </a:lnTo>
                    <a:lnTo>
                      <a:pt x="3847" y="396"/>
                    </a:lnTo>
                    <a:lnTo>
                      <a:pt x="3835" y="402"/>
                    </a:lnTo>
                    <a:lnTo>
                      <a:pt x="3824" y="407"/>
                    </a:lnTo>
                    <a:lnTo>
                      <a:pt x="3813" y="415"/>
                    </a:lnTo>
                    <a:lnTo>
                      <a:pt x="3803" y="421"/>
                    </a:lnTo>
                    <a:lnTo>
                      <a:pt x="3795" y="429"/>
                    </a:lnTo>
                    <a:lnTo>
                      <a:pt x="3786" y="437"/>
                    </a:lnTo>
                    <a:lnTo>
                      <a:pt x="3777" y="446"/>
                    </a:lnTo>
                    <a:lnTo>
                      <a:pt x="3770" y="456"/>
                    </a:lnTo>
                    <a:lnTo>
                      <a:pt x="3763" y="466"/>
                    </a:lnTo>
                    <a:lnTo>
                      <a:pt x="3757" y="477"/>
                    </a:lnTo>
                    <a:lnTo>
                      <a:pt x="3750" y="487"/>
                    </a:lnTo>
                    <a:lnTo>
                      <a:pt x="3745" y="498"/>
                    </a:lnTo>
                    <a:lnTo>
                      <a:pt x="3739" y="510"/>
                    </a:lnTo>
                    <a:lnTo>
                      <a:pt x="3735" y="521"/>
                    </a:lnTo>
                    <a:lnTo>
                      <a:pt x="3726" y="546"/>
                    </a:lnTo>
                    <a:lnTo>
                      <a:pt x="3720" y="571"/>
                    </a:lnTo>
                    <a:lnTo>
                      <a:pt x="3716" y="598"/>
                    </a:lnTo>
                    <a:lnTo>
                      <a:pt x="3712" y="624"/>
                    </a:lnTo>
                    <a:lnTo>
                      <a:pt x="3710" y="651"/>
                    </a:lnTo>
                    <a:lnTo>
                      <a:pt x="3709" y="677"/>
                    </a:lnTo>
                    <a:close/>
                    <a:moveTo>
                      <a:pt x="3274" y="359"/>
                    </a:moveTo>
                    <a:lnTo>
                      <a:pt x="3260" y="360"/>
                    </a:lnTo>
                    <a:lnTo>
                      <a:pt x="3246" y="361"/>
                    </a:lnTo>
                    <a:lnTo>
                      <a:pt x="3234" y="365"/>
                    </a:lnTo>
                    <a:lnTo>
                      <a:pt x="3222" y="369"/>
                    </a:lnTo>
                    <a:lnTo>
                      <a:pt x="3211" y="373"/>
                    </a:lnTo>
                    <a:lnTo>
                      <a:pt x="3200" y="380"/>
                    </a:lnTo>
                    <a:lnTo>
                      <a:pt x="3190" y="386"/>
                    </a:lnTo>
                    <a:lnTo>
                      <a:pt x="3182" y="394"/>
                    </a:lnTo>
                    <a:lnTo>
                      <a:pt x="3173" y="403"/>
                    </a:lnTo>
                    <a:lnTo>
                      <a:pt x="3165" y="412"/>
                    </a:lnTo>
                    <a:lnTo>
                      <a:pt x="3159" y="422"/>
                    </a:lnTo>
                    <a:lnTo>
                      <a:pt x="3154" y="433"/>
                    </a:lnTo>
                    <a:lnTo>
                      <a:pt x="3148" y="445"/>
                    </a:lnTo>
                    <a:lnTo>
                      <a:pt x="3144" y="457"/>
                    </a:lnTo>
                    <a:lnTo>
                      <a:pt x="3139" y="469"/>
                    </a:lnTo>
                    <a:lnTo>
                      <a:pt x="3137" y="482"/>
                    </a:lnTo>
                    <a:lnTo>
                      <a:pt x="3398" y="482"/>
                    </a:lnTo>
                    <a:lnTo>
                      <a:pt x="3398" y="469"/>
                    </a:lnTo>
                    <a:lnTo>
                      <a:pt x="3396" y="457"/>
                    </a:lnTo>
                    <a:lnTo>
                      <a:pt x="3392" y="445"/>
                    </a:lnTo>
                    <a:lnTo>
                      <a:pt x="3389" y="433"/>
                    </a:lnTo>
                    <a:lnTo>
                      <a:pt x="3384" y="422"/>
                    </a:lnTo>
                    <a:lnTo>
                      <a:pt x="3377" y="412"/>
                    </a:lnTo>
                    <a:lnTo>
                      <a:pt x="3371" y="403"/>
                    </a:lnTo>
                    <a:lnTo>
                      <a:pt x="3362" y="394"/>
                    </a:lnTo>
                    <a:lnTo>
                      <a:pt x="3353" y="386"/>
                    </a:lnTo>
                    <a:lnTo>
                      <a:pt x="3345" y="380"/>
                    </a:lnTo>
                    <a:lnTo>
                      <a:pt x="3334" y="373"/>
                    </a:lnTo>
                    <a:lnTo>
                      <a:pt x="3323" y="369"/>
                    </a:lnTo>
                    <a:lnTo>
                      <a:pt x="3312" y="365"/>
                    </a:lnTo>
                    <a:lnTo>
                      <a:pt x="3299" y="361"/>
                    </a:lnTo>
                    <a:lnTo>
                      <a:pt x="3287" y="360"/>
                    </a:lnTo>
                    <a:lnTo>
                      <a:pt x="3274" y="359"/>
                    </a:lnTo>
                    <a:close/>
                    <a:moveTo>
                      <a:pt x="3130" y="560"/>
                    </a:moveTo>
                    <a:lnTo>
                      <a:pt x="3130" y="598"/>
                    </a:lnTo>
                    <a:lnTo>
                      <a:pt x="3131" y="625"/>
                    </a:lnTo>
                    <a:lnTo>
                      <a:pt x="3133" y="651"/>
                    </a:lnTo>
                    <a:lnTo>
                      <a:pt x="3137" y="677"/>
                    </a:lnTo>
                    <a:lnTo>
                      <a:pt x="3144" y="703"/>
                    </a:lnTo>
                    <a:lnTo>
                      <a:pt x="3151" y="727"/>
                    </a:lnTo>
                    <a:lnTo>
                      <a:pt x="3161" y="751"/>
                    </a:lnTo>
                    <a:lnTo>
                      <a:pt x="3167" y="763"/>
                    </a:lnTo>
                    <a:lnTo>
                      <a:pt x="3172" y="774"/>
                    </a:lnTo>
                    <a:lnTo>
                      <a:pt x="3178" y="785"/>
                    </a:lnTo>
                    <a:lnTo>
                      <a:pt x="3186" y="795"/>
                    </a:lnTo>
                    <a:lnTo>
                      <a:pt x="3193" y="804"/>
                    </a:lnTo>
                    <a:lnTo>
                      <a:pt x="3200" y="814"/>
                    </a:lnTo>
                    <a:lnTo>
                      <a:pt x="3209" y="823"/>
                    </a:lnTo>
                    <a:lnTo>
                      <a:pt x="3218" y="832"/>
                    </a:lnTo>
                    <a:lnTo>
                      <a:pt x="3227" y="839"/>
                    </a:lnTo>
                    <a:lnTo>
                      <a:pt x="3237" y="847"/>
                    </a:lnTo>
                    <a:lnTo>
                      <a:pt x="3247" y="853"/>
                    </a:lnTo>
                    <a:lnTo>
                      <a:pt x="3258" y="860"/>
                    </a:lnTo>
                    <a:lnTo>
                      <a:pt x="3269" y="865"/>
                    </a:lnTo>
                    <a:lnTo>
                      <a:pt x="3280" y="871"/>
                    </a:lnTo>
                    <a:lnTo>
                      <a:pt x="3292" y="874"/>
                    </a:lnTo>
                    <a:lnTo>
                      <a:pt x="3305" y="878"/>
                    </a:lnTo>
                    <a:lnTo>
                      <a:pt x="3318" y="880"/>
                    </a:lnTo>
                    <a:lnTo>
                      <a:pt x="3333" y="883"/>
                    </a:lnTo>
                    <a:lnTo>
                      <a:pt x="3347" y="884"/>
                    </a:lnTo>
                    <a:lnTo>
                      <a:pt x="3361" y="885"/>
                    </a:lnTo>
                    <a:lnTo>
                      <a:pt x="3378" y="884"/>
                    </a:lnTo>
                    <a:lnTo>
                      <a:pt x="3394" y="883"/>
                    </a:lnTo>
                    <a:lnTo>
                      <a:pt x="3410" y="882"/>
                    </a:lnTo>
                    <a:lnTo>
                      <a:pt x="3426" y="879"/>
                    </a:lnTo>
                    <a:lnTo>
                      <a:pt x="3457" y="874"/>
                    </a:lnTo>
                    <a:lnTo>
                      <a:pt x="3490" y="866"/>
                    </a:lnTo>
                    <a:lnTo>
                      <a:pt x="3490" y="943"/>
                    </a:lnTo>
                    <a:lnTo>
                      <a:pt x="3471" y="948"/>
                    </a:lnTo>
                    <a:lnTo>
                      <a:pt x="3453" y="952"/>
                    </a:lnTo>
                    <a:lnTo>
                      <a:pt x="3435" y="955"/>
                    </a:lnTo>
                    <a:lnTo>
                      <a:pt x="3416" y="959"/>
                    </a:lnTo>
                    <a:lnTo>
                      <a:pt x="3398" y="960"/>
                    </a:lnTo>
                    <a:lnTo>
                      <a:pt x="3378" y="962"/>
                    </a:lnTo>
                    <a:lnTo>
                      <a:pt x="3360" y="962"/>
                    </a:lnTo>
                    <a:lnTo>
                      <a:pt x="3340" y="962"/>
                    </a:lnTo>
                    <a:lnTo>
                      <a:pt x="3320" y="962"/>
                    </a:lnTo>
                    <a:lnTo>
                      <a:pt x="3300" y="961"/>
                    </a:lnTo>
                    <a:lnTo>
                      <a:pt x="3280" y="959"/>
                    </a:lnTo>
                    <a:lnTo>
                      <a:pt x="3262" y="955"/>
                    </a:lnTo>
                    <a:lnTo>
                      <a:pt x="3245" y="951"/>
                    </a:lnTo>
                    <a:lnTo>
                      <a:pt x="3227" y="947"/>
                    </a:lnTo>
                    <a:lnTo>
                      <a:pt x="3211" y="941"/>
                    </a:lnTo>
                    <a:lnTo>
                      <a:pt x="3196" y="935"/>
                    </a:lnTo>
                    <a:lnTo>
                      <a:pt x="3181" y="928"/>
                    </a:lnTo>
                    <a:lnTo>
                      <a:pt x="3167" y="921"/>
                    </a:lnTo>
                    <a:lnTo>
                      <a:pt x="3154" y="912"/>
                    </a:lnTo>
                    <a:lnTo>
                      <a:pt x="3142" y="903"/>
                    </a:lnTo>
                    <a:lnTo>
                      <a:pt x="3130" y="893"/>
                    </a:lnTo>
                    <a:lnTo>
                      <a:pt x="3118" y="883"/>
                    </a:lnTo>
                    <a:lnTo>
                      <a:pt x="3107" y="872"/>
                    </a:lnTo>
                    <a:lnTo>
                      <a:pt x="3097" y="860"/>
                    </a:lnTo>
                    <a:lnTo>
                      <a:pt x="3088" y="848"/>
                    </a:lnTo>
                    <a:lnTo>
                      <a:pt x="3080" y="835"/>
                    </a:lnTo>
                    <a:lnTo>
                      <a:pt x="3072" y="821"/>
                    </a:lnTo>
                    <a:lnTo>
                      <a:pt x="3065" y="807"/>
                    </a:lnTo>
                    <a:lnTo>
                      <a:pt x="3058" y="793"/>
                    </a:lnTo>
                    <a:lnTo>
                      <a:pt x="3052" y="777"/>
                    </a:lnTo>
                    <a:lnTo>
                      <a:pt x="3046" y="762"/>
                    </a:lnTo>
                    <a:lnTo>
                      <a:pt x="3042" y="746"/>
                    </a:lnTo>
                    <a:lnTo>
                      <a:pt x="3037" y="728"/>
                    </a:lnTo>
                    <a:lnTo>
                      <a:pt x="3033" y="711"/>
                    </a:lnTo>
                    <a:lnTo>
                      <a:pt x="3030" y="694"/>
                    </a:lnTo>
                    <a:lnTo>
                      <a:pt x="3028" y="676"/>
                    </a:lnTo>
                    <a:lnTo>
                      <a:pt x="3025" y="658"/>
                    </a:lnTo>
                    <a:lnTo>
                      <a:pt x="3024" y="638"/>
                    </a:lnTo>
                    <a:lnTo>
                      <a:pt x="3023" y="620"/>
                    </a:lnTo>
                    <a:lnTo>
                      <a:pt x="3023" y="600"/>
                    </a:lnTo>
                    <a:lnTo>
                      <a:pt x="3024" y="569"/>
                    </a:lnTo>
                    <a:lnTo>
                      <a:pt x="3027" y="537"/>
                    </a:lnTo>
                    <a:lnTo>
                      <a:pt x="3031" y="508"/>
                    </a:lnTo>
                    <a:lnTo>
                      <a:pt x="3036" y="479"/>
                    </a:lnTo>
                    <a:lnTo>
                      <a:pt x="3040" y="465"/>
                    </a:lnTo>
                    <a:lnTo>
                      <a:pt x="3044" y="450"/>
                    </a:lnTo>
                    <a:lnTo>
                      <a:pt x="3048" y="437"/>
                    </a:lnTo>
                    <a:lnTo>
                      <a:pt x="3054" y="424"/>
                    </a:lnTo>
                    <a:lnTo>
                      <a:pt x="3059" y="412"/>
                    </a:lnTo>
                    <a:lnTo>
                      <a:pt x="3065" y="399"/>
                    </a:lnTo>
                    <a:lnTo>
                      <a:pt x="3072" y="389"/>
                    </a:lnTo>
                    <a:lnTo>
                      <a:pt x="3079" y="377"/>
                    </a:lnTo>
                    <a:lnTo>
                      <a:pt x="3086" y="366"/>
                    </a:lnTo>
                    <a:lnTo>
                      <a:pt x="3095" y="356"/>
                    </a:lnTo>
                    <a:lnTo>
                      <a:pt x="3104" y="346"/>
                    </a:lnTo>
                    <a:lnTo>
                      <a:pt x="3113" y="338"/>
                    </a:lnTo>
                    <a:lnTo>
                      <a:pt x="3123" y="329"/>
                    </a:lnTo>
                    <a:lnTo>
                      <a:pt x="3134" y="321"/>
                    </a:lnTo>
                    <a:lnTo>
                      <a:pt x="3145" y="314"/>
                    </a:lnTo>
                    <a:lnTo>
                      <a:pt x="3157" y="307"/>
                    </a:lnTo>
                    <a:lnTo>
                      <a:pt x="3170" y="302"/>
                    </a:lnTo>
                    <a:lnTo>
                      <a:pt x="3183" y="296"/>
                    </a:lnTo>
                    <a:lnTo>
                      <a:pt x="3197" y="292"/>
                    </a:lnTo>
                    <a:lnTo>
                      <a:pt x="3212" y="288"/>
                    </a:lnTo>
                    <a:lnTo>
                      <a:pt x="3227" y="285"/>
                    </a:lnTo>
                    <a:lnTo>
                      <a:pt x="3244" y="283"/>
                    </a:lnTo>
                    <a:lnTo>
                      <a:pt x="3260" y="282"/>
                    </a:lnTo>
                    <a:lnTo>
                      <a:pt x="3277" y="281"/>
                    </a:lnTo>
                    <a:lnTo>
                      <a:pt x="3291" y="281"/>
                    </a:lnTo>
                    <a:lnTo>
                      <a:pt x="3305" y="282"/>
                    </a:lnTo>
                    <a:lnTo>
                      <a:pt x="3318" y="284"/>
                    </a:lnTo>
                    <a:lnTo>
                      <a:pt x="3330" y="285"/>
                    </a:lnTo>
                    <a:lnTo>
                      <a:pt x="3343" y="289"/>
                    </a:lnTo>
                    <a:lnTo>
                      <a:pt x="3355" y="292"/>
                    </a:lnTo>
                    <a:lnTo>
                      <a:pt x="3366" y="295"/>
                    </a:lnTo>
                    <a:lnTo>
                      <a:pt x="3377" y="300"/>
                    </a:lnTo>
                    <a:lnTo>
                      <a:pt x="3388" y="305"/>
                    </a:lnTo>
                    <a:lnTo>
                      <a:pt x="3398" y="309"/>
                    </a:lnTo>
                    <a:lnTo>
                      <a:pt x="3407" y="316"/>
                    </a:lnTo>
                    <a:lnTo>
                      <a:pt x="3416" y="321"/>
                    </a:lnTo>
                    <a:lnTo>
                      <a:pt x="3425" y="329"/>
                    </a:lnTo>
                    <a:lnTo>
                      <a:pt x="3432" y="335"/>
                    </a:lnTo>
                    <a:lnTo>
                      <a:pt x="3441" y="343"/>
                    </a:lnTo>
                    <a:lnTo>
                      <a:pt x="3448" y="352"/>
                    </a:lnTo>
                    <a:lnTo>
                      <a:pt x="3455" y="359"/>
                    </a:lnTo>
                    <a:lnTo>
                      <a:pt x="3462" y="368"/>
                    </a:lnTo>
                    <a:lnTo>
                      <a:pt x="3467" y="378"/>
                    </a:lnTo>
                    <a:lnTo>
                      <a:pt x="3473" y="388"/>
                    </a:lnTo>
                    <a:lnTo>
                      <a:pt x="3482" y="408"/>
                    </a:lnTo>
                    <a:lnTo>
                      <a:pt x="3490" y="430"/>
                    </a:lnTo>
                    <a:lnTo>
                      <a:pt x="3496" y="453"/>
                    </a:lnTo>
                    <a:lnTo>
                      <a:pt x="3501" y="477"/>
                    </a:lnTo>
                    <a:lnTo>
                      <a:pt x="3504" y="503"/>
                    </a:lnTo>
                    <a:lnTo>
                      <a:pt x="3504" y="529"/>
                    </a:lnTo>
                    <a:lnTo>
                      <a:pt x="3504" y="560"/>
                    </a:lnTo>
                    <a:lnTo>
                      <a:pt x="3130" y="560"/>
                    </a:lnTo>
                    <a:close/>
                    <a:moveTo>
                      <a:pt x="2706" y="359"/>
                    </a:moveTo>
                    <a:lnTo>
                      <a:pt x="2696" y="360"/>
                    </a:lnTo>
                    <a:lnTo>
                      <a:pt x="2686" y="361"/>
                    </a:lnTo>
                    <a:lnTo>
                      <a:pt x="2675" y="364"/>
                    </a:lnTo>
                    <a:lnTo>
                      <a:pt x="2666" y="367"/>
                    </a:lnTo>
                    <a:lnTo>
                      <a:pt x="2658" y="371"/>
                    </a:lnTo>
                    <a:lnTo>
                      <a:pt x="2649" y="376"/>
                    </a:lnTo>
                    <a:lnTo>
                      <a:pt x="2640" y="381"/>
                    </a:lnTo>
                    <a:lnTo>
                      <a:pt x="2633" y="388"/>
                    </a:lnTo>
                    <a:lnTo>
                      <a:pt x="2626" y="394"/>
                    </a:lnTo>
                    <a:lnTo>
                      <a:pt x="2619" y="402"/>
                    </a:lnTo>
                    <a:lnTo>
                      <a:pt x="2612" y="409"/>
                    </a:lnTo>
                    <a:lnTo>
                      <a:pt x="2607" y="418"/>
                    </a:lnTo>
                    <a:lnTo>
                      <a:pt x="2596" y="435"/>
                    </a:lnTo>
                    <a:lnTo>
                      <a:pt x="2586" y="455"/>
                    </a:lnTo>
                    <a:lnTo>
                      <a:pt x="2577" y="475"/>
                    </a:lnTo>
                    <a:lnTo>
                      <a:pt x="2571" y="497"/>
                    </a:lnTo>
                    <a:lnTo>
                      <a:pt x="2565" y="519"/>
                    </a:lnTo>
                    <a:lnTo>
                      <a:pt x="2561" y="541"/>
                    </a:lnTo>
                    <a:lnTo>
                      <a:pt x="2558" y="561"/>
                    </a:lnTo>
                    <a:lnTo>
                      <a:pt x="2556" y="582"/>
                    </a:lnTo>
                    <a:lnTo>
                      <a:pt x="2553" y="601"/>
                    </a:lnTo>
                    <a:lnTo>
                      <a:pt x="2553" y="619"/>
                    </a:lnTo>
                    <a:lnTo>
                      <a:pt x="2553" y="637"/>
                    </a:lnTo>
                    <a:lnTo>
                      <a:pt x="2555" y="657"/>
                    </a:lnTo>
                    <a:lnTo>
                      <a:pt x="2557" y="677"/>
                    </a:lnTo>
                    <a:lnTo>
                      <a:pt x="2560" y="699"/>
                    </a:lnTo>
                    <a:lnTo>
                      <a:pt x="2563" y="721"/>
                    </a:lnTo>
                    <a:lnTo>
                      <a:pt x="2569" y="744"/>
                    </a:lnTo>
                    <a:lnTo>
                      <a:pt x="2575" y="765"/>
                    </a:lnTo>
                    <a:lnTo>
                      <a:pt x="2583" y="786"/>
                    </a:lnTo>
                    <a:lnTo>
                      <a:pt x="2591" y="806"/>
                    </a:lnTo>
                    <a:lnTo>
                      <a:pt x="2602" y="825"/>
                    </a:lnTo>
                    <a:lnTo>
                      <a:pt x="2608" y="833"/>
                    </a:lnTo>
                    <a:lnTo>
                      <a:pt x="2614" y="841"/>
                    </a:lnTo>
                    <a:lnTo>
                      <a:pt x="2621" y="849"/>
                    </a:lnTo>
                    <a:lnTo>
                      <a:pt x="2628" y="855"/>
                    </a:lnTo>
                    <a:lnTo>
                      <a:pt x="2636" y="862"/>
                    </a:lnTo>
                    <a:lnTo>
                      <a:pt x="2645" y="867"/>
                    </a:lnTo>
                    <a:lnTo>
                      <a:pt x="2653" y="873"/>
                    </a:lnTo>
                    <a:lnTo>
                      <a:pt x="2662" y="877"/>
                    </a:lnTo>
                    <a:lnTo>
                      <a:pt x="2672" y="880"/>
                    </a:lnTo>
                    <a:lnTo>
                      <a:pt x="2682" y="883"/>
                    </a:lnTo>
                    <a:lnTo>
                      <a:pt x="2692" y="884"/>
                    </a:lnTo>
                    <a:lnTo>
                      <a:pt x="2704" y="885"/>
                    </a:lnTo>
                    <a:lnTo>
                      <a:pt x="2715" y="884"/>
                    </a:lnTo>
                    <a:lnTo>
                      <a:pt x="2726" y="883"/>
                    </a:lnTo>
                    <a:lnTo>
                      <a:pt x="2737" y="879"/>
                    </a:lnTo>
                    <a:lnTo>
                      <a:pt x="2747" y="876"/>
                    </a:lnTo>
                    <a:lnTo>
                      <a:pt x="2755" y="871"/>
                    </a:lnTo>
                    <a:lnTo>
                      <a:pt x="2764" y="865"/>
                    </a:lnTo>
                    <a:lnTo>
                      <a:pt x="2772" y="860"/>
                    </a:lnTo>
                    <a:lnTo>
                      <a:pt x="2779" y="852"/>
                    </a:lnTo>
                    <a:lnTo>
                      <a:pt x="2786" y="845"/>
                    </a:lnTo>
                    <a:lnTo>
                      <a:pt x="2792" y="836"/>
                    </a:lnTo>
                    <a:lnTo>
                      <a:pt x="2798" y="827"/>
                    </a:lnTo>
                    <a:lnTo>
                      <a:pt x="2803" y="817"/>
                    </a:lnTo>
                    <a:lnTo>
                      <a:pt x="2813" y="797"/>
                    </a:lnTo>
                    <a:lnTo>
                      <a:pt x="2820" y="775"/>
                    </a:lnTo>
                    <a:lnTo>
                      <a:pt x="2827" y="752"/>
                    </a:lnTo>
                    <a:lnTo>
                      <a:pt x="2831" y="728"/>
                    </a:lnTo>
                    <a:lnTo>
                      <a:pt x="2836" y="705"/>
                    </a:lnTo>
                    <a:lnTo>
                      <a:pt x="2838" y="682"/>
                    </a:lnTo>
                    <a:lnTo>
                      <a:pt x="2841" y="637"/>
                    </a:lnTo>
                    <a:lnTo>
                      <a:pt x="2842" y="598"/>
                    </a:lnTo>
                    <a:lnTo>
                      <a:pt x="2841" y="581"/>
                    </a:lnTo>
                    <a:lnTo>
                      <a:pt x="2841" y="562"/>
                    </a:lnTo>
                    <a:lnTo>
                      <a:pt x="2840" y="543"/>
                    </a:lnTo>
                    <a:lnTo>
                      <a:pt x="2838" y="523"/>
                    </a:lnTo>
                    <a:lnTo>
                      <a:pt x="2835" y="503"/>
                    </a:lnTo>
                    <a:lnTo>
                      <a:pt x="2830" y="483"/>
                    </a:lnTo>
                    <a:lnTo>
                      <a:pt x="2825" y="464"/>
                    </a:lnTo>
                    <a:lnTo>
                      <a:pt x="2818" y="445"/>
                    </a:lnTo>
                    <a:lnTo>
                      <a:pt x="2811" y="428"/>
                    </a:lnTo>
                    <a:lnTo>
                      <a:pt x="2802" y="411"/>
                    </a:lnTo>
                    <a:lnTo>
                      <a:pt x="2797" y="404"/>
                    </a:lnTo>
                    <a:lnTo>
                      <a:pt x="2790" y="396"/>
                    </a:lnTo>
                    <a:lnTo>
                      <a:pt x="2785" y="390"/>
                    </a:lnTo>
                    <a:lnTo>
                      <a:pt x="2778" y="384"/>
                    </a:lnTo>
                    <a:lnTo>
                      <a:pt x="2771" y="379"/>
                    </a:lnTo>
                    <a:lnTo>
                      <a:pt x="2763" y="373"/>
                    </a:lnTo>
                    <a:lnTo>
                      <a:pt x="2755" y="369"/>
                    </a:lnTo>
                    <a:lnTo>
                      <a:pt x="2747" y="366"/>
                    </a:lnTo>
                    <a:lnTo>
                      <a:pt x="2737" y="364"/>
                    </a:lnTo>
                    <a:lnTo>
                      <a:pt x="2727" y="361"/>
                    </a:lnTo>
                    <a:lnTo>
                      <a:pt x="2717" y="359"/>
                    </a:lnTo>
                    <a:lnTo>
                      <a:pt x="2706" y="359"/>
                    </a:lnTo>
                    <a:close/>
                    <a:moveTo>
                      <a:pt x="2727" y="962"/>
                    </a:moveTo>
                    <a:lnTo>
                      <a:pt x="2712" y="962"/>
                    </a:lnTo>
                    <a:lnTo>
                      <a:pt x="2697" y="961"/>
                    </a:lnTo>
                    <a:lnTo>
                      <a:pt x="2683" y="958"/>
                    </a:lnTo>
                    <a:lnTo>
                      <a:pt x="2669" y="954"/>
                    </a:lnTo>
                    <a:lnTo>
                      <a:pt x="2655" y="950"/>
                    </a:lnTo>
                    <a:lnTo>
                      <a:pt x="2642" y="945"/>
                    </a:lnTo>
                    <a:lnTo>
                      <a:pt x="2631" y="938"/>
                    </a:lnTo>
                    <a:lnTo>
                      <a:pt x="2620" y="931"/>
                    </a:lnTo>
                    <a:lnTo>
                      <a:pt x="2609" y="923"/>
                    </a:lnTo>
                    <a:lnTo>
                      <a:pt x="2599" y="914"/>
                    </a:lnTo>
                    <a:lnTo>
                      <a:pt x="2590" y="904"/>
                    </a:lnTo>
                    <a:lnTo>
                      <a:pt x="2582" y="893"/>
                    </a:lnTo>
                    <a:lnTo>
                      <a:pt x="2574" y="882"/>
                    </a:lnTo>
                    <a:lnTo>
                      <a:pt x="2568" y="869"/>
                    </a:lnTo>
                    <a:lnTo>
                      <a:pt x="2561" y="855"/>
                    </a:lnTo>
                    <a:lnTo>
                      <a:pt x="2556" y="840"/>
                    </a:lnTo>
                    <a:lnTo>
                      <a:pt x="2553" y="840"/>
                    </a:lnTo>
                    <a:lnTo>
                      <a:pt x="2553" y="1240"/>
                    </a:lnTo>
                    <a:lnTo>
                      <a:pt x="2460" y="1240"/>
                    </a:lnTo>
                    <a:lnTo>
                      <a:pt x="2460" y="296"/>
                    </a:lnTo>
                    <a:lnTo>
                      <a:pt x="2553" y="296"/>
                    </a:lnTo>
                    <a:lnTo>
                      <a:pt x="2553" y="407"/>
                    </a:lnTo>
                    <a:lnTo>
                      <a:pt x="2556" y="407"/>
                    </a:lnTo>
                    <a:lnTo>
                      <a:pt x="2561" y="393"/>
                    </a:lnTo>
                    <a:lnTo>
                      <a:pt x="2567" y="380"/>
                    </a:lnTo>
                    <a:lnTo>
                      <a:pt x="2573" y="368"/>
                    </a:lnTo>
                    <a:lnTo>
                      <a:pt x="2581" y="356"/>
                    </a:lnTo>
                    <a:lnTo>
                      <a:pt x="2589" y="345"/>
                    </a:lnTo>
                    <a:lnTo>
                      <a:pt x="2599" y="334"/>
                    </a:lnTo>
                    <a:lnTo>
                      <a:pt x="2609" y="325"/>
                    </a:lnTo>
                    <a:lnTo>
                      <a:pt x="2620" y="316"/>
                    </a:lnTo>
                    <a:lnTo>
                      <a:pt x="2632" y="308"/>
                    </a:lnTo>
                    <a:lnTo>
                      <a:pt x="2644" y="302"/>
                    </a:lnTo>
                    <a:lnTo>
                      <a:pt x="2657" y="295"/>
                    </a:lnTo>
                    <a:lnTo>
                      <a:pt x="2670" y="291"/>
                    </a:lnTo>
                    <a:lnTo>
                      <a:pt x="2683" y="287"/>
                    </a:lnTo>
                    <a:lnTo>
                      <a:pt x="2697" y="283"/>
                    </a:lnTo>
                    <a:lnTo>
                      <a:pt x="2711" y="282"/>
                    </a:lnTo>
                    <a:lnTo>
                      <a:pt x="2726" y="281"/>
                    </a:lnTo>
                    <a:lnTo>
                      <a:pt x="2742" y="282"/>
                    </a:lnTo>
                    <a:lnTo>
                      <a:pt x="2759" y="283"/>
                    </a:lnTo>
                    <a:lnTo>
                      <a:pt x="2775" y="285"/>
                    </a:lnTo>
                    <a:lnTo>
                      <a:pt x="2789" y="290"/>
                    </a:lnTo>
                    <a:lnTo>
                      <a:pt x="2803" y="294"/>
                    </a:lnTo>
                    <a:lnTo>
                      <a:pt x="2816" y="300"/>
                    </a:lnTo>
                    <a:lnTo>
                      <a:pt x="2828" y="305"/>
                    </a:lnTo>
                    <a:lnTo>
                      <a:pt x="2840" y="313"/>
                    </a:lnTo>
                    <a:lnTo>
                      <a:pt x="2850" y="320"/>
                    </a:lnTo>
                    <a:lnTo>
                      <a:pt x="2861" y="329"/>
                    </a:lnTo>
                    <a:lnTo>
                      <a:pt x="2869" y="338"/>
                    </a:lnTo>
                    <a:lnTo>
                      <a:pt x="2878" y="347"/>
                    </a:lnTo>
                    <a:lnTo>
                      <a:pt x="2887" y="357"/>
                    </a:lnTo>
                    <a:lnTo>
                      <a:pt x="2894" y="369"/>
                    </a:lnTo>
                    <a:lnTo>
                      <a:pt x="2901" y="380"/>
                    </a:lnTo>
                    <a:lnTo>
                      <a:pt x="2907" y="392"/>
                    </a:lnTo>
                    <a:lnTo>
                      <a:pt x="2913" y="404"/>
                    </a:lnTo>
                    <a:lnTo>
                      <a:pt x="2918" y="417"/>
                    </a:lnTo>
                    <a:lnTo>
                      <a:pt x="2924" y="430"/>
                    </a:lnTo>
                    <a:lnTo>
                      <a:pt x="2927" y="444"/>
                    </a:lnTo>
                    <a:lnTo>
                      <a:pt x="2934" y="471"/>
                    </a:lnTo>
                    <a:lnTo>
                      <a:pt x="2940" y="500"/>
                    </a:lnTo>
                    <a:lnTo>
                      <a:pt x="2944" y="529"/>
                    </a:lnTo>
                    <a:lnTo>
                      <a:pt x="2946" y="558"/>
                    </a:lnTo>
                    <a:lnTo>
                      <a:pt x="2947" y="587"/>
                    </a:lnTo>
                    <a:lnTo>
                      <a:pt x="2948" y="617"/>
                    </a:lnTo>
                    <a:lnTo>
                      <a:pt x="2947" y="644"/>
                    </a:lnTo>
                    <a:lnTo>
                      <a:pt x="2946" y="672"/>
                    </a:lnTo>
                    <a:lnTo>
                      <a:pt x="2943" y="700"/>
                    </a:lnTo>
                    <a:lnTo>
                      <a:pt x="2939" y="730"/>
                    </a:lnTo>
                    <a:lnTo>
                      <a:pt x="2933" y="759"/>
                    </a:lnTo>
                    <a:lnTo>
                      <a:pt x="2926" y="788"/>
                    </a:lnTo>
                    <a:lnTo>
                      <a:pt x="2920" y="801"/>
                    </a:lnTo>
                    <a:lnTo>
                      <a:pt x="2916" y="815"/>
                    </a:lnTo>
                    <a:lnTo>
                      <a:pt x="2910" y="829"/>
                    </a:lnTo>
                    <a:lnTo>
                      <a:pt x="2904" y="842"/>
                    </a:lnTo>
                    <a:lnTo>
                      <a:pt x="2897" y="854"/>
                    </a:lnTo>
                    <a:lnTo>
                      <a:pt x="2891" y="867"/>
                    </a:lnTo>
                    <a:lnTo>
                      <a:pt x="2883" y="878"/>
                    </a:lnTo>
                    <a:lnTo>
                      <a:pt x="2875" y="890"/>
                    </a:lnTo>
                    <a:lnTo>
                      <a:pt x="2866" y="900"/>
                    </a:lnTo>
                    <a:lnTo>
                      <a:pt x="2857" y="911"/>
                    </a:lnTo>
                    <a:lnTo>
                      <a:pt x="2848" y="920"/>
                    </a:lnTo>
                    <a:lnTo>
                      <a:pt x="2837" y="928"/>
                    </a:lnTo>
                    <a:lnTo>
                      <a:pt x="2825" y="936"/>
                    </a:lnTo>
                    <a:lnTo>
                      <a:pt x="2814" y="942"/>
                    </a:lnTo>
                    <a:lnTo>
                      <a:pt x="2801" y="948"/>
                    </a:lnTo>
                    <a:lnTo>
                      <a:pt x="2788" y="953"/>
                    </a:lnTo>
                    <a:lnTo>
                      <a:pt x="2774" y="958"/>
                    </a:lnTo>
                    <a:lnTo>
                      <a:pt x="2759" y="960"/>
                    </a:lnTo>
                    <a:lnTo>
                      <a:pt x="2743" y="962"/>
                    </a:lnTo>
                    <a:lnTo>
                      <a:pt x="2727" y="962"/>
                    </a:lnTo>
                    <a:close/>
                    <a:moveTo>
                      <a:pt x="1959" y="947"/>
                    </a:moveTo>
                    <a:lnTo>
                      <a:pt x="1959" y="586"/>
                    </a:lnTo>
                    <a:lnTo>
                      <a:pt x="1959" y="556"/>
                    </a:lnTo>
                    <a:lnTo>
                      <a:pt x="1959" y="522"/>
                    </a:lnTo>
                    <a:lnTo>
                      <a:pt x="1958" y="505"/>
                    </a:lnTo>
                    <a:lnTo>
                      <a:pt x="1957" y="486"/>
                    </a:lnTo>
                    <a:lnTo>
                      <a:pt x="1955" y="469"/>
                    </a:lnTo>
                    <a:lnTo>
                      <a:pt x="1950" y="453"/>
                    </a:lnTo>
                    <a:lnTo>
                      <a:pt x="1946" y="436"/>
                    </a:lnTo>
                    <a:lnTo>
                      <a:pt x="1940" y="422"/>
                    </a:lnTo>
                    <a:lnTo>
                      <a:pt x="1936" y="415"/>
                    </a:lnTo>
                    <a:lnTo>
                      <a:pt x="1933" y="408"/>
                    </a:lnTo>
                    <a:lnTo>
                      <a:pt x="1927" y="403"/>
                    </a:lnTo>
                    <a:lnTo>
                      <a:pt x="1923" y="397"/>
                    </a:lnTo>
                    <a:lnTo>
                      <a:pt x="1918" y="392"/>
                    </a:lnTo>
                    <a:lnTo>
                      <a:pt x="1911" y="388"/>
                    </a:lnTo>
                    <a:lnTo>
                      <a:pt x="1905" y="383"/>
                    </a:lnTo>
                    <a:lnTo>
                      <a:pt x="1898" y="380"/>
                    </a:lnTo>
                    <a:lnTo>
                      <a:pt x="1889" y="378"/>
                    </a:lnTo>
                    <a:lnTo>
                      <a:pt x="1882" y="376"/>
                    </a:lnTo>
                    <a:lnTo>
                      <a:pt x="1873" y="374"/>
                    </a:lnTo>
                    <a:lnTo>
                      <a:pt x="1863" y="374"/>
                    </a:lnTo>
                    <a:lnTo>
                      <a:pt x="1851" y="374"/>
                    </a:lnTo>
                    <a:lnTo>
                      <a:pt x="1840" y="377"/>
                    </a:lnTo>
                    <a:lnTo>
                      <a:pt x="1829" y="379"/>
                    </a:lnTo>
                    <a:lnTo>
                      <a:pt x="1818" y="383"/>
                    </a:lnTo>
                    <a:lnTo>
                      <a:pt x="1808" y="388"/>
                    </a:lnTo>
                    <a:lnTo>
                      <a:pt x="1797" y="394"/>
                    </a:lnTo>
                    <a:lnTo>
                      <a:pt x="1789" y="401"/>
                    </a:lnTo>
                    <a:lnTo>
                      <a:pt x="1780" y="407"/>
                    </a:lnTo>
                    <a:lnTo>
                      <a:pt x="1771" y="416"/>
                    </a:lnTo>
                    <a:lnTo>
                      <a:pt x="1762" y="424"/>
                    </a:lnTo>
                    <a:lnTo>
                      <a:pt x="1755" y="434"/>
                    </a:lnTo>
                    <a:lnTo>
                      <a:pt x="1747" y="444"/>
                    </a:lnTo>
                    <a:lnTo>
                      <a:pt x="1741" y="454"/>
                    </a:lnTo>
                    <a:lnTo>
                      <a:pt x="1734" y="466"/>
                    </a:lnTo>
                    <a:lnTo>
                      <a:pt x="1728" y="477"/>
                    </a:lnTo>
                    <a:lnTo>
                      <a:pt x="1722" y="488"/>
                    </a:lnTo>
                    <a:lnTo>
                      <a:pt x="1711" y="512"/>
                    </a:lnTo>
                    <a:lnTo>
                      <a:pt x="1703" y="537"/>
                    </a:lnTo>
                    <a:lnTo>
                      <a:pt x="1695" y="563"/>
                    </a:lnTo>
                    <a:lnTo>
                      <a:pt x="1689" y="588"/>
                    </a:lnTo>
                    <a:lnTo>
                      <a:pt x="1684" y="613"/>
                    </a:lnTo>
                    <a:lnTo>
                      <a:pt x="1681" y="636"/>
                    </a:lnTo>
                    <a:lnTo>
                      <a:pt x="1679" y="659"/>
                    </a:lnTo>
                    <a:lnTo>
                      <a:pt x="1679" y="680"/>
                    </a:lnTo>
                    <a:lnTo>
                      <a:pt x="1679" y="947"/>
                    </a:lnTo>
                    <a:lnTo>
                      <a:pt x="1586" y="947"/>
                    </a:lnTo>
                    <a:lnTo>
                      <a:pt x="1586" y="4"/>
                    </a:lnTo>
                    <a:lnTo>
                      <a:pt x="1679" y="4"/>
                    </a:lnTo>
                    <a:lnTo>
                      <a:pt x="1679" y="447"/>
                    </a:lnTo>
                    <a:lnTo>
                      <a:pt x="1681" y="447"/>
                    </a:lnTo>
                    <a:lnTo>
                      <a:pt x="1688" y="429"/>
                    </a:lnTo>
                    <a:lnTo>
                      <a:pt x="1695" y="411"/>
                    </a:lnTo>
                    <a:lnTo>
                      <a:pt x="1703" y="394"/>
                    </a:lnTo>
                    <a:lnTo>
                      <a:pt x="1710" y="379"/>
                    </a:lnTo>
                    <a:lnTo>
                      <a:pt x="1720" y="364"/>
                    </a:lnTo>
                    <a:lnTo>
                      <a:pt x="1730" y="351"/>
                    </a:lnTo>
                    <a:lnTo>
                      <a:pt x="1741" y="338"/>
                    </a:lnTo>
                    <a:lnTo>
                      <a:pt x="1753" y="327"/>
                    </a:lnTo>
                    <a:lnTo>
                      <a:pt x="1766" y="316"/>
                    </a:lnTo>
                    <a:lnTo>
                      <a:pt x="1779" y="307"/>
                    </a:lnTo>
                    <a:lnTo>
                      <a:pt x="1794" y="300"/>
                    </a:lnTo>
                    <a:lnTo>
                      <a:pt x="1810" y="293"/>
                    </a:lnTo>
                    <a:lnTo>
                      <a:pt x="1827" y="288"/>
                    </a:lnTo>
                    <a:lnTo>
                      <a:pt x="1845" y="284"/>
                    </a:lnTo>
                    <a:lnTo>
                      <a:pt x="1864" y="282"/>
                    </a:lnTo>
                    <a:lnTo>
                      <a:pt x="1885" y="281"/>
                    </a:lnTo>
                    <a:lnTo>
                      <a:pt x="1896" y="281"/>
                    </a:lnTo>
                    <a:lnTo>
                      <a:pt x="1906" y="282"/>
                    </a:lnTo>
                    <a:lnTo>
                      <a:pt x="1915" y="283"/>
                    </a:lnTo>
                    <a:lnTo>
                      <a:pt x="1925" y="285"/>
                    </a:lnTo>
                    <a:lnTo>
                      <a:pt x="1934" y="288"/>
                    </a:lnTo>
                    <a:lnTo>
                      <a:pt x="1943" y="291"/>
                    </a:lnTo>
                    <a:lnTo>
                      <a:pt x="1951" y="294"/>
                    </a:lnTo>
                    <a:lnTo>
                      <a:pt x="1959" y="298"/>
                    </a:lnTo>
                    <a:lnTo>
                      <a:pt x="1974" y="307"/>
                    </a:lnTo>
                    <a:lnTo>
                      <a:pt x="1988" y="318"/>
                    </a:lnTo>
                    <a:lnTo>
                      <a:pt x="2000" y="330"/>
                    </a:lnTo>
                    <a:lnTo>
                      <a:pt x="2011" y="343"/>
                    </a:lnTo>
                    <a:lnTo>
                      <a:pt x="2021" y="358"/>
                    </a:lnTo>
                    <a:lnTo>
                      <a:pt x="2029" y="373"/>
                    </a:lnTo>
                    <a:lnTo>
                      <a:pt x="2036" y="391"/>
                    </a:lnTo>
                    <a:lnTo>
                      <a:pt x="2041" y="408"/>
                    </a:lnTo>
                    <a:lnTo>
                      <a:pt x="2046" y="426"/>
                    </a:lnTo>
                    <a:lnTo>
                      <a:pt x="2049" y="444"/>
                    </a:lnTo>
                    <a:lnTo>
                      <a:pt x="2051" y="464"/>
                    </a:lnTo>
                    <a:lnTo>
                      <a:pt x="2051" y="482"/>
                    </a:lnTo>
                    <a:lnTo>
                      <a:pt x="2051" y="947"/>
                    </a:lnTo>
                    <a:lnTo>
                      <a:pt x="1959" y="947"/>
                    </a:lnTo>
                    <a:close/>
                    <a:moveTo>
                      <a:pt x="1200" y="359"/>
                    </a:moveTo>
                    <a:lnTo>
                      <a:pt x="1190" y="360"/>
                    </a:lnTo>
                    <a:lnTo>
                      <a:pt x="1180" y="361"/>
                    </a:lnTo>
                    <a:lnTo>
                      <a:pt x="1170" y="364"/>
                    </a:lnTo>
                    <a:lnTo>
                      <a:pt x="1160" y="367"/>
                    </a:lnTo>
                    <a:lnTo>
                      <a:pt x="1152" y="371"/>
                    </a:lnTo>
                    <a:lnTo>
                      <a:pt x="1144" y="377"/>
                    </a:lnTo>
                    <a:lnTo>
                      <a:pt x="1136" y="383"/>
                    </a:lnTo>
                    <a:lnTo>
                      <a:pt x="1129" y="390"/>
                    </a:lnTo>
                    <a:lnTo>
                      <a:pt x="1122" y="396"/>
                    </a:lnTo>
                    <a:lnTo>
                      <a:pt x="1117" y="405"/>
                    </a:lnTo>
                    <a:lnTo>
                      <a:pt x="1110" y="412"/>
                    </a:lnTo>
                    <a:lnTo>
                      <a:pt x="1105" y="422"/>
                    </a:lnTo>
                    <a:lnTo>
                      <a:pt x="1096" y="441"/>
                    </a:lnTo>
                    <a:lnTo>
                      <a:pt x="1089" y="461"/>
                    </a:lnTo>
                    <a:lnTo>
                      <a:pt x="1082" y="483"/>
                    </a:lnTo>
                    <a:lnTo>
                      <a:pt x="1077" y="505"/>
                    </a:lnTo>
                    <a:lnTo>
                      <a:pt x="1072" y="528"/>
                    </a:lnTo>
                    <a:lnTo>
                      <a:pt x="1069" y="549"/>
                    </a:lnTo>
                    <a:lnTo>
                      <a:pt x="1067" y="571"/>
                    </a:lnTo>
                    <a:lnTo>
                      <a:pt x="1066" y="592"/>
                    </a:lnTo>
                    <a:lnTo>
                      <a:pt x="1066" y="610"/>
                    </a:lnTo>
                    <a:lnTo>
                      <a:pt x="1065" y="627"/>
                    </a:lnTo>
                    <a:lnTo>
                      <a:pt x="1066" y="644"/>
                    </a:lnTo>
                    <a:lnTo>
                      <a:pt x="1066" y="662"/>
                    </a:lnTo>
                    <a:lnTo>
                      <a:pt x="1067" y="682"/>
                    </a:lnTo>
                    <a:lnTo>
                      <a:pt x="1069" y="701"/>
                    </a:lnTo>
                    <a:lnTo>
                      <a:pt x="1072" y="722"/>
                    </a:lnTo>
                    <a:lnTo>
                      <a:pt x="1077" y="741"/>
                    </a:lnTo>
                    <a:lnTo>
                      <a:pt x="1081" y="761"/>
                    </a:lnTo>
                    <a:lnTo>
                      <a:pt x="1088" y="781"/>
                    </a:lnTo>
                    <a:lnTo>
                      <a:pt x="1095" y="799"/>
                    </a:lnTo>
                    <a:lnTo>
                      <a:pt x="1105" y="815"/>
                    </a:lnTo>
                    <a:lnTo>
                      <a:pt x="1110" y="823"/>
                    </a:lnTo>
                    <a:lnTo>
                      <a:pt x="1116" y="831"/>
                    </a:lnTo>
                    <a:lnTo>
                      <a:pt x="1121" y="837"/>
                    </a:lnTo>
                    <a:lnTo>
                      <a:pt x="1128" y="844"/>
                    </a:lnTo>
                    <a:lnTo>
                      <a:pt x="1135" y="849"/>
                    </a:lnTo>
                    <a:lnTo>
                      <a:pt x="1143" y="854"/>
                    </a:lnTo>
                    <a:lnTo>
                      <a:pt x="1151" y="859"/>
                    </a:lnTo>
                    <a:lnTo>
                      <a:pt x="1159" y="862"/>
                    </a:lnTo>
                    <a:lnTo>
                      <a:pt x="1168" y="865"/>
                    </a:lnTo>
                    <a:lnTo>
                      <a:pt x="1178" y="867"/>
                    </a:lnTo>
                    <a:lnTo>
                      <a:pt x="1187" y="869"/>
                    </a:lnTo>
                    <a:lnTo>
                      <a:pt x="1198" y="870"/>
                    </a:lnTo>
                    <a:lnTo>
                      <a:pt x="1209" y="869"/>
                    </a:lnTo>
                    <a:lnTo>
                      <a:pt x="1219" y="867"/>
                    </a:lnTo>
                    <a:lnTo>
                      <a:pt x="1229" y="865"/>
                    </a:lnTo>
                    <a:lnTo>
                      <a:pt x="1238" y="862"/>
                    </a:lnTo>
                    <a:lnTo>
                      <a:pt x="1248" y="858"/>
                    </a:lnTo>
                    <a:lnTo>
                      <a:pt x="1256" y="853"/>
                    </a:lnTo>
                    <a:lnTo>
                      <a:pt x="1264" y="848"/>
                    </a:lnTo>
                    <a:lnTo>
                      <a:pt x="1272" y="841"/>
                    </a:lnTo>
                    <a:lnTo>
                      <a:pt x="1280" y="835"/>
                    </a:lnTo>
                    <a:lnTo>
                      <a:pt x="1286" y="827"/>
                    </a:lnTo>
                    <a:lnTo>
                      <a:pt x="1293" y="820"/>
                    </a:lnTo>
                    <a:lnTo>
                      <a:pt x="1299" y="812"/>
                    </a:lnTo>
                    <a:lnTo>
                      <a:pt x="1310" y="794"/>
                    </a:lnTo>
                    <a:lnTo>
                      <a:pt x="1320" y="774"/>
                    </a:lnTo>
                    <a:lnTo>
                      <a:pt x="1328" y="753"/>
                    </a:lnTo>
                    <a:lnTo>
                      <a:pt x="1336" y="733"/>
                    </a:lnTo>
                    <a:lnTo>
                      <a:pt x="1341" y="711"/>
                    </a:lnTo>
                    <a:lnTo>
                      <a:pt x="1346" y="689"/>
                    </a:lnTo>
                    <a:lnTo>
                      <a:pt x="1349" y="668"/>
                    </a:lnTo>
                    <a:lnTo>
                      <a:pt x="1351" y="647"/>
                    </a:lnTo>
                    <a:lnTo>
                      <a:pt x="1353" y="627"/>
                    </a:lnTo>
                    <a:lnTo>
                      <a:pt x="1353" y="609"/>
                    </a:lnTo>
                    <a:lnTo>
                      <a:pt x="1353" y="592"/>
                    </a:lnTo>
                    <a:lnTo>
                      <a:pt x="1351" y="573"/>
                    </a:lnTo>
                    <a:lnTo>
                      <a:pt x="1349" y="553"/>
                    </a:lnTo>
                    <a:lnTo>
                      <a:pt x="1346" y="532"/>
                    </a:lnTo>
                    <a:lnTo>
                      <a:pt x="1341" y="511"/>
                    </a:lnTo>
                    <a:lnTo>
                      <a:pt x="1336" y="491"/>
                    </a:lnTo>
                    <a:lnTo>
                      <a:pt x="1328" y="470"/>
                    </a:lnTo>
                    <a:lnTo>
                      <a:pt x="1321" y="450"/>
                    </a:lnTo>
                    <a:lnTo>
                      <a:pt x="1311" y="432"/>
                    </a:lnTo>
                    <a:lnTo>
                      <a:pt x="1300" y="415"/>
                    </a:lnTo>
                    <a:lnTo>
                      <a:pt x="1294" y="407"/>
                    </a:lnTo>
                    <a:lnTo>
                      <a:pt x="1287" y="399"/>
                    </a:lnTo>
                    <a:lnTo>
                      <a:pt x="1281" y="392"/>
                    </a:lnTo>
                    <a:lnTo>
                      <a:pt x="1273" y="385"/>
                    </a:lnTo>
                    <a:lnTo>
                      <a:pt x="1266" y="380"/>
                    </a:lnTo>
                    <a:lnTo>
                      <a:pt x="1258" y="374"/>
                    </a:lnTo>
                    <a:lnTo>
                      <a:pt x="1249" y="370"/>
                    </a:lnTo>
                    <a:lnTo>
                      <a:pt x="1241" y="367"/>
                    </a:lnTo>
                    <a:lnTo>
                      <a:pt x="1231" y="364"/>
                    </a:lnTo>
                    <a:lnTo>
                      <a:pt x="1221" y="361"/>
                    </a:lnTo>
                    <a:lnTo>
                      <a:pt x="1211" y="359"/>
                    </a:lnTo>
                    <a:lnTo>
                      <a:pt x="1200" y="359"/>
                    </a:lnTo>
                    <a:close/>
                    <a:moveTo>
                      <a:pt x="1170" y="1231"/>
                    </a:moveTo>
                    <a:lnTo>
                      <a:pt x="1147" y="1231"/>
                    </a:lnTo>
                    <a:lnTo>
                      <a:pt x="1124" y="1230"/>
                    </a:lnTo>
                    <a:lnTo>
                      <a:pt x="1103" y="1228"/>
                    </a:lnTo>
                    <a:lnTo>
                      <a:pt x="1081" y="1226"/>
                    </a:lnTo>
                    <a:lnTo>
                      <a:pt x="1059" y="1222"/>
                    </a:lnTo>
                    <a:lnTo>
                      <a:pt x="1038" y="1218"/>
                    </a:lnTo>
                    <a:lnTo>
                      <a:pt x="1016" y="1214"/>
                    </a:lnTo>
                    <a:lnTo>
                      <a:pt x="994" y="1209"/>
                    </a:lnTo>
                    <a:lnTo>
                      <a:pt x="994" y="1115"/>
                    </a:lnTo>
                    <a:lnTo>
                      <a:pt x="1014" y="1124"/>
                    </a:lnTo>
                    <a:lnTo>
                      <a:pt x="1033" y="1131"/>
                    </a:lnTo>
                    <a:lnTo>
                      <a:pt x="1053" y="1139"/>
                    </a:lnTo>
                    <a:lnTo>
                      <a:pt x="1073" y="1144"/>
                    </a:lnTo>
                    <a:lnTo>
                      <a:pt x="1094" y="1149"/>
                    </a:lnTo>
                    <a:lnTo>
                      <a:pt x="1115" y="1151"/>
                    </a:lnTo>
                    <a:lnTo>
                      <a:pt x="1135" y="1153"/>
                    </a:lnTo>
                    <a:lnTo>
                      <a:pt x="1157" y="1154"/>
                    </a:lnTo>
                    <a:lnTo>
                      <a:pt x="1184" y="1153"/>
                    </a:lnTo>
                    <a:lnTo>
                      <a:pt x="1208" y="1150"/>
                    </a:lnTo>
                    <a:lnTo>
                      <a:pt x="1220" y="1149"/>
                    </a:lnTo>
                    <a:lnTo>
                      <a:pt x="1231" y="1145"/>
                    </a:lnTo>
                    <a:lnTo>
                      <a:pt x="1241" y="1143"/>
                    </a:lnTo>
                    <a:lnTo>
                      <a:pt x="1251" y="1140"/>
                    </a:lnTo>
                    <a:lnTo>
                      <a:pt x="1260" y="1136"/>
                    </a:lnTo>
                    <a:lnTo>
                      <a:pt x="1269" y="1131"/>
                    </a:lnTo>
                    <a:lnTo>
                      <a:pt x="1277" y="1127"/>
                    </a:lnTo>
                    <a:lnTo>
                      <a:pt x="1285" y="1123"/>
                    </a:lnTo>
                    <a:lnTo>
                      <a:pt x="1293" y="1117"/>
                    </a:lnTo>
                    <a:lnTo>
                      <a:pt x="1299" y="1111"/>
                    </a:lnTo>
                    <a:lnTo>
                      <a:pt x="1306" y="1105"/>
                    </a:lnTo>
                    <a:lnTo>
                      <a:pt x="1311" y="1098"/>
                    </a:lnTo>
                    <a:lnTo>
                      <a:pt x="1317" y="1091"/>
                    </a:lnTo>
                    <a:lnTo>
                      <a:pt x="1322" y="1083"/>
                    </a:lnTo>
                    <a:lnTo>
                      <a:pt x="1326" y="1076"/>
                    </a:lnTo>
                    <a:lnTo>
                      <a:pt x="1331" y="1067"/>
                    </a:lnTo>
                    <a:lnTo>
                      <a:pt x="1338" y="1050"/>
                    </a:lnTo>
                    <a:lnTo>
                      <a:pt x="1344" y="1030"/>
                    </a:lnTo>
                    <a:lnTo>
                      <a:pt x="1348" y="1010"/>
                    </a:lnTo>
                    <a:lnTo>
                      <a:pt x="1351" y="987"/>
                    </a:lnTo>
                    <a:lnTo>
                      <a:pt x="1353" y="963"/>
                    </a:lnTo>
                    <a:lnTo>
                      <a:pt x="1353" y="938"/>
                    </a:lnTo>
                    <a:lnTo>
                      <a:pt x="1353" y="823"/>
                    </a:lnTo>
                    <a:lnTo>
                      <a:pt x="1351" y="823"/>
                    </a:lnTo>
                    <a:lnTo>
                      <a:pt x="1346" y="837"/>
                    </a:lnTo>
                    <a:lnTo>
                      <a:pt x="1339" y="850"/>
                    </a:lnTo>
                    <a:lnTo>
                      <a:pt x="1333" y="863"/>
                    </a:lnTo>
                    <a:lnTo>
                      <a:pt x="1325" y="875"/>
                    </a:lnTo>
                    <a:lnTo>
                      <a:pt x="1317" y="886"/>
                    </a:lnTo>
                    <a:lnTo>
                      <a:pt x="1307" y="897"/>
                    </a:lnTo>
                    <a:lnTo>
                      <a:pt x="1297" y="905"/>
                    </a:lnTo>
                    <a:lnTo>
                      <a:pt x="1286" y="914"/>
                    </a:lnTo>
                    <a:lnTo>
                      <a:pt x="1274" y="922"/>
                    </a:lnTo>
                    <a:lnTo>
                      <a:pt x="1262" y="928"/>
                    </a:lnTo>
                    <a:lnTo>
                      <a:pt x="1249" y="934"/>
                    </a:lnTo>
                    <a:lnTo>
                      <a:pt x="1236" y="939"/>
                    </a:lnTo>
                    <a:lnTo>
                      <a:pt x="1222" y="942"/>
                    </a:lnTo>
                    <a:lnTo>
                      <a:pt x="1208" y="945"/>
                    </a:lnTo>
                    <a:lnTo>
                      <a:pt x="1194" y="947"/>
                    </a:lnTo>
                    <a:lnTo>
                      <a:pt x="1179" y="947"/>
                    </a:lnTo>
                    <a:lnTo>
                      <a:pt x="1162" y="947"/>
                    </a:lnTo>
                    <a:lnTo>
                      <a:pt x="1146" y="946"/>
                    </a:lnTo>
                    <a:lnTo>
                      <a:pt x="1132" y="942"/>
                    </a:lnTo>
                    <a:lnTo>
                      <a:pt x="1118" y="939"/>
                    </a:lnTo>
                    <a:lnTo>
                      <a:pt x="1105" y="935"/>
                    </a:lnTo>
                    <a:lnTo>
                      <a:pt x="1092" y="930"/>
                    </a:lnTo>
                    <a:lnTo>
                      <a:pt x="1080" y="924"/>
                    </a:lnTo>
                    <a:lnTo>
                      <a:pt x="1069" y="917"/>
                    </a:lnTo>
                    <a:lnTo>
                      <a:pt x="1058" y="910"/>
                    </a:lnTo>
                    <a:lnTo>
                      <a:pt x="1049" y="902"/>
                    </a:lnTo>
                    <a:lnTo>
                      <a:pt x="1039" y="893"/>
                    </a:lnTo>
                    <a:lnTo>
                      <a:pt x="1030" y="884"/>
                    </a:lnTo>
                    <a:lnTo>
                      <a:pt x="1022" y="874"/>
                    </a:lnTo>
                    <a:lnTo>
                      <a:pt x="1015" y="864"/>
                    </a:lnTo>
                    <a:lnTo>
                      <a:pt x="1007" y="853"/>
                    </a:lnTo>
                    <a:lnTo>
                      <a:pt x="1002" y="841"/>
                    </a:lnTo>
                    <a:lnTo>
                      <a:pt x="995" y="829"/>
                    </a:lnTo>
                    <a:lnTo>
                      <a:pt x="990" y="817"/>
                    </a:lnTo>
                    <a:lnTo>
                      <a:pt x="986" y="804"/>
                    </a:lnTo>
                    <a:lnTo>
                      <a:pt x="981" y="791"/>
                    </a:lnTo>
                    <a:lnTo>
                      <a:pt x="974" y="765"/>
                    </a:lnTo>
                    <a:lnTo>
                      <a:pt x="968" y="738"/>
                    </a:lnTo>
                    <a:lnTo>
                      <a:pt x="964" y="710"/>
                    </a:lnTo>
                    <a:lnTo>
                      <a:pt x="961" y="682"/>
                    </a:lnTo>
                    <a:lnTo>
                      <a:pt x="960" y="654"/>
                    </a:lnTo>
                    <a:lnTo>
                      <a:pt x="958" y="626"/>
                    </a:lnTo>
                    <a:lnTo>
                      <a:pt x="960" y="599"/>
                    </a:lnTo>
                    <a:lnTo>
                      <a:pt x="961" y="571"/>
                    </a:lnTo>
                    <a:lnTo>
                      <a:pt x="964" y="542"/>
                    </a:lnTo>
                    <a:lnTo>
                      <a:pt x="968" y="512"/>
                    </a:lnTo>
                    <a:lnTo>
                      <a:pt x="975" y="483"/>
                    </a:lnTo>
                    <a:lnTo>
                      <a:pt x="982" y="455"/>
                    </a:lnTo>
                    <a:lnTo>
                      <a:pt x="987" y="441"/>
                    </a:lnTo>
                    <a:lnTo>
                      <a:pt x="992" y="428"/>
                    </a:lnTo>
                    <a:lnTo>
                      <a:pt x="998" y="414"/>
                    </a:lnTo>
                    <a:lnTo>
                      <a:pt x="1003" y="401"/>
                    </a:lnTo>
                    <a:lnTo>
                      <a:pt x="1009" y="389"/>
                    </a:lnTo>
                    <a:lnTo>
                      <a:pt x="1017" y="376"/>
                    </a:lnTo>
                    <a:lnTo>
                      <a:pt x="1025" y="365"/>
                    </a:lnTo>
                    <a:lnTo>
                      <a:pt x="1033" y="353"/>
                    </a:lnTo>
                    <a:lnTo>
                      <a:pt x="1042" y="343"/>
                    </a:lnTo>
                    <a:lnTo>
                      <a:pt x="1051" y="333"/>
                    </a:lnTo>
                    <a:lnTo>
                      <a:pt x="1060" y="323"/>
                    </a:lnTo>
                    <a:lnTo>
                      <a:pt x="1071" y="315"/>
                    </a:lnTo>
                    <a:lnTo>
                      <a:pt x="1083" y="308"/>
                    </a:lnTo>
                    <a:lnTo>
                      <a:pt x="1095" y="301"/>
                    </a:lnTo>
                    <a:lnTo>
                      <a:pt x="1107" y="295"/>
                    </a:lnTo>
                    <a:lnTo>
                      <a:pt x="1121" y="290"/>
                    </a:lnTo>
                    <a:lnTo>
                      <a:pt x="1135" y="287"/>
                    </a:lnTo>
                    <a:lnTo>
                      <a:pt x="1149" y="283"/>
                    </a:lnTo>
                    <a:lnTo>
                      <a:pt x="1165" y="282"/>
                    </a:lnTo>
                    <a:lnTo>
                      <a:pt x="1181" y="281"/>
                    </a:lnTo>
                    <a:lnTo>
                      <a:pt x="1196" y="282"/>
                    </a:lnTo>
                    <a:lnTo>
                      <a:pt x="1210" y="283"/>
                    </a:lnTo>
                    <a:lnTo>
                      <a:pt x="1223" y="285"/>
                    </a:lnTo>
                    <a:lnTo>
                      <a:pt x="1237" y="290"/>
                    </a:lnTo>
                    <a:lnTo>
                      <a:pt x="1250" y="294"/>
                    </a:lnTo>
                    <a:lnTo>
                      <a:pt x="1263" y="300"/>
                    </a:lnTo>
                    <a:lnTo>
                      <a:pt x="1275" y="306"/>
                    </a:lnTo>
                    <a:lnTo>
                      <a:pt x="1287" y="314"/>
                    </a:lnTo>
                    <a:lnTo>
                      <a:pt x="1298" y="321"/>
                    </a:lnTo>
                    <a:lnTo>
                      <a:pt x="1309" y="331"/>
                    </a:lnTo>
                    <a:lnTo>
                      <a:pt x="1318" y="341"/>
                    </a:lnTo>
                    <a:lnTo>
                      <a:pt x="1326" y="352"/>
                    </a:lnTo>
                    <a:lnTo>
                      <a:pt x="1334" y="364"/>
                    </a:lnTo>
                    <a:lnTo>
                      <a:pt x="1340" y="376"/>
                    </a:lnTo>
                    <a:lnTo>
                      <a:pt x="1347" y="389"/>
                    </a:lnTo>
                    <a:lnTo>
                      <a:pt x="1351" y="403"/>
                    </a:lnTo>
                    <a:lnTo>
                      <a:pt x="1353" y="403"/>
                    </a:lnTo>
                    <a:lnTo>
                      <a:pt x="1353" y="296"/>
                    </a:lnTo>
                    <a:lnTo>
                      <a:pt x="1447" y="296"/>
                    </a:lnTo>
                    <a:lnTo>
                      <a:pt x="1447" y="949"/>
                    </a:lnTo>
                    <a:lnTo>
                      <a:pt x="1447" y="965"/>
                    </a:lnTo>
                    <a:lnTo>
                      <a:pt x="1446" y="983"/>
                    </a:lnTo>
                    <a:lnTo>
                      <a:pt x="1445" y="998"/>
                    </a:lnTo>
                    <a:lnTo>
                      <a:pt x="1442" y="1014"/>
                    </a:lnTo>
                    <a:lnTo>
                      <a:pt x="1440" y="1029"/>
                    </a:lnTo>
                    <a:lnTo>
                      <a:pt x="1437" y="1043"/>
                    </a:lnTo>
                    <a:lnTo>
                      <a:pt x="1434" y="1057"/>
                    </a:lnTo>
                    <a:lnTo>
                      <a:pt x="1429" y="1070"/>
                    </a:lnTo>
                    <a:lnTo>
                      <a:pt x="1425" y="1083"/>
                    </a:lnTo>
                    <a:lnTo>
                      <a:pt x="1421" y="1097"/>
                    </a:lnTo>
                    <a:lnTo>
                      <a:pt x="1414" y="1107"/>
                    </a:lnTo>
                    <a:lnTo>
                      <a:pt x="1409" y="1119"/>
                    </a:lnTo>
                    <a:lnTo>
                      <a:pt x="1402" y="1130"/>
                    </a:lnTo>
                    <a:lnTo>
                      <a:pt x="1395" y="1140"/>
                    </a:lnTo>
                    <a:lnTo>
                      <a:pt x="1387" y="1150"/>
                    </a:lnTo>
                    <a:lnTo>
                      <a:pt x="1378" y="1159"/>
                    </a:lnTo>
                    <a:lnTo>
                      <a:pt x="1370" y="1168"/>
                    </a:lnTo>
                    <a:lnTo>
                      <a:pt x="1360" y="1176"/>
                    </a:lnTo>
                    <a:lnTo>
                      <a:pt x="1350" y="1183"/>
                    </a:lnTo>
                    <a:lnTo>
                      <a:pt x="1340" y="1191"/>
                    </a:lnTo>
                    <a:lnTo>
                      <a:pt x="1330" y="1197"/>
                    </a:lnTo>
                    <a:lnTo>
                      <a:pt x="1318" y="1203"/>
                    </a:lnTo>
                    <a:lnTo>
                      <a:pt x="1306" y="1208"/>
                    </a:lnTo>
                    <a:lnTo>
                      <a:pt x="1293" y="1214"/>
                    </a:lnTo>
                    <a:lnTo>
                      <a:pt x="1280" y="1218"/>
                    </a:lnTo>
                    <a:lnTo>
                      <a:pt x="1266" y="1221"/>
                    </a:lnTo>
                    <a:lnTo>
                      <a:pt x="1251" y="1225"/>
                    </a:lnTo>
                    <a:lnTo>
                      <a:pt x="1236" y="1227"/>
                    </a:lnTo>
                    <a:lnTo>
                      <a:pt x="1221" y="1229"/>
                    </a:lnTo>
                    <a:lnTo>
                      <a:pt x="1205" y="1230"/>
                    </a:lnTo>
                    <a:lnTo>
                      <a:pt x="1187" y="1231"/>
                    </a:lnTo>
                    <a:lnTo>
                      <a:pt x="1170" y="1231"/>
                    </a:lnTo>
                    <a:close/>
                    <a:moveTo>
                      <a:pt x="765" y="947"/>
                    </a:moveTo>
                    <a:lnTo>
                      <a:pt x="765" y="296"/>
                    </a:lnTo>
                    <a:lnTo>
                      <a:pt x="859" y="296"/>
                    </a:lnTo>
                    <a:lnTo>
                      <a:pt x="859" y="947"/>
                    </a:lnTo>
                    <a:lnTo>
                      <a:pt x="765" y="947"/>
                    </a:lnTo>
                    <a:close/>
                    <a:moveTo>
                      <a:pt x="750" y="127"/>
                    </a:moveTo>
                    <a:lnTo>
                      <a:pt x="750" y="4"/>
                    </a:lnTo>
                    <a:lnTo>
                      <a:pt x="874" y="4"/>
                    </a:lnTo>
                    <a:lnTo>
                      <a:pt x="874" y="127"/>
                    </a:lnTo>
                    <a:lnTo>
                      <a:pt x="750" y="127"/>
                    </a:lnTo>
                    <a:close/>
                    <a:moveTo>
                      <a:pt x="496" y="947"/>
                    </a:moveTo>
                    <a:lnTo>
                      <a:pt x="496" y="502"/>
                    </a:lnTo>
                    <a:lnTo>
                      <a:pt x="107" y="502"/>
                    </a:lnTo>
                    <a:lnTo>
                      <a:pt x="107" y="947"/>
                    </a:lnTo>
                    <a:lnTo>
                      <a:pt x="0" y="947"/>
                    </a:lnTo>
                    <a:lnTo>
                      <a:pt x="0" y="4"/>
                    </a:lnTo>
                    <a:lnTo>
                      <a:pt x="107" y="4"/>
                    </a:lnTo>
                    <a:lnTo>
                      <a:pt x="107" y="412"/>
                    </a:lnTo>
                    <a:lnTo>
                      <a:pt x="496" y="412"/>
                    </a:lnTo>
                    <a:lnTo>
                      <a:pt x="496" y="4"/>
                    </a:lnTo>
                    <a:lnTo>
                      <a:pt x="604" y="4"/>
                    </a:lnTo>
                    <a:lnTo>
                      <a:pt x="604" y="947"/>
                    </a:lnTo>
                    <a:lnTo>
                      <a:pt x="496" y="947"/>
                    </a:lnTo>
                    <a:close/>
                  </a:path>
                </a:pathLst>
              </a:custGeom>
              <a:solidFill>
                <a:srgbClr val="1F1A17"/>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grpSp>
            <p:nvGrpSpPr>
              <p:cNvPr id="59" name="Group 21"/>
              <p:cNvGrpSpPr/>
              <p:nvPr userDrawn="1"/>
            </p:nvGrpSpPr>
            <p:grpSpPr>
              <a:xfrm>
                <a:off x="471488" y="605980"/>
                <a:ext cx="2196707" cy="386471"/>
                <a:chOff x="931863" y="2459038"/>
                <a:chExt cx="2427287" cy="427038"/>
              </a:xfrm>
              <a:solidFill>
                <a:sysClr val="windowText" lastClr="000000"/>
              </a:solidFill>
            </p:grpSpPr>
            <p:sp>
              <p:nvSpPr>
                <p:cNvPr id="60" name="Freeform 5"/>
                <p:cNvSpPr>
                  <a:spLocks noEditPoints="1"/>
                </p:cNvSpPr>
                <p:nvPr userDrawn="1"/>
              </p:nvSpPr>
              <p:spPr bwMode="auto">
                <a:xfrm>
                  <a:off x="931863" y="2555875"/>
                  <a:ext cx="247650" cy="330200"/>
                </a:xfrm>
                <a:custGeom>
                  <a:avLst/>
                  <a:gdLst/>
                  <a:ahLst/>
                  <a:cxnLst>
                    <a:cxn ang="0">
                      <a:pos x="1703" y="546"/>
                    </a:cxn>
                    <a:cxn ang="0">
                      <a:pos x="1652" y="361"/>
                    </a:cxn>
                    <a:cxn ang="0">
                      <a:pos x="1561" y="217"/>
                    </a:cxn>
                    <a:cxn ang="0">
                      <a:pos x="1432" y="113"/>
                    </a:cxn>
                    <a:cxn ang="0">
                      <a:pos x="1271" y="45"/>
                    </a:cxn>
                    <a:cxn ang="0">
                      <a:pos x="1083" y="9"/>
                    </a:cxn>
                    <a:cxn ang="0">
                      <a:pos x="872" y="1"/>
                    </a:cxn>
                    <a:cxn ang="0">
                      <a:pos x="670" y="21"/>
                    </a:cxn>
                    <a:cxn ang="0">
                      <a:pos x="486" y="74"/>
                    </a:cxn>
                    <a:cxn ang="0">
                      <a:pos x="328" y="160"/>
                    </a:cxn>
                    <a:cxn ang="0">
                      <a:pos x="204" y="282"/>
                    </a:cxn>
                    <a:cxn ang="0">
                      <a:pos x="121" y="444"/>
                    </a:cxn>
                    <a:cxn ang="0">
                      <a:pos x="84" y="647"/>
                    </a:cxn>
                    <a:cxn ang="0">
                      <a:pos x="582" y="635"/>
                    </a:cxn>
                    <a:cxn ang="0">
                      <a:pos x="601" y="550"/>
                    </a:cxn>
                    <a:cxn ang="0">
                      <a:pos x="636" y="480"/>
                    </a:cxn>
                    <a:cxn ang="0">
                      <a:pos x="687" y="425"/>
                    </a:cxn>
                    <a:cxn ang="0">
                      <a:pos x="755" y="386"/>
                    </a:cxn>
                    <a:cxn ang="0">
                      <a:pos x="838" y="364"/>
                    </a:cxn>
                    <a:cxn ang="0">
                      <a:pos x="939" y="359"/>
                    </a:cxn>
                    <a:cxn ang="0">
                      <a:pos x="1038" y="376"/>
                    </a:cxn>
                    <a:cxn ang="0">
                      <a:pos x="1112" y="417"/>
                    </a:cxn>
                    <a:cxn ang="0">
                      <a:pos x="1165" y="477"/>
                    </a:cxn>
                    <a:cxn ang="0">
                      <a:pos x="1198" y="553"/>
                    </a:cxn>
                    <a:cxn ang="0">
                      <a:pos x="1220" y="678"/>
                    </a:cxn>
                    <a:cxn ang="0">
                      <a:pos x="1028" y="982"/>
                    </a:cxn>
                    <a:cxn ang="0">
                      <a:pos x="772" y="1009"/>
                    </a:cxn>
                    <a:cxn ang="0">
                      <a:pos x="519" y="1067"/>
                    </a:cxn>
                    <a:cxn ang="0">
                      <a:pos x="295" y="1168"/>
                    </a:cxn>
                    <a:cxn ang="0">
                      <a:pos x="121" y="1322"/>
                    </a:cxn>
                    <a:cxn ang="0">
                      <a:pos x="18" y="1542"/>
                    </a:cxn>
                    <a:cxn ang="0">
                      <a:pos x="3" y="1780"/>
                    </a:cxn>
                    <a:cxn ang="0">
                      <a:pos x="40" y="1931"/>
                    </a:cxn>
                    <a:cxn ang="0">
                      <a:pos x="111" y="2057"/>
                    </a:cxn>
                    <a:cxn ang="0">
                      <a:pos x="213" y="2155"/>
                    </a:cxn>
                    <a:cxn ang="0">
                      <a:pos x="340" y="2227"/>
                    </a:cxn>
                    <a:cxn ang="0">
                      <a:pos x="485" y="2270"/>
                    </a:cxn>
                    <a:cxn ang="0">
                      <a:pos x="644" y="2285"/>
                    </a:cxn>
                    <a:cxn ang="0">
                      <a:pos x="797" y="2273"/>
                    </a:cxn>
                    <a:cxn ang="0">
                      <a:pos x="901" y="2248"/>
                    </a:cxn>
                    <a:cxn ang="0">
                      <a:pos x="995" y="2208"/>
                    </a:cxn>
                    <a:cxn ang="0">
                      <a:pos x="1082" y="2152"/>
                    </a:cxn>
                    <a:cxn ang="0">
                      <a:pos x="1155" y="2077"/>
                    </a:cxn>
                    <a:cxn ang="0">
                      <a:pos x="1214" y="1982"/>
                    </a:cxn>
                    <a:cxn ang="0">
                      <a:pos x="1224" y="1298"/>
                    </a:cxn>
                    <a:cxn ang="0">
                      <a:pos x="1211" y="1436"/>
                    </a:cxn>
                    <a:cxn ang="0">
                      <a:pos x="1178" y="1574"/>
                    </a:cxn>
                    <a:cxn ang="0">
                      <a:pos x="1124" y="1704"/>
                    </a:cxn>
                    <a:cxn ang="0">
                      <a:pos x="1044" y="1813"/>
                    </a:cxn>
                    <a:cxn ang="0">
                      <a:pos x="937" y="1891"/>
                    </a:cxn>
                    <a:cxn ang="0">
                      <a:pos x="799" y="1927"/>
                    </a:cxn>
                    <a:cxn ang="0">
                      <a:pos x="707" y="1923"/>
                    </a:cxn>
                    <a:cxn ang="0">
                      <a:pos x="641" y="1907"/>
                    </a:cxn>
                    <a:cxn ang="0">
                      <a:pos x="587" y="1877"/>
                    </a:cxn>
                    <a:cxn ang="0">
                      <a:pos x="545" y="1835"/>
                    </a:cxn>
                    <a:cxn ang="0">
                      <a:pos x="515" y="1780"/>
                    </a:cxn>
                    <a:cxn ang="0">
                      <a:pos x="499" y="1713"/>
                    </a:cxn>
                    <a:cxn ang="0">
                      <a:pos x="502" y="1607"/>
                    </a:cxn>
                    <a:cxn ang="0">
                      <a:pos x="558" y="1485"/>
                    </a:cxn>
                    <a:cxn ang="0">
                      <a:pos x="662" y="1396"/>
                    </a:cxn>
                    <a:cxn ang="0">
                      <a:pos x="798" y="1334"/>
                    </a:cxn>
                    <a:cxn ang="0">
                      <a:pos x="947" y="1297"/>
                    </a:cxn>
                    <a:cxn ang="0">
                      <a:pos x="1175" y="1272"/>
                    </a:cxn>
                  </a:cxnLst>
                  <a:rect l="0" t="0" r="r" b="b"/>
                  <a:pathLst>
                    <a:path w="1711" h="2285">
                      <a:moveTo>
                        <a:pt x="1711" y="2235"/>
                      </a:moveTo>
                      <a:lnTo>
                        <a:pt x="1711" y="679"/>
                      </a:lnTo>
                      <a:lnTo>
                        <a:pt x="1710" y="633"/>
                      </a:lnTo>
                      <a:lnTo>
                        <a:pt x="1707" y="589"/>
                      </a:lnTo>
                      <a:lnTo>
                        <a:pt x="1703" y="546"/>
                      </a:lnTo>
                      <a:lnTo>
                        <a:pt x="1697" y="505"/>
                      </a:lnTo>
                      <a:lnTo>
                        <a:pt x="1688" y="467"/>
                      </a:lnTo>
                      <a:lnTo>
                        <a:pt x="1678" y="430"/>
                      </a:lnTo>
                      <a:lnTo>
                        <a:pt x="1666" y="394"/>
                      </a:lnTo>
                      <a:lnTo>
                        <a:pt x="1652" y="361"/>
                      </a:lnTo>
                      <a:lnTo>
                        <a:pt x="1637" y="328"/>
                      </a:lnTo>
                      <a:lnTo>
                        <a:pt x="1620" y="299"/>
                      </a:lnTo>
                      <a:lnTo>
                        <a:pt x="1602" y="270"/>
                      </a:lnTo>
                      <a:lnTo>
                        <a:pt x="1582" y="243"/>
                      </a:lnTo>
                      <a:lnTo>
                        <a:pt x="1561" y="217"/>
                      </a:lnTo>
                      <a:lnTo>
                        <a:pt x="1538" y="194"/>
                      </a:lnTo>
                      <a:lnTo>
                        <a:pt x="1514" y="172"/>
                      </a:lnTo>
                      <a:lnTo>
                        <a:pt x="1487" y="151"/>
                      </a:lnTo>
                      <a:lnTo>
                        <a:pt x="1460" y="131"/>
                      </a:lnTo>
                      <a:lnTo>
                        <a:pt x="1432" y="113"/>
                      </a:lnTo>
                      <a:lnTo>
                        <a:pt x="1402" y="98"/>
                      </a:lnTo>
                      <a:lnTo>
                        <a:pt x="1372" y="82"/>
                      </a:lnTo>
                      <a:lnTo>
                        <a:pt x="1339" y="68"/>
                      </a:lnTo>
                      <a:lnTo>
                        <a:pt x="1306" y="57"/>
                      </a:lnTo>
                      <a:lnTo>
                        <a:pt x="1271" y="45"/>
                      </a:lnTo>
                      <a:lnTo>
                        <a:pt x="1236" y="36"/>
                      </a:lnTo>
                      <a:lnTo>
                        <a:pt x="1199" y="27"/>
                      </a:lnTo>
                      <a:lnTo>
                        <a:pt x="1162" y="20"/>
                      </a:lnTo>
                      <a:lnTo>
                        <a:pt x="1123" y="14"/>
                      </a:lnTo>
                      <a:lnTo>
                        <a:pt x="1083" y="9"/>
                      </a:lnTo>
                      <a:lnTo>
                        <a:pt x="1043" y="5"/>
                      </a:lnTo>
                      <a:lnTo>
                        <a:pt x="1001" y="2"/>
                      </a:lnTo>
                      <a:lnTo>
                        <a:pt x="959" y="1"/>
                      </a:lnTo>
                      <a:lnTo>
                        <a:pt x="916" y="0"/>
                      </a:lnTo>
                      <a:lnTo>
                        <a:pt x="872" y="1"/>
                      </a:lnTo>
                      <a:lnTo>
                        <a:pt x="831" y="3"/>
                      </a:lnTo>
                      <a:lnTo>
                        <a:pt x="789" y="5"/>
                      </a:lnTo>
                      <a:lnTo>
                        <a:pt x="748" y="10"/>
                      </a:lnTo>
                      <a:lnTo>
                        <a:pt x="709" y="15"/>
                      </a:lnTo>
                      <a:lnTo>
                        <a:pt x="670" y="21"/>
                      </a:lnTo>
                      <a:lnTo>
                        <a:pt x="631" y="30"/>
                      </a:lnTo>
                      <a:lnTo>
                        <a:pt x="593" y="39"/>
                      </a:lnTo>
                      <a:lnTo>
                        <a:pt x="556" y="48"/>
                      </a:lnTo>
                      <a:lnTo>
                        <a:pt x="520" y="61"/>
                      </a:lnTo>
                      <a:lnTo>
                        <a:pt x="486" y="74"/>
                      </a:lnTo>
                      <a:lnTo>
                        <a:pt x="452" y="88"/>
                      </a:lnTo>
                      <a:lnTo>
                        <a:pt x="419" y="104"/>
                      </a:lnTo>
                      <a:lnTo>
                        <a:pt x="388" y="121"/>
                      </a:lnTo>
                      <a:lnTo>
                        <a:pt x="357" y="140"/>
                      </a:lnTo>
                      <a:lnTo>
                        <a:pt x="328" y="160"/>
                      </a:lnTo>
                      <a:lnTo>
                        <a:pt x="301" y="180"/>
                      </a:lnTo>
                      <a:lnTo>
                        <a:pt x="274" y="204"/>
                      </a:lnTo>
                      <a:lnTo>
                        <a:pt x="249" y="229"/>
                      </a:lnTo>
                      <a:lnTo>
                        <a:pt x="226" y="255"/>
                      </a:lnTo>
                      <a:lnTo>
                        <a:pt x="204" y="282"/>
                      </a:lnTo>
                      <a:lnTo>
                        <a:pt x="184" y="311"/>
                      </a:lnTo>
                      <a:lnTo>
                        <a:pt x="166" y="342"/>
                      </a:lnTo>
                      <a:lnTo>
                        <a:pt x="149" y="374"/>
                      </a:lnTo>
                      <a:lnTo>
                        <a:pt x="134" y="408"/>
                      </a:lnTo>
                      <a:lnTo>
                        <a:pt x="121" y="444"/>
                      </a:lnTo>
                      <a:lnTo>
                        <a:pt x="109" y="481"/>
                      </a:lnTo>
                      <a:lnTo>
                        <a:pt x="100" y="520"/>
                      </a:lnTo>
                      <a:lnTo>
                        <a:pt x="93" y="561"/>
                      </a:lnTo>
                      <a:lnTo>
                        <a:pt x="87" y="603"/>
                      </a:lnTo>
                      <a:lnTo>
                        <a:pt x="84" y="647"/>
                      </a:lnTo>
                      <a:lnTo>
                        <a:pt x="83" y="693"/>
                      </a:lnTo>
                      <a:lnTo>
                        <a:pt x="579" y="693"/>
                      </a:lnTo>
                      <a:lnTo>
                        <a:pt x="580" y="673"/>
                      </a:lnTo>
                      <a:lnTo>
                        <a:pt x="581" y="654"/>
                      </a:lnTo>
                      <a:lnTo>
                        <a:pt x="582" y="635"/>
                      </a:lnTo>
                      <a:lnTo>
                        <a:pt x="584" y="616"/>
                      </a:lnTo>
                      <a:lnTo>
                        <a:pt x="588" y="600"/>
                      </a:lnTo>
                      <a:lnTo>
                        <a:pt x="592" y="582"/>
                      </a:lnTo>
                      <a:lnTo>
                        <a:pt x="596" y="566"/>
                      </a:lnTo>
                      <a:lnTo>
                        <a:pt x="601" y="550"/>
                      </a:lnTo>
                      <a:lnTo>
                        <a:pt x="607" y="535"/>
                      </a:lnTo>
                      <a:lnTo>
                        <a:pt x="613" y="520"/>
                      </a:lnTo>
                      <a:lnTo>
                        <a:pt x="620" y="506"/>
                      </a:lnTo>
                      <a:lnTo>
                        <a:pt x="628" y="493"/>
                      </a:lnTo>
                      <a:lnTo>
                        <a:pt x="636" y="480"/>
                      </a:lnTo>
                      <a:lnTo>
                        <a:pt x="644" y="468"/>
                      </a:lnTo>
                      <a:lnTo>
                        <a:pt x="655" y="456"/>
                      </a:lnTo>
                      <a:lnTo>
                        <a:pt x="664" y="445"/>
                      </a:lnTo>
                      <a:lnTo>
                        <a:pt x="676" y="435"/>
                      </a:lnTo>
                      <a:lnTo>
                        <a:pt x="687" y="425"/>
                      </a:lnTo>
                      <a:lnTo>
                        <a:pt x="699" y="416"/>
                      </a:lnTo>
                      <a:lnTo>
                        <a:pt x="712" y="408"/>
                      </a:lnTo>
                      <a:lnTo>
                        <a:pt x="725" y="400"/>
                      </a:lnTo>
                      <a:lnTo>
                        <a:pt x="740" y="393"/>
                      </a:lnTo>
                      <a:lnTo>
                        <a:pt x="755" y="386"/>
                      </a:lnTo>
                      <a:lnTo>
                        <a:pt x="769" y="381"/>
                      </a:lnTo>
                      <a:lnTo>
                        <a:pt x="785" y="375"/>
                      </a:lnTo>
                      <a:lnTo>
                        <a:pt x="802" y="371"/>
                      </a:lnTo>
                      <a:lnTo>
                        <a:pt x="820" y="367"/>
                      </a:lnTo>
                      <a:lnTo>
                        <a:pt x="838" y="364"/>
                      </a:lnTo>
                      <a:lnTo>
                        <a:pt x="856" y="362"/>
                      </a:lnTo>
                      <a:lnTo>
                        <a:pt x="876" y="360"/>
                      </a:lnTo>
                      <a:lnTo>
                        <a:pt x="895" y="359"/>
                      </a:lnTo>
                      <a:lnTo>
                        <a:pt x="916" y="359"/>
                      </a:lnTo>
                      <a:lnTo>
                        <a:pt x="939" y="359"/>
                      </a:lnTo>
                      <a:lnTo>
                        <a:pt x="961" y="361"/>
                      </a:lnTo>
                      <a:lnTo>
                        <a:pt x="982" y="363"/>
                      </a:lnTo>
                      <a:lnTo>
                        <a:pt x="1002" y="367"/>
                      </a:lnTo>
                      <a:lnTo>
                        <a:pt x="1020" y="371"/>
                      </a:lnTo>
                      <a:lnTo>
                        <a:pt x="1038" y="376"/>
                      </a:lnTo>
                      <a:lnTo>
                        <a:pt x="1054" y="383"/>
                      </a:lnTo>
                      <a:lnTo>
                        <a:pt x="1070" y="390"/>
                      </a:lnTo>
                      <a:lnTo>
                        <a:pt x="1085" y="398"/>
                      </a:lnTo>
                      <a:lnTo>
                        <a:pt x="1098" y="408"/>
                      </a:lnTo>
                      <a:lnTo>
                        <a:pt x="1112" y="417"/>
                      </a:lnTo>
                      <a:lnTo>
                        <a:pt x="1124" y="428"/>
                      </a:lnTo>
                      <a:lnTo>
                        <a:pt x="1135" y="439"/>
                      </a:lnTo>
                      <a:lnTo>
                        <a:pt x="1146" y="451"/>
                      </a:lnTo>
                      <a:lnTo>
                        <a:pt x="1155" y="463"/>
                      </a:lnTo>
                      <a:lnTo>
                        <a:pt x="1165" y="477"/>
                      </a:lnTo>
                      <a:lnTo>
                        <a:pt x="1172" y="491"/>
                      </a:lnTo>
                      <a:lnTo>
                        <a:pt x="1180" y="505"/>
                      </a:lnTo>
                      <a:lnTo>
                        <a:pt x="1187" y="521"/>
                      </a:lnTo>
                      <a:lnTo>
                        <a:pt x="1193" y="537"/>
                      </a:lnTo>
                      <a:lnTo>
                        <a:pt x="1198" y="553"/>
                      </a:lnTo>
                      <a:lnTo>
                        <a:pt x="1204" y="569"/>
                      </a:lnTo>
                      <a:lnTo>
                        <a:pt x="1208" y="587"/>
                      </a:lnTo>
                      <a:lnTo>
                        <a:pt x="1211" y="604"/>
                      </a:lnTo>
                      <a:lnTo>
                        <a:pt x="1217" y="641"/>
                      </a:lnTo>
                      <a:lnTo>
                        <a:pt x="1220" y="678"/>
                      </a:lnTo>
                      <a:lnTo>
                        <a:pt x="1223" y="717"/>
                      </a:lnTo>
                      <a:lnTo>
                        <a:pt x="1224" y="758"/>
                      </a:lnTo>
                      <a:lnTo>
                        <a:pt x="1224" y="973"/>
                      </a:lnTo>
                      <a:lnTo>
                        <a:pt x="1128" y="976"/>
                      </a:lnTo>
                      <a:lnTo>
                        <a:pt x="1028" y="982"/>
                      </a:lnTo>
                      <a:lnTo>
                        <a:pt x="978" y="985"/>
                      </a:lnTo>
                      <a:lnTo>
                        <a:pt x="926" y="991"/>
                      </a:lnTo>
                      <a:lnTo>
                        <a:pt x="875" y="996"/>
                      </a:lnTo>
                      <a:lnTo>
                        <a:pt x="823" y="1002"/>
                      </a:lnTo>
                      <a:lnTo>
                        <a:pt x="772" y="1009"/>
                      </a:lnTo>
                      <a:lnTo>
                        <a:pt x="720" y="1018"/>
                      </a:lnTo>
                      <a:lnTo>
                        <a:pt x="669" y="1028"/>
                      </a:lnTo>
                      <a:lnTo>
                        <a:pt x="618" y="1040"/>
                      </a:lnTo>
                      <a:lnTo>
                        <a:pt x="569" y="1052"/>
                      </a:lnTo>
                      <a:lnTo>
                        <a:pt x="519" y="1067"/>
                      </a:lnTo>
                      <a:lnTo>
                        <a:pt x="472" y="1084"/>
                      </a:lnTo>
                      <a:lnTo>
                        <a:pt x="426" y="1102"/>
                      </a:lnTo>
                      <a:lnTo>
                        <a:pt x="381" y="1122"/>
                      </a:lnTo>
                      <a:lnTo>
                        <a:pt x="337" y="1144"/>
                      </a:lnTo>
                      <a:lnTo>
                        <a:pt x="295" y="1168"/>
                      </a:lnTo>
                      <a:lnTo>
                        <a:pt x="256" y="1193"/>
                      </a:lnTo>
                      <a:lnTo>
                        <a:pt x="219" y="1222"/>
                      </a:lnTo>
                      <a:lnTo>
                        <a:pt x="184" y="1253"/>
                      </a:lnTo>
                      <a:lnTo>
                        <a:pt x="151" y="1286"/>
                      </a:lnTo>
                      <a:lnTo>
                        <a:pt x="121" y="1322"/>
                      </a:lnTo>
                      <a:lnTo>
                        <a:pt x="95" y="1360"/>
                      </a:lnTo>
                      <a:lnTo>
                        <a:pt x="70" y="1401"/>
                      </a:lnTo>
                      <a:lnTo>
                        <a:pt x="49" y="1445"/>
                      </a:lnTo>
                      <a:lnTo>
                        <a:pt x="33" y="1493"/>
                      </a:lnTo>
                      <a:lnTo>
                        <a:pt x="18" y="1542"/>
                      </a:lnTo>
                      <a:lnTo>
                        <a:pt x="8" y="1595"/>
                      </a:lnTo>
                      <a:lnTo>
                        <a:pt x="2" y="1652"/>
                      </a:lnTo>
                      <a:lnTo>
                        <a:pt x="0" y="1712"/>
                      </a:lnTo>
                      <a:lnTo>
                        <a:pt x="1" y="1746"/>
                      </a:lnTo>
                      <a:lnTo>
                        <a:pt x="3" y="1780"/>
                      </a:lnTo>
                      <a:lnTo>
                        <a:pt x="7" y="1811"/>
                      </a:lnTo>
                      <a:lnTo>
                        <a:pt x="14" y="1843"/>
                      </a:lnTo>
                      <a:lnTo>
                        <a:pt x="21" y="1873"/>
                      </a:lnTo>
                      <a:lnTo>
                        <a:pt x="29" y="1902"/>
                      </a:lnTo>
                      <a:lnTo>
                        <a:pt x="40" y="1931"/>
                      </a:lnTo>
                      <a:lnTo>
                        <a:pt x="52" y="1958"/>
                      </a:lnTo>
                      <a:lnTo>
                        <a:pt x="64" y="1984"/>
                      </a:lnTo>
                      <a:lnTo>
                        <a:pt x="79" y="2009"/>
                      </a:lnTo>
                      <a:lnTo>
                        <a:pt x="95" y="2033"/>
                      </a:lnTo>
                      <a:lnTo>
                        <a:pt x="111" y="2057"/>
                      </a:lnTo>
                      <a:lnTo>
                        <a:pt x="129" y="2079"/>
                      </a:lnTo>
                      <a:lnTo>
                        <a:pt x="149" y="2099"/>
                      </a:lnTo>
                      <a:lnTo>
                        <a:pt x="169" y="2119"/>
                      </a:lnTo>
                      <a:lnTo>
                        <a:pt x="191" y="2137"/>
                      </a:lnTo>
                      <a:lnTo>
                        <a:pt x="213" y="2155"/>
                      </a:lnTo>
                      <a:lnTo>
                        <a:pt x="237" y="2172"/>
                      </a:lnTo>
                      <a:lnTo>
                        <a:pt x="262" y="2188"/>
                      </a:lnTo>
                      <a:lnTo>
                        <a:pt x="287" y="2201"/>
                      </a:lnTo>
                      <a:lnTo>
                        <a:pt x="312" y="2215"/>
                      </a:lnTo>
                      <a:lnTo>
                        <a:pt x="340" y="2227"/>
                      </a:lnTo>
                      <a:lnTo>
                        <a:pt x="367" y="2238"/>
                      </a:lnTo>
                      <a:lnTo>
                        <a:pt x="396" y="2247"/>
                      </a:lnTo>
                      <a:lnTo>
                        <a:pt x="425" y="2257"/>
                      </a:lnTo>
                      <a:lnTo>
                        <a:pt x="455" y="2264"/>
                      </a:lnTo>
                      <a:lnTo>
                        <a:pt x="485" y="2270"/>
                      </a:lnTo>
                      <a:lnTo>
                        <a:pt x="516" y="2276"/>
                      </a:lnTo>
                      <a:lnTo>
                        <a:pt x="548" y="2280"/>
                      </a:lnTo>
                      <a:lnTo>
                        <a:pt x="579" y="2283"/>
                      </a:lnTo>
                      <a:lnTo>
                        <a:pt x="612" y="2284"/>
                      </a:lnTo>
                      <a:lnTo>
                        <a:pt x="644" y="2285"/>
                      </a:lnTo>
                      <a:lnTo>
                        <a:pt x="689" y="2284"/>
                      </a:lnTo>
                      <a:lnTo>
                        <a:pt x="733" y="2281"/>
                      </a:lnTo>
                      <a:lnTo>
                        <a:pt x="755" y="2279"/>
                      </a:lnTo>
                      <a:lnTo>
                        <a:pt x="776" y="2277"/>
                      </a:lnTo>
                      <a:lnTo>
                        <a:pt x="797" y="2273"/>
                      </a:lnTo>
                      <a:lnTo>
                        <a:pt x="819" y="2269"/>
                      </a:lnTo>
                      <a:lnTo>
                        <a:pt x="839" y="2265"/>
                      </a:lnTo>
                      <a:lnTo>
                        <a:pt x="860" y="2260"/>
                      </a:lnTo>
                      <a:lnTo>
                        <a:pt x="880" y="2255"/>
                      </a:lnTo>
                      <a:lnTo>
                        <a:pt x="901" y="2248"/>
                      </a:lnTo>
                      <a:lnTo>
                        <a:pt x="920" y="2242"/>
                      </a:lnTo>
                      <a:lnTo>
                        <a:pt x="940" y="2235"/>
                      </a:lnTo>
                      <a:lnTo>
                        <a:pt x="959" y="2226"/>
                      </a:lnTo>
                      <a:lnTo>
                        <a:pt x="978" y="2218"/>
                      </a:lnTo>
                      <a:lnTo>
                        <a:pt x="995" y="2208"/>
                      </a:lnTo>
                      <a:lnTo>
                        <a:pt x="1013" y="2199"/>
                      </a:lnTo>
                      <a:lnTo>
                        <a:pt x="1031" y="2189"/>
                      </a:lnTo>
                      <a:lnTo>
                        <a:pt x="1048" y="2177"/>
                      </a:lnTo>
                      <a:lnTo>
                        <a:pt x="1065" y="2164"/>
                      </a:lnTo>
                      <a:lnTo>
                        <a:pt x="1082" y="2152"/>
                      </a:lnTo>
                      <a:lnTo>
                        <a:pt x="1097" y="2138"/>
                      </a:lnTo>
                      <a:lnTo>
                        <a:pt x="1112" y="2125"/>
                      </a:lnTo>
                      <a:lnTo>
                        <a:pt x="1127" y="2110"/>
                      </a:lnTo>
                      <a:lnTo>
                        <a:pt x="1142" y="2094"/>
                      </a:lnTo>
                      <a:lnTo>
                        <a:pt x="1155" y="2077"/>
                      </a:lnTo>
                      <a:lnTo>
                        <a:pt x="1168" y="2060"/>
                      </a:lnTo>
                      <a:lnTo>
                        <a:pt x="1180" y="2042"/>
                      </a:lnTo>
                      <a:lnTo>
                        <a:pt x="1192" y="2023"/>
                      </a:lnTo>
                      <a:lnTo>
                        <a:pt x="1204" y="2003"/>
                      </a:lnTo>
                      <a:lnTo>
                        <a:pt x="1214" y="1982"/>
                      </a:lnTo>
                      <a:lnTo>
                        <a:pt x="1224" y="1982"/>
                      </a:lnTo>
                      <a:lnTo>
                        <a:pt x="1224" y="2235"/>
                      </a:lnTo>
                      <a:lnTo>
                        <a:pt x="1711" y="2235"/>
                      </a:lnTo>
                      <a:close/>
                      <a:moveTo>
                        <a:pt x="1224" y="1272"/>
                      </a:moveTo>
                      <a:lnTo>
                        <a:pt x="1224" y="1298"/>
                      </a:lnTo>
                      <a:lnTo>
                        <a:pt x="1223" y="1325"/>
                      </a:lnTo>
                      <a:lnTo>
                        <a:pt x="1220" y="1352"/>
                      </a:lnTo>
                      <a:lnTo>
                        <a:pt x="1218" y="1379"/>
                      </a:lnTo>
                      <a:lnTo>
                        <a:pt x="1215" y="1408"/>
                      </a:lnTo>
                      <a:lnTo>
                        <a:pt x="1211" y="1436"/>
                      </a:lnTo>
                      <a:lnTo>
                        <a:pt x="1206" y="1463"/>
                      </a:lnTo>
                      <a:lnTo>
                        <a:pt x="1200" y="1492"/>
                      </a:lnTo>
                      <a:lnTo>
                        <a:pt x="1194" y="1520"/>
                      </a:lnTo>
                      <a:lnTo>
                        <a:pt x="1187" y="1547"/>
                      </a:lnTo>
                      <a:lnTo>
                        <a:pt x="1178" y="1574"/>
                      </a:lnTo>
                      <a:lnTo>
                        <a:pt x="1169" y="1602"/>
                      </a:lnTo>
                      <a:lnTo>
                        <a:pt x="1159" y="1628"/>
                      </a:lnTo>
                      <a:lnTo>
                        <a:pt x="1148" y="1654"/>
                      </a:lnTo>
                      <a:lnTo>
                        <a:pt x="1136" y="1679"/>
                      </a:lnTo>
                      <a:lnTo>
                        <a:pt x="1124" y="1704"/>
                      </a:lnTo>
                      <a:lnTo>
                        <a:pt x="1110" y="1727"/>
                      </a:lnTo>
                      <a:lnTo>
                        <a:pt x="1095" y="1750"/>
                      </a:lnTo>
                      <a:lnTo>
                        <a:pt x="1079" y="1772"/>
                      </a:lnTo>
                      <a:lnTo>
                        <a:pt x="1062" y="1793"/>
                      </a:lnTo>
                      <a:lnTo>
                        <a:pt x="1044" y="1813"/>
                      </a:lnTo>
                      <a:lnTo>
                        <a:pt x="1025" y="1831"/>
                      </a:lnTo>
                      <a:lnTo>
                        <a:pt x="1004" y="1849"/>
                      </a:lnTo>
                      <a:lnTo>
                        <a:pt x="983" y="1864"/>
                      </a:lnTo>
                      <a:lnTo>
                        <a:pt x="961" y="1878"/>
                      </a:lnTo>
                      <a:lnTo>
                        <a:pt x="937" y="1891"/>
                      </a:lnTo>
                      <a:lnTo>
                        <a:pt x="911" y="1901"/>
                      </a:lnTo>
                      <a:lnTo>
                        <a:pt x="885" y="1911"/>
                      </a:lnTo>
                      <a:lnTo>
                        <a:pt x="858" y="1918"/>
                      </a:lnTo>
                      <a:lnTo>
                        <a:pt x="829" y="1923"/>
                      </a:lnTo>
                      <a:lnTo>
                        <a:pt x="799" y="1927"/>
                      </a:lnTo>
                      <a:lnTo>
                        <a:pt x="768" y="1928"/>
                      </a:lnTo>
                      <a:lnTo>
                        <a:pt x="753" y="1927"/>
                      </a:lnTo>
                      <a:lnTo>
                        <a:pt x="737" y="1927"/>
                      </a:lnTo>
                      <a:lnTo>
                        <a:pt x="722" y="1924"/>
                      </a:lnTo>
                      <a:lnTo>
                        <a:pt x="707" y="1923"/>
                      </a:lnTo>
                      <a:lnTo>
                        <a:pt x="694" y="1921"/>
                      </a:lnTo>
                      <a:lnTo>
                        <a:pt x="680" y="1918"/>
                      </a:lnTo>
                      <a:lnTo>
                        <a:pt x="666" y="1915"/>
                      </a:lnTo>
                      <a:lnTo>
                        <a:pt x="654" y="1911"/>
                      </a:lnTo>
                      <a:lnTo>
                        <a:pt x="641" y="1907"/>
                      </a:lnTo>
                      <a:lnTo>
                        <a:pt x="630" y="1901"/>
                      </a:lnTo>
                      <a:lnTo>
                        <a:pt x="618" y="1896"/>
                      </a:lnTo>
                      <a:lnTo>
                        <a:pt x="608" y="1890"/>
                      </a:lnTo>
                      <a:lnTo>
                        <a:pt x="597" y="1884"/>
                      </a:lnTo>
                      <a:lnTo>
                        <a:pt x="587" y="1877"/>
                      </a:lnTo>
                      <a:lnTo>
                        <a:pt x="577" y="1870"/>
                      </a:lnTo>
                      <a:lnTo>
                        <a:pt x="569" y="1862"/>
                      </a:lnTo>
                      <a:lnTo>
                        <a:pt x="560" y="1853"/>
                      </a:lnTo>
                      <a:lnTo>
                        <a:pt x="552" y="1845"/>
                      </a:lnTo>
                      <a:lnTo>
                        <a:pt x="545" y="1835"/>
                      </a:lnTo>
                      <a:lnTo>
                        <a:pt x="538" y="1825"/>
                      </a:lnTo>
                      <a:lnTo>
                        <a:pt x="531" y="1814"/>
                      </a:lnTo>
                      <a:lnTo>
                        <a:pt x="526" y="1804"/>
                      </a:lnTo>
                      <a:lnTo>
                        <a:pt x="520" y="1792"/>
                      </a:lnTo>
                      <a:lnTo>
                        <a:pt x="515" y="1780"/>
                      </a:lnTo>
                      <a:lnTo>
                        <a:pt x="511" y="1767"/>
                      </a:lnTo>
                      <a:lnTo>
                        <a:pt x="507" y="1755"/>
                      </a:lnTo>
                      <a:lnTo>
                        <a:pt x="504" y="1741"/>
                      </a:lnTo>
                      <a:lnTo>
                        <a:pt x="501" y="1726"/>
                      </a:lnTo>
                      <a:lnTo>
                        <a:pt x="499" y="1713"/>
                      </a:lnTo>
                      <a:lnTo>
                        <a:pt x="498" y="1697"/>
                      </a:lnTo>
                      <a:lnTo>
                        <a:pt x="497" y="1681"/>
                      </a:lnTo>
                      <a:lnTo>
                        <a:pt x="497" y="1666"/>
                      </a:lnTo>
                      <a:lnTo>
                        <a:pt x="498" y="1635"/>
                      </a:lnTo>
                      <a:lnTo>
                        <a:pt x="502" y="1607"/>
                      </a:lnTo>
                      <a:lnTo>
                        <a:pt x="509" y="1580"/>
                      </a:lnTo>
                      <a:lnTo>
                        <a:pt x="518" y="1553"/>
                      </a:lnTo>
                      <a:lnTo>
                        <a:pt x="530" y="1529"/>
                      </a:lnTo>
                      <a:lnTo>
                        <a:pt x="542" y="1506"/>
                      </a:lnTo>
                      <a:lnTo>
                        <a:pt x="558" y="1485"/>
                      </a:lnTo>
                      <a:lnTo>
                        <a:pt x="576" y="1464"/>
                      </a:lnTo>
                      <a:lnTo>
                        <a:pt x="595" y="1445"/>
                      </a:lnTo>
                      <a:lnTo>
                        <a:pt x="616" y="1428"/>
                      </a:lnTo>
                      <a:lnTo>
                        <a:pt x="639" y="1411"/>
                      </a:lnTo>
                      <a:lnTo>
                        <a:pt x="662" y="1396"/>
                      </a:lnTo>
                      <a:lnTo>
                        <a:pt x="687" y="1382"/>
                      </a:lnTo>
                      <a:lnTo>
                        <a:pt x="714" y="1368"/>
                      </a:lnTo>
                      <a:lnTo>
                        <a:pt x="741" y="1356"/>
                      </a:lnTo>
                      <a:lnTo>
                        <a:pt x="768" y="1345"/>
                      </a:lnTo>
                      <a:lnTo>
                        <a:pt x="798" y="1334"/>
                      </a:lnTo>
                      <a:lnTo>
                        <a:pt x="826" y="1325"/>
                      </a:lnTo>
                      <a:lnTo>
                        <a:pt x="857" y="1317"/>
                      </a:lnTo>
                      <a:lnTo>
                        <a:pt x="886" y="1309"/>
                      </a:lnTo>
                      <a:lnTo>
                        <a:pt x="917" y="1302"/>
                      </a:lnTo>
                      <a:lnTo>
                        <a:pt x="947" y="1297"/>
                      </a:lnTo>
                      <a:lnTo>
                        <a:pt x="978" y="1291"/>
                      </a:lnTo>
                      <a:lnTo>
                        <a:pt x="1007" y="1286"/>
                      </a:lnTo>
                      <a:lnTo>
                        <a:pt x="1066" y="1279"/>
                      </a:lnTo>
                      <a:lnTo>
                        <a:pt x="1123" y="1275"/>
                      </a:lnTo>
                      <a:lnTo>
                        <a:pt x="1175" y="1272"/>
                      </a:lnTo>
                      <a:lnTo>
                        <a:pt x="1224" y="1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1" name="Freeform 6"/>
                <p:cNvSpPr>
                  <a:spLocks/>
                </p:cNvSpPr>
                <p:nvPr userDrawn="1"/>
              </p:nvSpPr>
              <p:spPr bwMode="auto">
                <a:xfrm>
                  <a:off x="1211263" y="2555875"/>
                  <a:ext cx="265112" cy="330200"/>
                </a:xfrm>
                <a:custGeom>
                  <a:avLst/>
                  <a:gdLst/>
                  <a:ahLst/>
                  <a:cxnLst>
                    <a:cxn ang="0">
                      <a:pos x="1287"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2" y="497"/>
                    </a:cxn>
                    <a:cxn ang="0">
                      <a:pos x="619" y="581"/>
                    </a:cxn>
                    <a:cxn ang="0">
                      <a:pos x="582" y="676"/>
                    </a:cxn>
                    <a:cxn ang="0">
                      <a:pos x="558" y="777"/>
                    </a:cxn>
                    <a:cxn ang="0">
                      <a:pos x="546" y="880"/>
                    </a:cxn>
                    <a:cxn ang="0">
                      <a:pos x="544" y="1006"/>
                    </a:cxn>
                    <a:cxn ang="0">
                      <a:pos x="566" y="1202"/>
                    </a:cxn>
                    <a:cxn ang="0">
                      <a:pos x="617" y="1383"/>
                    </a:cxn>
                    <a:cxn ang="0">
                      <a:pos x="698" y="1543"/>
                    </a:cxn>
                    <a:cxn ang="0">
                      <a:pos x="805" y="1679"/>
                    </a:cxn>
                    <a:cxn ang="0">
                      <a:pos x="941" y="1789"/>
                    </a:cxn>
                    <a:cxn ang="0">
                      <a:pos x="1102" y="1870"/>
                    </a:cxn>
                    <a:cxn ang="0">
                      <a:pos x="1288" y="1916"/>
                    </a:cxn>
                    <a:cxn ang="0">
                      <a:pos x="1491" y="1927"/>
                    </a:cxn>
                    <a:cxn ang="0">
                      <a:pos x="1653" y="1912"/>
                    </a:cxn>
                    <a:cxn ang="0">
                      <a:pos x="1745" y="1893"/>
                    </a:cxn>
                    <a:cxn ang="0">
                      <a:pos x="1812" y="2184"/>
                    </a:cxn>
                    <a:cxn ang="0">
                      <a:pos x="1656" y="2227"/>
                    </a:cxn>
                    <a:cxn ang="0">
                      <a:pos x="1496" y="2259"/>
                    </a:cxn>
                    <a:cxn ang="0">
                      <a:pos x="1335" y="2279"/>
                    </a:cxn>
                    <a:cxn ang="0">
                      <a:pos x="1173" y="2285"/>
                    </a:cxn>
                    <a:cxn ang="0">
                      <a:pos x="898" y="2263"/>
                    </a:cxn>
                    <a:cxn ang="0">
                      <a:pos x="659" y="2199"/>
                    </a:cxn>
                    <a:cxn ang="0">
                      <a:pos x="458" y="2094"/>
                    </a:cxn>
                    <a:cxn ang="0">
                      <a:pos x="293" y="1952"/>
                    </a:cxn>
                    <a:cxn ang="0">
                      <a:pos x="165" y="1772"/>
                    </a:cxn>
                    <a:cxn ang="0">
                      <a:pos x="73" y="1561"/>
                    </a:cxn>
                    <a:cxn ang="0">
                      <a:pos x="18" y="1319"/>
                    </a:cxn>
                    <a:cxn ang="0">
                      <a:pos x="0" y="1046"/>
                    </a:cxn>
                    <a:cxn ang="0">
                      <a:pos x="16" y="820"/>
                    </a:cxn>
                    <a:cxn ang="0">
                      <a:pos x="64" y="616"/>
                    </a:cxn>
                    <a:cxn ang="0">
                      <a:pos x="144" y="437"/>
                    </a:cxn>
                    <a:cxn ang="0">
                      <a:pos x="255" y="286"/>
                    </a:cxn>
                    <a:cxn ang="0">
                      <a:pos x="396" y="165"/>
                    </a:cxn>
                    <a:cxn ang="0">
                      <a:pos x="569" y="75"/>
                    </a:cxn>
                    <a:cxn ang="0">
                      <a:pos x="771" y="19"/>
                    </a:cxn>
                    <a:cxn ang="0">
                      <a:pos x="1003" y="0"/>
                    </a:cxn>
                    <a:cxn ang="0">
                      <a:pos x="1192" y="13"/>
                    </a:cxn>
                    <a:cxn ang="0">
                      <a:pos x="1358" y="49"/>
                    </a:cxn>
                    <a:cxn ang="0">
                      <a:pos x="1501" y="111"/>
                    </a:cxn>
                    <a:cxn ang="0">
                      <a:pos x="1619" y="198"/>
                    </a:cxn>
                    <a:cxn ang="0">
                      <a:pos x="1713" y="310"/>
                    </a:cxn>
                    <a:cxn ang="0">
                      <a:pos x="1781" y="448"/>
                    </a:cxn>
                    <a:cxn ang="0">
                      <a:pos x="1822" y="610"/>
                    </a:cxn>
                    <a:cxn ang="0">
                      <a:pos x="1836" y="799"/>
                    </a:cxn>
                  </a:cxnLst>
                  <a:rect l="0" t="0" r="r" b="b"/>
                  <a:pathLst>
                    <a:path w="1836" h="2285">
                      <a:moveTo>
                        <a:pt x="1293" y="799"/>
                      </a:moveTo>
                      <a:lnTo>
                        <a:pt x="1292" y="757"/>
                      </a:lnTo>
                      <a:lnTo>
                        <a:pt x="1289" y="715"/>
                      </a:lnTo>
                      <a:lnTo>
                        <a:pt x="1287" y="695"/>
                      </a:lnTo>
                      <a:lnTo>
                        <a:pt x="1285" y="675"/>
                      </a:lnTo>
                      <a:lnTo>
                        <a:pt x="1282" y="655"/>
                      </a:lnTo>
                      <a:lnTo>
                        <a:pt x="1278" y="635"/>
                      </a:lnTo>
                      <a:lnTo>
                        <a:pt x="1274" y="616"/>
                      </a:lnTo>
                      <a:lnTo>
                        <a:pt x="1270" y="598"/>
                      </a:lnTo>
                      <a:lnTo>
                        <a:pt x="1264" y="579"/>
                      </a:lnTo>
                      <a:lnTo>
                        <a:pt x="1258" y="561"/>
                      </a:lnTo>
                      <a:lnTo>
                        <a:pt x="1251" y="543"/>
                      </a:lnTo>
                      <a:lnTo>
                        <a:pt x="1244" y="526"/>
                      </a:lnTo>
                      <a:lnTo>
                        <a:pt x="1236" y="511"/>
                      </a:lnTo>
                      <a:lnTo>
                        <a:pt x="1227" y="494"/>
                      </a:lnTo>
                      <a:lnTo>
                        <a:pt x="1217" y="479"/>
                      </a:lnTo>
                      <a:lnTo>
                        <a:pt x="1207" y="464"/>
                      </a:lnTo>
                      <a:lnTo>
                        <a:pt x="1195" y="452"/>
                      </a:lnTo>
                      <a:lnTo>
                        <a:pt x="1184" y="438"/>
                      </a:lnTo>
                      <a:lnTo>
                        <a:pt x="1170" y="427"/>
                      </a:lnTo>
                      <a:lnTo>
                        <a:pt x="1156" y="415"/>
                      </a:lnTo>
                      <a:lnTo>
                        <a:pt x="1142" y="405"/>
                      </a:lnTo>
                      <a:lnTo>
                        <a:pt x="1126" y="395"/>
                      </a:lnTo>
                      <a:lnTo>
                        <a:pt x="1109" y="387"/>
                      </a:lnTo>
                      <a:lnTo>
                        <a:pt x="1091" y="380"/>
                      </a:lnTo>
                      <a:lnTo>
                        <a:pt x="1072" y="373"/>
                      </a:lnTo>
                      <a:lnTo>
                        <a:pt x="1052" y="368"/>
                      </a:lnTo>
                      <a:lnTo>
                        <a:pt x="1031" y="364"/>
                      </a:lnTo>
                      <a:lnTo>
                        <a:pt x="1009" y="361"/>
                      </a:lnTo>
                      <a:lnTo>
                        <a:pt x="986" y="359"/>
                      </a:lnTo>
                      <a:lnTo>
                        <a:pt x="962" y="359"/>
                      </a:lnTo>
                      <a:lnTo>
                        <a:pt x="931" y="360"/>
                      </a:lnTo>
                      <a:lnTo>
                        <a:pt x="904" y="362"/>
                      </a:lnTo>
                      <a:lnTo>
                        <a:pt x="877" y="367"/>
                      </a:lnTo>
                      <a:lnTo>
                        <a:pt x="851" y="373"/>
                      </a:lnTo>
                      <a:lnTo>
                        <a:pt x="826" y="382"/>
                      </a:lnTo>
                      <a:lnTo>
                        <a:pt x="803" y="391"/>
                      </a:lnTo>
                      <a:lnTo>
                        <a:pt x="781" y="403"/>
                      </a:lnTo>
                      <a:lnTo>
                        <a:pt x="760" y="415"/>
                      </a:lnTo>
                      <a:lnTo>
                        <a:pt x="740" y="429"/>
                      </a:lnTo>
                      <a:lnTo>
                        <a:pt x="721" y="445"/>
                      </a:lnTo>
                      <a:lnTo>
                        <a:pt x="704" y="460"/>
                      </a:lnTo>
                      <a:lnTo>
                        <a:pt x="688" y="478"/>
                      </a:lnTo>
                      <a:lnTo>
                        <a:pt x="672" y="497"/>
                      </a:lnTo>
                      <a:lnTo>
                        <a:pt x="657" y="517"/>
                      </a:lnTo>
                      <a:lnTo>
                        <a:pt x="643" y="537"/>
                      </a:lnTo>
                      <a:lnTo>
                        <a:pt x="631" y="559"/>
                      </a:lnTo>
                      <a:lnTo>
                        <a:pt x="619" y="581"/>
                      </a:lnTo>
                      <a:lnTo>
                        <a:pt x="609" y="604"/>
                      </a:lnTo>
                      <a:lnTo>
                        <a:pt x="599" y="627"/>
                      </a:lnTo>
                      <a:lnTo>
                        <a:pt x="590" y="651"/>
                      </a:lnTo>
                      <a:lnTo>
                        <a:pt x="582" y="676"/>
                      </a:lnTo>
                      <a:lnTo>
                        <a:pt x="575" y="700"/>
                      </a:lnTo>
                      <a:lnTo>
                        <a:pt x="569" y="725"/>
                      </a:lnTo>
                      <a:lnTo>
                        <a:pt x="563" y="752"/>
                      </a:lnTo>
                      <a:lnTo>
                        <a:pt x="558" y="777"/>
                      </a:lnTo>
                      <a:lnTo>
                        <a:pt x="554" y="803"/>
                      </a:lnTo>
                      <a:lnTo>
                        <a:pt x="550" y="828"/>
                      </a:lnTo>
                      <a:lnTo>
                        <a:pt x="548" y="854"/>
                      </a:lnTo>
                      <a:lnTo>
                        <a:pt x="546" y="880"/>
                      </a:lnTo>
                      <a:lnTo>
                        <a:pt x="544" y="905"/>
                      </a:lnTo>
                      <a:lnTo>
                        <a:pt x="543" y="930"/>
                      </a:lnTo>
                      <a:lnTo>
                        <a:pt x="543" y="955"/>
                      </a:lnTo>
                      <a:lnTo>
                        <a:pt x="544" y="1006"/>
                      </a:lnTo>
                      <a:lnTo>
                        <a:pt x="547" y="1057"/>
                      </a:lnTo>
                      <a:lnTo>
                        <a:pt x="551" y="1106"/>
                      </a:lnTo>
                      <a:lnTo>
                        <a:pt x="557" y="1155"/>
                      </a:lnTo>
                      <a:lnTo>
                        <a:pt x="566" y="1202"/>
                      </a:lnTo>
                      <a:lnTo>
                        <a:pt x="576" y="1250"/>
                      </a:lnTo>
                      <a:lnTo>
                        <a:pt x="588" y="1295"/>
                      </a:lnTo>
                      <a:lnTo>
                        <a:pt x="602" y="1339"/>
                      </a:lnTo>
                      <a:lnTo>
                        <a:pt x="617" y="1383"/>
                      </a:lnTo>
                      <a:lnTo>
                        <a:pt x="635" y="1425"/>
                      </a:lnTo>
                      <a:lnTo>
                        <a:pt x="654" y="1465"/>
                      </a:lnTo>
                      <a:lnTo>
                        <a:pt x="675" y="1504"/>
                      </a:lnTo>
                      <a:lnTo>
                        <a:pt x="698" y="1543"/>
                      </a:lnTo>
                      <a:lnTo>
                        <a:pt x="722" y="1579"/>
                      </a:lnTo>
                      <a:lnTo>
                        <a:pt x="749" y="1614"/>
                      </a:lnTo>
                      <a:lnTo>
                        <a:pt x="776" y="1648"/>
                      </a:lnTo>
                      <a:lnTo>
                        <a:pt x="805" y="1679"/>
                      </a:lnTo>
                      <a:lnTo>
                        <a:pt x="837" y="1710"/>
                      </a:lnTo>
                      <a:lnTo>
                        <a:pt x="869" y="1738"/>
                      </a:lnTo>
                      <a:lnTo>
                        <a:pt x="904" y="1765"/>
                      </a:lnTo>
                      <a:lnTo>
                        <a:pt x="941" y="1789"/>
                      </a:lnTo>
                      <a:lnTo>
                        <a:pt x="979" y="1812"/>
                      </a:lnTo>
                      <a:lnTo>
                        <a:pt x="1018" y="1833"/>
                      </a:lnTo>
                      <a:lnTo>
                        <a:pt x="1059" y="1853"/>
                      </a:lnTo>
                      <a:lnTo>
                        <a:pt x="1102" y="1870"/>
                      </a:lnTo>
                      <a:lnTo>
                        <a:pt x="1146" y="1885"/>
                      </a:lnTo>
                      <a:lnTo>
                        <a:pt x="1192" y="1897"/>
                      </a:lnTo>
                      <a:lnTo>
                        <a:pt x="1239" y="1908"/>
                      </a:lnTo>
                      <a:lnTo>
                        <a:pt x="1288" y="1916"/>
                      </a:lnTo>
                      <a:lnTo>
                        <a:pt x="1338" y="1922"/>
                      </a:lnTo>
                      <a:lnTo>
                        <a:pt x="1391" y="1926"/>
                      </a:lnTo>
                      <a:lnTo>
                        <a:pt x="1444" y="1928"/>
                      </a:lnTo>
                      <a:lnTo>
                        <a:pt x="1491" y="1927"/>
                      </a:lnTo>
                      <a:lnTo>
                        <a:pt x="1537" y="1924"/>
                      </a:lnTo>
                      <a:lnTo>
                        <a:pt x="1584" y="1920"/>
                      </a:lnTo>
                      <a:lnTo>
                        <a:pt x="1631" y="1915"/>
                      </a:lnTo>
                      <a:lnTo>
                        <a:pt x="1653" y="1912"/>
                      </a:lnTo>
                      <a:lnTo>
                        <a:pt x="1676" y="1908"/>
                      </a:lnTo>
                      <a:lnTo>
                        <a:pt x="1699" y="1904"/>
                      </a:lnTo>
                      <a:lnTo>
                        <a:pt x="1722" y="1898"/>
                      </a:lnTo>
                      <a:lnTo>
                        <a:pt x="1745" y="1893"/>
                      </a:lnTo>
                      <a:lnTo>
                        <a:pt x="1767" y="1887"/>
                      </a:lnTo>
                      <a:lnTo>
                        <a:pt x="1790" y="1879"/>
                      </a:lnTo>
                      <a:lnTo>
                        <a:pt x="1812" y="1872"/>
                      </a:lnTo>
                      <a:lnTo>
                        <a:pt x="1812" y="2184"/>
                      </a:lnTo>
                      <a:lnTo>
                        <a:pt x="1773" y="2196"/>
                      </a:lnTo>
                      <a:lnTo>
                        <a:pt x="1735" y="2207"/>
                      </a:lnTo>
                      <a:lnTo>
                        <a:pt x="1695" y="2217"/>
                      </a:lnTo>
                      <a:lnTo>
                        <a:pt x="1656" y="2227"/>
                      </a:lnTo>
                      <a:lnTo>
                        <a:pt x="1616" y="2236"/>
                      </a:lnTo>
                      <a:lnTo>
                        <a:pt x="1576" y="2244"/>
                      </a:lnTo>
                      <a:lnTo>
                        <a:pt x="1536" y="2251"/>
                      </a:lnTo>
                      <a:lnTo>
                        <a:pt x="1496" y="2259"/>
                      </a:lnTo>
                      <a:lnTo>
                        <a:pt x="1456" y="2265"/>
                      </a:lnTo>
                      <a:lnTo>
                        <a:pt x="1416" y="2270"/>
                      </a:lnTo>
                      <a:lnTo>
                        <a:pt x="1375" y="2275"/>
                      </a:lnTo>
                      <a:lnTo>
                        <a:pt x="1335" y="2279"/>
                      </a:lnTo>
                      <a:lnTo>
                        <a:pt x="1294" y="2281"/>
                      </a:lnTo>
                      <a:lnTo>
                        <a:pt x="1254" y="2283"/>
                      </a:lnTo>
                      <a:lnTo>
                        <a:pt x="1213" y="2285"/>
                      </a:lnTo>
                      <a:lnTo>
                        <a:pt x="1173" y="2285"/>
                      </a:lnTo>
                      <a:lnTo>
                        <a:pt x="1101" y="2284"/>
                      </a:lnTo>
                      <a:lnTo>
                        <a:pt x="1031" y="2280"/>
                      </a:lnTo>
                      <a:lnTo>
                        <a:pt x="963" y="2272"/>
                      </a:lnTo>
                      <a:lnTo>
                        <a:pt x="898" y="2263"/>
                      </a:lnTo>
                      <a:lnTo>
                        <a:pt x="835" y="2250"/>
                      </a:lnTo>
                      <a:lnTo>
                        <a:pt x="774" y="2236"/>
                      </a:lnTo>
                      <a:lnTo>
                        <a:pt x="716" y="2219"/>
                      </a:lnTo>
                      <a:lnTo>
                        <a:pt x="659" y="2199"/>
                      </a:lnTo>
                      <a:lnTo>
                        <a:pt x="606" y="2176"/>
                      </a:lnTo>
                      <a:lnTo>
                        <a:pt x="554" y="2151"/>
                      </a:lnTo>
                      <a:lnTo>
                        <a:pt x="505" y="2124"/>
                      </a:lnTo>
                      <a:lnTo>
                        <a:pt x="458" y="2094"/>
                      </a:lnTo>
                      <a:lnTo>
                        <a:pt x="413" y="2062"/>
                      </a:lnTo>
                      <a:lnTo>
                        <a:pt x="371" y="2027"/>
                      </a:lnTo>
                      <a:lnTo>
                        <a:pt x="331" y="1990"/>
                      </a:lnTo>
                      <a:lnTo>
                        <a:pt x="293" y="1952"/>
                      </a:lnTo>
                      <a:lnTo>
                        <a:pt x="258" y="1910"/>
                      </a:lnTo>
                      <a:lnTo>
                        <a:pt x="224" y="1867"/>
                      </a:lnTo>
                      <a:lnTo>
                        <a:pt x="194" y="1821"/>
                      </a:lnTo>
                      <a:lnTo>
                        <a:pt x="165" y="1772"/>
                      </a:lnTo>
                      <a:lnTo>
                        <a:pt x="139" y="1723"/>
                      </a:lnTo>
                      <a:lnTo>
                        <a:pt x="115" y="1671"/>
                      </a:lnTo>
                      <a:lnTo>
                        <a:pt x="93" y="1617"/>
                      </a:lnTo>
                      <a:lnTo>
                        <a:pt x="73" y="1561"/>
                      </a:lnTo>
                      <a:lnTo>
                        <a:pt x="56" y="1503"/>
                      </a:lnTo>
                      <a:lnTo>
                        <a:pt x="41" y="1443"/>
                      </a:lnTo>
                      <a:lnTo>
                        <a:pt x="29" y="1382"/>
                      </a:lnTo>
                      <a:lnTo>
                        <a:pt x="18" y="1319"/>
                      </a:lnTo>
                      <a:lnTo>
                        <a:pt x="11" y="1253"/>
                      </a:lnTo>
                      <a:lnTo>
                        <a:pt x="4" y="1186"/>
                      </a:lnTo>
                      <a:lnTo>
                        <a:pt x="1" y="1117"/>
                      </a:lnTo>
                      <a:lnTo>
                        <a:pt x="0" y="1046"/>
                      </a:lnTo>
                      <a:lnTo>
                        <a:pt x="1" y="987"/>
                      </a:lnTo>
                      <a:lnTo>
                        <a:pt x="4" y="931"/>
                      </a:lnTo>
                      <a:lnTo>
                        <a:pt x="9" y="874"/>
                      </a:lnTo>
                      <a:lnTo>
                        <a:pt x="16" y="820"/>
                      </a:lnTo>
                      <a:lnTo>
                        <a:pt x="25" y="766"/>
                      </a:lnTo>
                      <a:lnTo>
                        <a:pt x="36" y="715"/>
                      </a:lnTo>
                      <a:lnTo>
                        <a:pt x="48" y="665"/>
                      </a:lnTo>
                      <a:lnTo>
                        <a:pt x="64" y="616"/>
                      </a:lnTo>
                      <a:lnTo>
                        <a:pt x="81" y="569"/>
                      </a:lnTo>
                      <a:lnTo>
                        <a:pt x="100" y="523"/>
                      </a:lnTo>
                      <a:lnTo>
                        <a:pt x="121" y="479"/>
                      </a:lnTo>
                      <a:lnTo>
                        <a:pt x="144" y="437"/>
                      </a:lnTo>
                      <a:lnTo>
                        <a:pt x="168" y="396"/>
                      </a:lnTo>
                      <a:lnTo>
                        <a:pt x="196" y="359"/>
                      </a:lnTo>
                      <a:lnTo>
                        <a:pt x="224" y="321"/>
                      </a:lnTo>
                      <a:lnTo>
                        <a:pt x="255" y="286"/>
                      </a:lnTo>
                      <a:lnTo>
                        <a:pt x="287" y="253"/>
                      </a:lnTo>
                      <a:lnTo>
                        <a:pt x="322" y="221"/>
                      </a:lnTo>
                      <a:lnTo>
                        <a:pt x="358" y="192"/>
                      </a:lnTo>
                      <a:lnTo>
                        <a:pt x="396" y="165"/>
                      </a:lnTo>
                      <a:lnTo>
                        <a:pt x="436" y="140"/>
                      </a:lnTo>
                      <a:lnTo>
                        <a:pt x="478" y="115"/>
                      </a:lnTo>
                      <a:lnTo>
                        <a:pt x="523" y="95"/>
                      </a:lnTo>
                      <a:lnTo>
                        <a:pt x="569" y="75"/>
                      </a:lnTo>
                      <a:lnTo>
                        <a:pt x="616" y="58"/>
                      </a:lnTo>
                      <a:lnTo>
                        <a:pt x="666" y="43"/>
                      </a:lnTo>
                      <a:lnTo>
                        <a:pt x="717" y="31"/>
                      </a:lnTo>
                      <a:lnTo>
                        <a:pt x="771" y="19"/>
                      </a:lnTo>
                      <a:lnTo>
                        <a:pt x="826" y="12"/>
                      </a:lnTo>
                      <a:lnTo>
                        <a:pt x="883" y="5"/>
                      </a:lnTo>
                      <a:lnTo>
                        <a:pt x="942" y="1"/>
                      </a:lnTo>
                      <a:lnTo>
                        <a:pt x="1003" y="0"/>
                      </a:lnTo>
                      <a:lnTo>
                        <a:pt x="1052" y="1"/>
                      </a:lnTo>
                      <a:lnTo>
                        <a:pt x="1100" y="3"/>
                      </a:lnTo>
                      <a:lnTo>
                        <a:pt x="1147" y="8"/>
                      </a:lnTo>
                      <a:lnTo>
                        <a:pt x="1192" y="13"/>
                      </a:lnTo>
                      <a:lnTo>
                        <a:pt x="1235" y="20"/>
                      </a:lnTo>
                      <a:lnTo>
                        <a:pt x="1277" y="28"/>
                      </a:lnTo>
                      <a:lnTo>
                        <a:pt x="1318" y="38"/>
                      </a:lnTo>
                      <a:lnTo>
                        <a:pt x="1358" y="49"/>
                      </a:lnTo>
                      <a:lnTo>
                        <a:pt x="1396" y="63"/>
                      </a:lnTo>
                      <a:lnTo>
                        <a:pt x="1432" y="78"/>
                      </a:lnTo>
                      <a:lnTo>
                        <a:pt x="1468" y="93"/>
                      </a:lnTo>
                      <a:lnTo>
                        <a:pt x="1501" y="111"/>
                      </a:lnTo>
                      <a:lnTo>
                        <a:pt x="1533" y="131"/>
                      </a:lnTo>
                      <a:lnTo>
                        <a:pt x="1563" y="152"/>
                      </a:lnTo>
                      <a:lnTo>
                        <a:pt x="1592" y="174"/>
                      </a:lnTo>
                      <a:lnTo>
                        <a:pt x="1619" y="198"/>
                      </a:lnTo>
                      <a:lnTo>
                        <a:pt x="1645" y="224"/>
                      </a:lnTo>
                      <a:lnTo>
                        <a:pt x="1669" y="252"/>
                      </a:lnTo>
                      <a:lnTo>
                        <a:pt x="1691" y="280"/>
                      </a:lnTo>
                      <a:lnTo>
                        <a:pt x="1713" y="310"/>
                      </a:lnTo>
                      <a:lnTo>
                        <a:pt x="1732" y="342"/>
                      </a:lnTo>
                      <a:lnTo>
                        <a:pt x="1749" y="375"/>
                      </a:lnTo>
                      <a:lnTo>
                        <a:pt x="1766" y="411"/>
                      </a:lnTo>
                      <a:lnTo>
                        <a:pt x="1781" y="448"/>
                      </a:lnTo>
                      <a:lnTo>
                        <a:pt x="1793" y="485"/>
                      </a:lnTo>
                      <a:lnTo>
                        <a:pt x="1804" y="526"/>
                      </a:lnTo>
                      <a:lnTo>
                        <a:pt x="1813" y="567"/>
                      </a:lnTo>
                      <a:lnTo>
                        <a:pt x="1822" y="610"/>
                      </a:lnTo>
                      <a:lnTo>
                        <a:pt x="1827" y="655"/>
                      </a:lnTo>
                      <a:lnTo>
                        <a:pt x="1832" y="701"/>
                      </a:lnTo>
                      <a:lnTo>
                        <a:pt x="1834" y="750"/>
                      </a:lnTo>
                      <a:lnTo>
                        <a:pt x="1836" y="799"/>
                      </a:lnTo>
                      <a:lnTo>
                        <a:pt x="1293"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2" name="Freeform 7"/>
                <p:cNvSpPr>
                  <a:spLocks/>
                </p:cNvSpPr>
                <p:nvPr userDrawn="1"/>
              </p:nvSpPr>
              <p:spPr bwMode="auto">
                <a:xfrm>
                  <a:off x="1493838" y="2555875"/>
                  <a:ext cx="265112" cy="330200"/>
                </a:xfrm>
                <a:custGeom>
                  <a:avLst/>
                  <a:gdLst/>
                  <a:ahLst/>
                  <a:cxnLst>
                    <a:cxn ang="0">
                      <a:pos x="1286"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1" y="497"/>
                    </a:cxn>
                    <a:cxn ang="0">
                      <a:pos x="619" y="581"/>
                    </a:cxn>
                    <a:cxn ang="0">
                      <a:pos x="582" y="676"/>
                    </a:cxn>
                    <a:cxn ang="0">
                      <a:pos x="558" y="777"/>
                    </a:cxn>
                    <a:cxn ang="0">
                      <a:pos x="545" y="880"/>
                    </a:cxn>
                    <a:cxn ang="0">
                      <a:pos x="543" y="1006"/>
                    </a:cxn>
                    <a:cxn ang="0">
                      <a:pos x="565" y="1202"/>
                    </a:cxn>
                    <a:cxn ang="0">
                      <a:pos x="617" y="1383"/>
                    </a:cxn>
                    <a:cxn ang="0">
                      <a:pos x="698" y="1543"/>
                    </a:cxn>
                    <a:cxn ang="0">
                      <a:pos x="805" y="1679"/>
                    </a:cxn>
                    <a:cxn ang="0">
                      <a:pos x="940" y="1789"/>
                    </a:cxn>
                    <a:cxn ang="0">
                      <a:pos x="1101" y="1870"/>
                    </a:cxn>
                    <a:cxn ang="0">
                      <a:pos x="1287" y="1916"/>
                    </a:cxn>
                    <a:cxn ang="0">
                      <a:pos x="1490" y="1927"/>
                    </a:cxn>
                    <a:cxn ang="0">
                      <a:pos x="1652" y="1912"/>
                    </a:cxn>
                    <a:cxn ang="0">
                      <a:pos x="1744" y="1893"/>
                    </a:cxn>
                    <a:cxn ang="0">
                      <a:pos x="1812" y="2184"/>
                    </a:cxn>
                    <a:cxn ang="0">
                      <a:pos x="1655" y="2227"/>
                    </a:cxn>
                    <a:cxn ang="0">
                      <a:pos x="1495" y="2259"/>
                    </a:cxn>
                    <a:cxn ang="0">
                      <a:pos x="1335" y="2279"/>
                    </a:cxn>
                    <a:cxn ang="0">
                      <a:pos x="1173" y="2285"/>
                    </a:cxn>
                    <a:cxn ang="0">
                      <a:pos x="897" y="2263"/>
                    </a:cxn>
                    <a:cxn ang="0">
                      <a:pos x="659" y="2199"/>
                    </a:cxn>
                    <a:cxn ang="0">
                      <a:pos x="458" y="2094"/>
                    </a:cxn>
                    <a:cxn ang="0">
                      <a:pos x="293" y="1952"/>
                    </a:cxn>
                    <a:cxn ang="0">
                      <a:pos x="165" y="1772"/>
                    </a:cxn>
                    <a:cxn ang="0">
                      <a:pos x="72" y="1561"/>
                    </a:cxn>
                    <a:cxn ang="0">
                      <a:pos x="18" y="1319"/>
                    </a:cxn>
                    <a:cxn ang="0">
                      <a:pos x="0" y="1046"/>
                    </a:cxn>
                    <a:cxn ang="0">
                      <a:pos x="15" y="820"/>
                    </a:cxn>
                    <a:cxn ang="0">
                      <a:pos x="64" y="616"/>
                    </a:cxn>
                    <a:cxn ang="0">
                      <a:pos x="143" y="437"/>
                    </a:cxn>
                    <a:cxn ang="0">
                      <a:pos x="254" y="286"/>
                    </a:cxn>
                    <a:cxn ang="0">
                      <a:pos x="396" y="165"/>
                    </a:cxn>
                    <a:cxn ang="0">
                      <a:pos x="568" y="75"/>
                    </a:cxn>
                    <a:cxn ang="0">
                      <a:pos x="770" y="19"/>
                    </a:cxn>
                    <a:cxn ang="0">
                      <a:pos x="1002" y="0"/>
                    </a:cxn>
                    <a:cxn ang="0">
                      <a:pos x="1191" y="13"/>
                    </a:cxn>
                    <a:cxn ang="0">
                      <a:pos x="1358" y="49"/>
                    </a:cxn>
                    <a:cxn ang="0">
                      <a:pos x="1500" y="111"/>
                    </a:cxn>
                    <a:cxn ang="0">
                      <a:pos x="1618" y="198"/>
                    </a:cxn>
                    <a:cxn ang="0">
                      <a:pos x="1712" y="310"/>
                    </a:cxn>
                    <a:cxn ang="0">
                      <a:pos x="1779" y="448"/>
                    </a:cxn>
                    <a:cxn ang="0">
                      <a:pos x="1821" y="610"/>
                    </a:cxn>
                    <a:cxn ang="0">
                      <a:pos x="1835" y="799"/>
                    </a:cxn>
                  </a:cxnLst>
                  <a:rect l="0" t="0" r="r" b="b"/>
                  <a:pathLst>
                    <a:path w="1835" h="2285">
                      <a:moveTo>
                        <a:pt x="1292" y="799"/>
                      </a:moveTo>
                      <a:lnTo>
                        <a:pt x="1292" y="757"/>
                      </a:lnTo>
                      <a:lnTo>
                        <a:pt x="1288" y="715"/>
                      </a:lnTo>
                      <a:lnTo>
                        <a:pt x="1286" y="695"/>
                      </a:lnTo>
                      <a:lnTo>
                        <a:pt x="1284" y="675"/>
                      </a:lnTo>
                      <a:lnTo>
                        <a:pt x="1281" y="655"/>
                      </a:lnTo>
                      <a:lnTo>
                        <a:pt x="1278" y="635"/>
                      </a:lnTo>
                      <a:lnTo>
                        <a:pt x="1274" y="616"/>
                      </a:lnTo>
                      <a:lnTo>
                        <a:pt x="1268" y="598"/>
                      </a:lnTo>
                      <a:lnTo>
                        <a:pt x="1263" y="579"/>
                      </a:lnTo>
                      <a:lnTo>
                        <a:pt x="1258" y="561"/>
                      </a:lnTo>
                      <a:lnTo>
                        <a:pt x="1251" y="543"/>
                      </a:lnTo>
                      <a:lnTo>
                        <a:pt x="1243" y="526"/>
                      </a:lnTo>
                      <a:lnTo>
                        <a:pt x="1235" y="511"/>
                      </a:lnTo>
                      <a:lnTo>
                        <a:pt x="1226" y="494"/>
                      </a:lnTo>
                      <a:lnTo>
                        <a:pt x="1217" y="479"/>
                      </a:lnTo>
                      <a:lnTo>
                        <a:pt x="1206" y="464"/>
                      </a:lnTo>
                      <a:lnTo>
                        <a:pt x="1195" y="452"/>
                      </a:lnTo>
                      <a:lnTo>
                        <a:pt x="1183" y="438"/>
                      </a:lnTo>
                      <a:lnTo>
                        <a:pt x="1170" y="427"/>
                      </a:lnTo>
                      <a:lnTo>
                        <a:pt x="1156" y="415"/>
                      </a:lnTo>
                      <a:lnTo>
                        <a:pt x="1141" y="405"/>
                      </a:lnTo>
                      <a:lnTo>
                        <a:pt x="1125" y="395"/>
                      </a:lnTo>
                      <a:lnTo>
                        <a:pt x="1109" y="387"/>
                      </a:lnTo>
                      <a:lnTo>
                        <a:pt x="1091" y="380"/>
                      </a:lnTo>
                      <a:lnTo>
                        <a:pt x="1072" y="373"/>
                      </a:lnTo>
                      <a:lnTo>
                        <a:pt x="1052" y="368"/>
                      </a:lnTo>
                      <a:lnTo>
                        <a:pt x="1031" y="364"/>
                      </a:lnTo>
                      <a:lnTo>
                        <a:pt x="1009" y="361"/>
                      </a:lnTo>
                      <a:lnTo>
                        <a:pt x="985" y="359"/>
                      </a:lnTo>
                      <a:lnTo>
                        <a:pt x="960" y="359"/>
                      </a:lnTo>
                      <a:lnTo>
                        <a:pt x="931" y="360"/>
                      </a:lnTo>
                      <a:lnTo>
                        <a:pt x="903" y="362"/>
                      </a:lnTo>
                      <a:lnTo>
                        <a:pt x="876" y="367"/>
                      </a:lnTo>
                      <a:lnTo>
                        <a:pt x="850" y="373"/>
                      </a:lnTo>
                      <a:lnTo>
                        <a:pt x="826" y="382"/>
                      </a:lnTo>
                      <a:lnTo>
                        <a:pt x="803" y="391"/>
                      </a:lnTo>
                      <a:lnTo>
                        <a:pt x="781" y="403"/>
                      </a:lnTo>
                      <a:lnTo>
                        <a:pt x="760" y="415"/>
                      </a:lnTo>
                      <a:lnTo>
                        <a:pt x="740" y="429"/>
                      </a:lnTo>
                      <a:lnTo>
                        <a:pt x="721" y="445"/>
                      </a:lnTo>
                      <a:lnTo>
                        <a:pt x="703" y="460"/>
                      </a:lnTo>
                      <a:lnTo>
                        <a:pt x="687" y="478"/>
                      </a:lnTo>
                      <a:lnTo>
                        <a:pt x="671" y="497"/>
                      </a:lnTo>
                      <a:lnTo>
                        <a:pt x="657" y="517"/>
                      </a:lnTo>
                      <a:lnTo>
                        <a:pt x="643" y="537"/>
                      </a:lnTo>
                      <a:lnTo>
                        <a:pt x="630" y="559"/>
                      </a:lnTo>
                      <a:lnTo>
                        <a:pt x="619" y="581"/>
                      </a:lnTo>
                      <a:lnTo>
                        <a:pt x="608" y="604"/>
                      </a:lnTo>
                      <a:lnTo>
                        <a:pt x="599" y="627"/>
                      </a:lnTo>
                      <a:lnTo>
                        <a:pt x="589" y="651"/>
                      </a:lnTo>
                      <a:lnTo>
                        <a:pt x="582" y="676"/>
                      </a:lnTo>
                      <a:lnTo>
                        <a:pt x="575" y="700"/>
                      </a:lnTo>
                      <a:lnTo>
                        <a:pt x="568" y="725"/>
                      </a:lnTo>
                      <a:lnTo>
                        <a:pt x="562" y="752"/>
                      </a:lnTo>
                      <a:lnTo>
                        <a:pt x="558" y="777"/>
                      </a:lnTo>
                      <a:lnTo>
                        <a:pt x="554" y="803"/>
                      </a:lnTo>
                      <a:lnTo>
                        <a:pt x="549" y="828"/>
                      </a:lnTo>
                      <a:lnTo>
                        <a:pt x="547" y="854"/>
                      </a:lnTo>
                      <a:lnTo>
                        <a:pt x="545" y="880"/>
                      </a:lnTo>
                      <a:lnTo>
                        <a:pt x="543" y="905"/>
                      </a:lnTo>
                      <a:lnTo>
                        <a:pt x="542" y="930"/>
                      </a:lnTo>
                      <a:lnTo>
                        <a:pt x="542" y="955"/>
                      </a:lnTo>
                      <a:lnTo>
                        <a:pt x="543" y="1006"/>
                      </a:lnTo>
                      <a:lnTo>
                        <a:pt x="546" y="1057"/>
                      </a:lnTo>
                      <a:lnTo>
                        <a:pt x="550" y="1106"/>
                      </a:lnTo>
                      <a:lnTo>
                        <a:pt x="557" y="1155"/>
                      </a:lnTo>
                      <a:lnTo>
                        <a:pt x="565" y="1202"/>
                      </a:lnTo>
                      <a:lnTo>
                        <a:pt x="576" y="1250"/>
                      </a:lnTo>
                      <a:lnTo>
                        <a:pt x="587" y="1295"/>
                      </a:lnTo>
                      <a:lnTo>
                        <a:pt x="602" y="1339"/>
                      </a:lnTo>
                      <a:lnTo>
                        <a:pt x="617" y="1383"/>
                      </a:lnTo>
                      <a:lnTo>
                        <a:pt x="635" y="1425"/>
                      </a:lnTo>
                      <a:lnTo>
                        <a:pt x="653" y="1465"/>
                      </a:lnTo>
                      <a:lnTo>
                        <a:pt x="675" y="1504"/>
                      </a:lnTo>
                      <a:lnTo>
                        <a:pt x="698" y="1543"/>
                      </a:lnTo>
                      <a:lnTo>
                        <a:pt x="722" y="1579"/>
                      </a:lnTo>
                      <a:lnTo>
                        <a:pt x="748" y="1614"/>
                      </a:lnTo>
                      <a:lnTo>
                        <a:pt x="775" y="1648"/>
                      </a:lnTo>
                      <a:lnTo>
                        <a:pt x="805" y="1679"/>
                      </a:lnTo>
                      <a:lnTo>
                        <a:pt x="836" y="1710"/>
                      </a:lnTo>
                      <a:lnTo>
                        <a:pt x="869" y="1738"/>
                      </a:lnTo>
                      <a:lnTo>
                        <a:pt x="904" y="1765"/>
                      </a:lnTo>
                      <a:lnTo>
                        <a:pt x="940" y="1789"/>
                      </a:lnTo>
                      <a:lnTo>
                        <a:pt x="978" y="1812"/>
                      </a:lnTo>
                      <a:lnTo>
                        <a:pt x="1017" y="1833"/>
                      </a:lnTo>
                      <a:lnTo>
                        <a:pt x="1058" y="1853"/>
                      </a:lnTo>
                      <a:lnTo>
                        <a:pt x="1101" y="1870"/>
                      </a:lnTo>
                      <a:lnTo>
                        <a:pt x="1145" y="1885"/>
                      </a:lnTo>
                      <a:lnTo>
                        <a:pt x="1192" y="1897"/>
                      </a:lnTo>
                      <a:lnTo>
                        <a:pt x="1239" y="1908"/>
                      </a:lnTo>
                      <a:lnTo>
                        <a:pt x="1287" y="1916"/>
                      </a:lnTo>
                      <a:lnTo>
                        <a:pt x="1338" y="1922"/>
                      </a:lnTo>
                      <a:lnTo>
                        <a:pt x="1390" y="1926"/>
                      </a:lnTo>
                      <a:lnTo>
                        <a:pt x="1444" y="1928"/>
                      </a:lnTo>
                      <a:lnTo>
                        <a:pt x="1490" y="1927"/>
                      </a:lnTo>
                      <a:lnTo>
                        <a:pt x="1536" y="1924"/>
                      </a:lnTo>
                      <a:lnTo>
                        <a:pt x="1584" y="1920"/>
                      </a:lnTo>
                      <a:lnTo>
                        <a:pt x="1630" y="1915"/>
                      </a:lnTo>
                      <a:lnTo>
                        <a:pt x="1652" y="1912"/>
                      </a:lnTo>
                      <a:lnTo>
                        <a:pt x="1675" y="1908"/>
                      </a:lnTo>
                      <a:lnTo>
                        <a:pt x="1698" y="1904"/>
                      </a:lnTo>
                      <a:lnTo>
                        <a:pt x="1721" y="1898"/>
                      </a:lnTo>
                      <a:lnTo>
                        <a:pt x="1744" y="1893"/>
                      </a:lnTo>
                      <a:lnTo>
                        <a:pt x="1767" y="1887"/>
                      </a:lnTo>
                      <a:lnTo>
                        <a:pt x="1789" y="1879"/>
                      </a:lnTo>
                      <a:lnTo>
                        <a:pt x="1812" y="1872"/>
                      </a:lnTo>
                      <a:lnTo>
                        <a:pt x="1812" y="2184"/>
                      </a:lnTo>
                      <a:lnTo>
                        <a:pt x="1773" y="2196"/>
                      </a:lnTo>
                      <a:lnTo>
                        <a:pt x="1734" y="2207"/>
                      </a:lnTo>
                      <a:lnTo>
                        <a:pt x="1694" y="2217"/>
                      </a:lnTo>
                      <a:lnTo>
                        <a:pt x="1655" y="2227"/>
                      </a:lnTo>
                      <a:lnTo>
                        <a:pt x="1615" y="2236"/>
                      </a:lnTo>
                      <a:lnTo>
                        <a:pt x="1575" y="2244"/>
                      </a:lnTo>
                      <a:lnTo>
                        <a:pt x="1535" y="2251"/>
                      </a:lnTo>
                      <a:lnTo>
                        <a:pt x="1495" y="2259"/>
                      </a:lnTo>
                      <a:lnTo>
                        <a:pt x="1456" y="2265"/>
                      </a:lnTo>
                      <a:lnTo>
                        <a:pt x="1415" y="2270"/>
                      </a:lnTo>
                      <a:lnTo>
                        <a:pt x="1375" y="2275"/>
                      </a:lnTo>
                      <a:lnTo>
                        <a:pt x="1335" y="2279"/>
                      </a:lnTo>
                      <a:lnTo>
                        <a:pt x="1294" y="2281"/>
                      </a:lnTo>
                      <a:lnTo>
                        <a:pt x="1254" y="2283"/>
                      </a:lnTo>
                      <a:lnTo>
                        <a:pt x="1213" y="2285"/>
                      </a:lnTo>
                      <a:lnTo>
                        <a:pt x="1173" y="2285"/>
                      </a:lnTo>
                      <a:lnTo>
                        <a:pt x="1100" y="2284"/>
                      </a:lnTo>
                      <a:lnTo>
                        <a:pt x="1030" y="2280"/>
                      </a:lnTo>
                      <a:lnTo>
                        <a:pt x="963" y="2272"/>
                      </a:lnTo>
                      <a:lnTo>
                        <a:pt x="897" y="2263"/>
                      </a:lnTo>
                      <a:lnTo>
                        <a:pt x="834" y="2250"/>
                      </a:lnTo>
                      <a:lnTo>
                        <a:pt x="773" y="2236"/>
                      </a:lnTo>
                      <a:lnTo>
                        <a:pt x="716" y="2219"/>
                      </a:lnTo>
                      <a:lnTo>
                        <a:pt x="659" y="2199"/>
                      </a:lnTo>
                      <a:lnTo>
                        <a:pt x="605" y="2176"/>
                      </a:lnTo>
                      <a:lnTo>
                        <a:pt x="554" y="2151"/>
                      </a:lnTo>
                      <a:lnTo>
                        <a:pt x="504" y="2124"/>
                      </a:lnTo>
                      <a:lnTo>
                        <a:pt x="458" y="2094"/>
                      </a:lnTo>
                      <a:lnTo>
                        <a:pt x="413" y="2062"/>
                      </a:lnTo>
                      <a:lnTo>
                        <a:pt x="371" y="2027"/>
                      </a:lnTo>
                      <a:lnTo>
                        <a:pt x="331" y="1990"/>
                      </a:lnTo>
                      <a:lnTo>
                        <a:pt x="293" y="1952"/>
                      </a:lnTo>
                      <a:lnTo>
                        <a:pt x="257" y="1910"/>
                      </a:lnTo>
                      <a:lnTo>
                        <a:pt x="224" y="1867"/>
                      </a:lnTo>
                      <a:lnTo>
                        <a:pt x="193" y="1821"/>
                      </a:lnTo>
                      <a:lnTo>
                        <a:pt x="165" y="1772"/>
                      </a:lnTo>
                      <a:lnTo>
                        <a:pt x="137" y="1723"/>
                      </a:lnTo>
                      <a:lnTo>
                        <a:pt x="114" y="1671"/>
                      </a:lnTo>
                      <a:lnTo>
                        <a:pt x="92" y="1617"/>
                      </a:lnTo>
                      <a:lnTo>
                        <a:pt x="72" y="1561"/>
                      </a:lnTo>
                      <a:lnTo>
                        <a:pt x="55" y="1503"/>
                      </a:lnTo>
                      <a:lnTo>
                        <a:pt x="41" y="1443"/>
                      </a:lnTo>
                      <a:lnTo>
                        <a:pt x="28" y="1382"/>
                      </a:lnTo>
                      <a:lnTo>
                        <a:pt x="18" y="1319"/>
                      </a:lnTo>
                      <a:lnTo>
                        <a:pt x="9" y="1253"/>
                      </a:lnTo>
                      <a:lnTo>
                        <a:pt x="4" y="1186"/>
                      </a:lnTo>
                      <a:lnTo>
                        <a:pt x="1" y="1117"/>
                      </a:lnTo>
                      <a:lnTo>
                        <a:pt x="0" y="1046"/>
                      </a:lnTo>
                      <a:lnTo>
                        <a:pt x="1" y="987"/>
                      </a:lnTo>
                      <a:lnTo>
                        <a:pt x="3" y="931"/>
                      </a:lnTo>
                      <a:lnTo>
                        <a:pt x="8" y="874"/>
                      </a:lnTo>
                      <a:lnTo>
                        <a:pt x="15" y="820"/>
                      </a:lnTo>
                      <a:lnTo>
                        <a:pt x="25" y="766"/>
                      </a:lnTo>
                      <a:lnTo>
                        <a:pt x="35" y="715"/>
                      </a:lnTo>
                      <a:lnTo>
                        <a:pt x="48" y="665"/>
                      </a:lnTo>
                      <a:lnTo>
                        <a:pt x="64" y="616"/>
                      </a:lnTo>
                      <a:lnTo>
                        <a:pt x="81" y="569"/>
                      </a:lnTo>
                      <a:lnTo>
                        <a:pt x="100" y="523"/>
                      </a:lnTo>
                      <a:lnTo>
                        <a:pt x="121" y="479"/>
                      </a:lnTo>
                      <a:lnTo>
                        <a:pt x="143" y="437"/>
                      </a:lnTo>
                      <a:lnTo>
                        <a:pt x="168" y="396"/>
                      </a:lnTo>
                      <a:lnTo>
                        <a:pt x="194" y="359"/>
                      </a:lnTo>
                      <a:lnTo>
                        <a:pt x="224" y="321"/>
                      </a:lnTo>
                      <a:lnTo>
                        <a:pt x="254" y="286"/>
                      </a:lnTo>
                      <a:lnTo>
                        <a:pt x="287" y="253"/>
                      </a:lnTo>
                      <a:lnTo>
                        <a:pt x="321" y="221"/>
                      </a:lnTo>
                      <a:lnTo>
                        <a:pt x="357" y="192"/>
                      </a:lnTo>
                      <a:lnTo>
                        <a:pt x="396" y="165"/>
                      </a:lnTo>
                      <a:lnTo>
                        <a:pt x="436" y="140"/>
                      </a:lnTo>
                      <a:lnTo>
                        <a:pt x="478" y="115"/>
                      </a:lnTo>
                      <a:lnTo>
                        <a:pt x="522" y="95"/>
                      </a:lnTo>
                      <a:lnTo>
                        <a:pt x="568" y="75"/>
                      </a:lnTo>
                      <a:lnTo>
                        <a:pt x="616" y="58"/>
                      </a:lnTo>
                      <a:lnTo>
                        <a:pt x="665" y="43"/>
                      </a:lnTo>
                      <a:lnTo>
                        <a:pt x="717" y="31"/>
                      </a:lnTo>
                      <a:lnTo>
                        <a:pt x="770" y="19"/>
                      </a:lnTo>
                      <a:lnTo>
                        <a:pt x="825" y="12"/>
                      </a:lnTo>
                      <a:lnTo>
                        <a:pt x="883" y="5"/>
                      </a:lnTo>
                      <a:lnTo>
                        <a:pt x="942" y="1"/>
                      </a:lnTo>
                      <a:lnTo>
                        <a:pt x="1002" y="0"/>
                      </a:lnTo>
                      <a:lnTo>
                        <a:pt x="1052" y="1"/>
                      </a:lnTo>
                      <a:lnTo>
                        <a:pt x="1099" y="3"/>
                      </a:lnTo>
                      <a:lnTo>
                        <a:pt x="1145" y="8"/>
                      </a:lnTo>
                      <a:lnTo>
                        <a:pt x="1191" y="13"/>
                      </a:lnTo>
                      <a:lnTo>
                        <a:pt x="1235" y="20"/>
                      </a:lnTo>
                      <a:lnTo>
                        <a:pt x="1277" y="28"/>
                      </a:lnTo>
                      <a:lnTo>
                        <a:pt x="1318" y="38"/>
                      </a:lnTo>
                      <a:lnTo>
                        <a:pt x="1358" y="49"/>
                      </a:lnTo>
                      <a:lnTo>
                        <a:pt x="1396" y="63"/>
                      </a:lnTo>
                      <a:lnTo>
                        <a:pt x="1431" y="78"/>
                      </a:lnTo>
                      <a:lnTo>
                        <a:pt x="1466" y="93"/>
                      </a:lnTo>
                      <a:lnTo>
                        <a:pt x="1500" y="111"/>
                      </a:lnTo>
                      <a:lnTo>
                        <a:pt x="1532" y="131"/>
                      </a:lnTo>
                      <a:lnTo>
                        <a:pt x="1563" y="152"/>
                      </a:lnTo>
                      <a:lnTo>
                        <a:pt x="1591" y="174"/>
                      </a:lnTo>
                      <a:lnTo>
                        <a:pt x="1618" y="198"/>
                      </a:lnTo>
                      <a:lnTo>
                        <a:pt x="1644" y="224"/>
                      </a:lnTo>
                      <a:lnTo>
                        <a:pt x="1668" y="252"/>
                      </a:lnTo>
                      <a:lnTo>
                        <a:pt x="1691" y="280"/>
                      </a:lnTo>
                      <a:lnTo>
                        <a:pt x="1712" y="310"/>
                      </a:lnTo>
                      <a:lnTo>
                        <a:pt x="1731" y="342"/>
                      </a:lnTo>
                      <a:lnTo>
                        <a:pt x="1749" y="375"/>
                      </a:lnTo>
                      <a:lnTo>
                        <a:pt x="1766" y="411"/>
                      </a:lnTo>
                      <a:lnTo>
                        <a:pt x="1779" y="448"/>
                      </a:lnTo>
                      <a:lnTo>
                        <a:pt x="1793" y="485"/>
                      </a:lnTo>
                      <a:lnTo>
                        <a:pt x="1803" y="526"/>
                      </a:lnTo>
                      <a:lnTo>
                        <a:pt x="1813" y="567"/>
                      </a:lnTo>
                      <a:lnTo>
                        <a:pt x="1821" y="610"/>
                      </a:lnTo>
                      <a:lnTo>
                        <a:pt x="1827" y="655"/>
                      </a:lnTo>
                      <a:lnTo>
                        <a:pt x="1831" y="701"/>
                      </a:lnTo>
                      <a:lnTo>
                        <a:pt x="1834" y="750"/>
                      </a:lnTo>
                      <a:lnTo>
                        <a:pt x="1835" y="799"/>
                      </a:lnTo>
                      <a:lnTo>
                        <a:pt x="1292"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3" name="Freeform 8"/>
                <p:cNvSpPr>
                  <a:spLocks noEditPoints="1"/>
                </p:cNvSpPr>
                <p:nvPr userDrawn="1"/>
              </p:nvSpPr>
              <p:spPr bwMode="auto">
                <a:xfrm>
                  <a:off x="1782763" y="2555875"/>
                  <a:ext cx="255587" cy="330200"/>
                </a:xfrm>
                <a:custGeom>
                  <a:avLst/>
                  <a:gdLst/>
                  <a:ahLst/>
                  <a:cxnLst>
                    <a:cxn ang="0">
                      <a:pos x="1767" y="788"/>
                    </a:cxn>
                    <a:cxn ang="0">
                      <a:pos x="1742" y="607"/>
                    </a:cxn>
                    <a:cxn ang="0">
                      <a:pos x="1690" y="445"/>
                    </a:cxn>
                    <a:cxn ang="0">
                      <a:pos x="1612" y="305"/>
                    </a:cxn>
                    <a:cxn ang="0">
                      <a:pos x="1508" y="189"/>
                    </a:cxn>
                    <a:cxn ang="0">
                      <a:pos x="1378" y="99"/>
                    </a:cxn>
                    <a:cxn ang="0">
                      <a:pos x="1222" y="37"/>
                    </a:cxn>
                    <a:cxn ang="0">
                      <a:pos x="1040" y="4"/>
                    </a:cxn>
                    <a:cxn ang="0">
                      <a:pos x="820" y="5"/>
                    </a:cxn>
                    <a:cxn ang="0">
                      <a:pos x="609" y="42"/>
                    </a:cxn>
                    <a:cxn ang="0">
                      <a:pos x="431" y="114"/>
                    </a:cxn>
                    <a:cxn ang="0">
                      <a:pos x="285" y="218"/>
                    </a:cxn>
                    <a:cxn ang="0">
                      <a:pos x="171" y="353"/>
                    </a:cxn>
                    <a:cxn ang="0">
                      <a:pos x="87" y="516"/>
                    </a:cxn>
                    <a:cxn ang="0">
                      <a:pos x="31" y="703"/>
                    </a:cxn>
                    <a:cxn ang="0">
                      <a:pos x="3" y="914"/>
                    </a:cxn>
                    <a:cxn ang="0">
                      <a:pos x="3" y="1161"/>
                    </a:cxn>
                    <a:cxn ang="0">
                      <a:pos x="35" y="1412"/>
                    </a:cxn>
                    <a:cxn ang="0">
                      <a:pos x="99" y="1639"/>
                    </a:cxn>
                    <a:cxn ang="0">
                      <a:pos x="198" y="1839"/>
                    </a:cxn>
                    <a:cxn ang="0">
                      <a:pos x="332" y="2006"/>
                    </a:cxn>
                    <a:cxn ang="0">
                      <a:pos x="504" y="2138"/>
                    </a:cxn>
                    <a:cxn ang="0">
                      <a:pos x="713" y="2231"/>
                    </a:cxn>
                    <a:cxn ang="0">
                      <a:pos x="963" y="2279"/>
                    </a:cxn>
                    <a:cxn ang="0">
                      <a:pos x="1182" y="2284"/>
                    </a:cxn>
                    <a:cxn ang="0">
                      <a:pos x="1336" y="2275"/>
                    </a:cxn>
                    <a:cxn ang="0">
                      <a:pos x="1490" y="2254"/>
                    </a:cxn>
                    <a:cxn ang="0">
                      <a:pos x="1641" y="2220"/>
                    </a:cxn>
                    <a:cxn ang="0">
                      <a:pos x="1666" y="1862"/>
                    </a:cxn>
                    <a:cxn ang="0">
                      <a:pos x="1484" y="1909"/>
                    </a:cxn>
                    <a:cxn ang="0">
                      <a:pos x="1376" y="1923"/>
                    </a:cxn>
                    <a:cxn ang="0">
                      <a:pos x="1251" y="1926"/>
                    </a:cxn>
                    <a:cxn ang="0">
                      <a:pos x="1078" y="1896"/>
                    </a:cxn>
                    <a:cxn ang="0">
                      <a:pos x="922" y="1829"/>
                    </a:cxn>
                    <a:cxn ang="0">
                      <a:pos x="787" y="1733"/>
                    </a:cxn>
                    <a:cxn ang="0">
                      <a:pos x="673" y="1609"/>
                    </a:cxn>
                    <a:cxn ang="0">
                      <a:pos x="584" y="1466"/>
                    </a:cxn>
                    <a:cxn ang="0">
                      <a:pos x="520" y="1308"/>
                    </a:cxn>
                    <a:cxn ang="0">
                      <a:pos x="483" y="1139"/>
                    </a:cxn>
                    <a:cxn ang="0">
                      <a:pos x="1771" y="1009"/>
                    </a:cxn>
                    <a:cxn ang="0">
                      <a:pos x="493" y="662"/>
                    </a:cxn>
                    <a:cxn ang="0">
                      <a:pos x="515" y="586"/>
                    </a:cxn>
                    <a:cxn ang="0">
                      <a:pos x="549" y="518"/>
                    </a:cxn>
                    <a:cxn ang="0">
                      <a:pos x="594" y="458"/>
                    </a:cxn>
                    <a:cxn ang="0">
                      <a:pos x="649" y="408"/>
                    </a:cxn>
                    <a:cxn ang="0">
                      <a:pos x="712" y="369"/>
                    </a:cxn>
                    <a:cxn ang="0">
                      <a:pos x="783" y="342"/>
                    </a:cxn>
                    <a:cxn ang="0">
                      <a:pos x="861" y="328"/>
                    </a:cxn>
                    <a:cxn ang="0">
                      <a:pos x="944" y="328"/>
                    </a:cxn>
                    <a:cxn ang="0">
                      <a:pos x="1024" y="341"/>
                    </a:cxn>
                    <a:cxn ang="0">
                      <a:pos x="1096" y="366"/>
                    </a:cxn>
                    <a:cxn ang="0">
                      <a:pos x="1157" y="404"/>
                    </a:cxn>
                    <a:cxn ang="0">
                      <a:pos x="1207" y="452"/>
                    </a:cxn>
                    <a:cxn ang="0">
                      <a:pos x="1246" y="512"/>
                    </a:cxn>
                    <a:cxn ang="0">
                      <a:pos x="1272" y="581"/>
                    </a:cxn>
                    <a:cxn ang="0">
                      <a:pos x="1286" y="659"/>
                    </a:cxn>
                  </a:cxnLst>
                  <a:rect l="0" t="0" r="r" b="b"/>
                  <a:pathLst>
                    <a:path w="1771" h="2285">
                      <a:moveTo>
                        <a:pt x="1771" y="1009"/>
                      </a:moveTo>
                      <a:lnTo>
                        <a:pt x="1771" y="886"/>
                      </a:lnTo>
                      <a:lnTo>
                        <a:pt x="1771" y="837"/>
                      </a:lnTo>
                      <a:lnTo>
                        <a:pt x="1767" y="788"/>
                      </a:lnTo>
                      <a:lnTo>
                        <a:pt x="1764" y="741"/>
                      </a:lnTo>
                      <a:lnTo>
                        <a:pt x="1758" y="695"/>
                      </a:lnTo>
                      <a:lnTo>
                        <a:pt x="1751" y="650"/>
                      </a:lnTo>
                      <a:lnTo>
                        <a:pt x="1742" y="607"/>
                      </a:lnTo>
                      <a:lnTo>
                        <a:pt x="1732" y="564"/>
                      </a:lnTo>
                      <a:lnTo>
                        <a:pt x="1719" y="523"/>
                      </a:lnTo>
                      <a:lnTo>
                        <a:pt x="1705" y="483"/>
                      </a:lnTo>
                      <a:lnTo>
                        <a:pt x="1690" y="445"/>
                      </a:lnTo>
                      <a:lnTo>
                        <a:pt x="1673" y="408"/>
                      </a:lnTo>
                      <a:lnTo>
                        <a:pt x="1654" y="372"/>
                      </a:lnTo>
                      <a:lnTo>
                        <a:pt x="1634" y="338"/>
                      </a:lnTo>
                      <a:lnTo>
                        <a:pt x="1612" y="305"/>
                      </a:lnTo>
                      <a:lnTo>
                        <a:pt x="1589" y="274"/>
                      </a:lnTo>
                      <a:lnTo>
                        <a:pt x="1563" y="243"/>
                      </a:lnTo>
                      <a:lnTo>
                        <a:pt x="1537" y="215"/>
                      </a:lnTo>
                      <a:lnTo>
                        <a:pt x="1508" y="189"/>
                      </a:lnTo>
                      <a:lnTo>
                        <a:pt x="1478" y="164"/>
                      </a:lnTo>
                      <a:lnTo>
                        <a:pt x="1447" y="141"/>
                      </a:lnTo>
                      <a:lnTo>
                        <a:pt x="1413" y="119"/>
                      </a:lnTo>
                      <a:lnTo>
                        <a:pt x="1378" y="99"/>
                      </a:lnTo>
                      <a:lnTo>
                        <a:pt x="1342" y="81"/>
                      </a:lnTo>
                      <a:lnTo>
                        <a:pt x="1304" y="64"/>
                      </a:lnTo>
                      <a:lnTo>
                        <a:pt x="1264" y="49"/>
                      </a:lnTo>
                      <a:lnTo>
                        <a:pt x="1222" y="37"/>
                      </a:lnTo>
                      <a:lnTo>
                        <a:pt x="1179" y="25"/>
                      </a:lnTo>
                      <a:lnTo>
                        <a:pt x="1133" y="17"/>
                      </a:lnTo>
                      <a:lnTo>
                        <a:pt x="1087" y="10"/>
                      </a:lnTo>
                      <a:lnTo>
                        <a:pt x="1040" y="4"/>
                      </a:lnTo>
                      <a:lnTo>
                        <a:pt x="989" y="1"/>
                      </a:lnTo>
                      <a:lnTo>
                        <a:pt x="938" y="0"/>
                      </a:lnTo>
                      <a:lnTo>
                        <a:pt x="878" y="1"/>
                      </a:lnTo>
                      <a:lnTo>
                        <a:pt x="820" y="5"/>
                      </a:lnTo>
                      <a:lnTo>
                        <a:pt x="765" y="11"/>
                      </a:lnTo>
                      <a:lnTo>
                        <a:pt x="711" y="19"/>
                      </a:lnTo>
                      <a:lnTo>
                        <a:pt x="658" y="30"/>
                      </a:lnTo>
                      <a:lnTo>
                        <a:pt x="609" y="42"/>
                      </a:lnTo>
                      <a:lnTo>
                        <a:pt x="562" y="57"/>
                      </a:lnTo>
                      <a:lnTo>
                        <a:pt x="516" y="74"/>
                      </a:lnTo>
                      <a:lnTo>
                        <a:pt x="472" y="93"/>
                      </a:lnTo>
                      <a:lnTo>
                        <a:pt x="431" y="114"/>
                      </a:lnTo>
                      <a:lnTo>
                        <a:pt x="391" y="137"/>
                      </a:lnTo>
                      <a:lnTo>
                        <a:pt x="355" y="163"/>
                      </a:lnTo>
                      <a:lnTo>
                        <a:pt x="319" y="190"/>
                      </a:lnTo>
                      <a:lnTo>
                        <a:pt x="285" y="218"/>
                      </a:lnTo>
                      <a:lnTo>
                        <a:pt x="254" y="250"/>
                      </a:lnTo>
                      <a:lnTo>
                        <a:pt x="224" y="282"/>
                      </a:lnTo>
                      <a:lnTo>
                        <a:pt x="197" y="317"/>
                      </a:lnTo>
                      <a:lnTo>
                        <a:pt x="171" y="353"/>
                      </a:lnTo>
                      <a:lnTo>
                        <a:pt x="146" y="391"/>
                      </a:lnTo>
                      <a:lnTo>
                        <a:pt x="124" y="431"/>
                      </a:lnTo>
                      <a:lnTo>
                        <a:pt x="104" y="473"/>
                      </a:lnTo>
                      <a:lnTo>
                        <a:pt x="87" y="516"/>
                      </a:lnTo>
                      <a:lnTo>
                        <a:pt x="70" y="560"/>
                      </a:lnTo>
                      <a:lnTo>
                        <a:pt x="55" y="606"/>
                      </a:lnTo>
                      <a:lnTo>
                        <a:pt x="41" y="654"/>
                      </a:lnTo>
                      <a:lnTo>
                        <a:pt x="31" y="703"/>
                      </a:lnTo>
                      <a:lnTo>
                        <a:pt x="21" y="754"/>
                      </a:lnTo>
                      <a:lnTo>
                        <a:pt x="14" y="806"/>
                      </a:lnTo>
                      <a:lnTo>
                        <a:pt x="8" y="860"/>
                      </a:lnTo>
                      <a:lnTo>
                        <a:pt x="3" y="914"/>
                      </a:lnTo>
                      <a:lnTo>
                        <a:pt x="0" y="971"/>
                      </a:lnTo>
                      <a:lnTo>
                        <a:pt x="0" y="1028"/>
                      </a:lnTo>
                      <a:lnTo>
                        <a:pt x="1" y="1095"/>
                      </a:lnTo>
                      <a:lnTo>
                        <a:pt x="3" y="1161"/>
                      </a:lnTo>
                      <a:lnTo>
                        <a:pt x="9" y="1225"/>
                      </a:lnTo>
                      <a:lnTo>
                        <a:pt x="15" y="1289"/>
                      </a:lnTo>
                      <a:lnTo>
                        <a:pt x="24" y="1351"/>
                      </a:lnTo>
                      <a:lnTo>
                        <a:pt x="35" y="1412"/>
                      </a:lnTo>
                      <a:lnTo>
                        <a:pt x="48" y="1471"/>
                      </a:lnTo>
                      <a:lnTo>
                        <a:pt x="63" y="1528"/>
                      </a:lnTo>
                      <a:lnTo>
                        <a:pt x="80" y="1585"/>
                      </a:lnTo>
                      <a:lnTo>
                        <a:pt x="99" y="1639"/>
                      </a:lnTo>
                      <a:lnTo>
                        <a:pt x="121" y="1692"/>
                      </a:lnTo>
                      <a:lnTo>
                        <a:pt x="144" y="1742"/>
                      </a:lnTo>
                      <a:lnTo>
                        <a:pt x="170" y="1791"/>
                      </a:lnTo>
                      <a:lnTo>
                        <a:pt x="198" y="1839"/>
                      </a:lnTo>
                      <a:lnTo>
                        <a:pt x="228" y="1884"/>
                      </a:lnTo>
                      <a:lnTo>
                        <a:pt x="261" y="1927"/>
                      </a:lnTo>
                      <a:lnTo>
                        <a:pt x="295" y="1967"/>
                      </a:lnTo>
                      <a:lnTo>
                        <a:pt x="332" y="2006"/>
                      </a:lnTo>
                      <a:lnTo>
                        <a:pt x="371" y="2043"/>
                      </a:lnTo>
                      <a:lnTo>
                        <a:pt x="413" y="2077"/>
                      </a:lnTo>
                      <a:lnTo>
                        <a:pt x="458" y="2109"/>
                      </a:lnTo>
                      <a:lnTo>
                        <a:pt x="504" y="2138"/>
                      </a:lnTo>
                      <a:lnTo>
                        <a:pt x="552" y="2166"/>
                      </a:lnTo>
                      <a:lnTo>
                        <a:pt x="604" y="2190"/>
                      </a:lnTo>
                      <a:lnTo>
                        <a:pt x="657" y="2212"/>
                      </a:lnTo>
                      <a:lnTo>
                        <a:pt x="713" y="2231"/>
                      </a:lnTo>
                      <a:lnTo>
                        <a:pt x="772" y="2247"/>
                      </a:lnTo>
                      <a:lnTo>
                        <a:pt x="834" y="2261"/>
                      </a:lnTo>
                      <a:lnTo>
                        <a:pt x="897" y="2271"/>
                      </a:lnTo>
                      <a:lnTo>
                        <a:pt x="963" y="2279"/>
                      </a:lnTo>
                      <a:lnTo>
                        <a:pt x="1033" y="2284"/>
                      </a:lnTo>
                      <a:lnTo>
                        <a:pt x="1104" y="2285"/>
                      </a:lnTo>
                      <a:lnTo>
                        <a:pt x="1143" y="2285"/>
                      </a:lnTo>
                      <a:lnTo>
                        <a:pt x="1182" y="2284"/>
                      </a:lnTo>
                      <a:lnTo>
                        <a:pt x="1221" y="2283"/>
                      </a:lnTo>
                      <a:lnTo>
                        <a:pt x="1260" y="2281"/>
                      </a:lnTo>
                      <a:lnTo>
                        <a:pt x="1297" y="2278"/>
                      </a:lnTo>
                      <a:lnTo>
                        <a:pt x="1336" y="2275"/>
                      </a:lnTo>
                      <a:lnTo>
                        <a:pt x="1375" y="2270"/>
                      </a:lnTo>
                      <a:lnTo>
                        <a:pt x="1413" y="2265"/>
                      </a:lnTo>
                      <a:lnTo>
                        <a:pt x="1452" y="2260"/>
                      </a:lnTo>
                      <a:lnTo>
                        <a:pt x="1490" y="2254"/>
                      </a:lnTo>
                      <a:lnTo>
                        <a:pt x="1528" y="2246"/>
                      </a:lnTo>
                      <a:lnTo>
                        <a:pt x="1566" y="2239"/>
                      </a:lnTo>
                      <a:lnTo>
                        <a:pt x="1603" y="2229"/>
                      </a:lnTo>
                      <a:lnTo>
                        <a:pt x="1641" y="2220"/>
                      </a:lnTo>
                      <a:lnTo>
                        <a:pt x="1679" y="2210"/>
                      </a:lnTo>
                      <a:lnTo>
                        <a:pt x="1716" y="2198"/>
                      </a:lnTo>
                      <a:lnTo>
                        <a:pt x="1716" y="1845"/>
                      </a:lnTo>
                      <a:lnTo>
                        <a:pt x="1666" y="1862"/>
                      </a:lnTo>
                      <a:lnTo>
                        <a:pt x="1616" y="1877"/>
                      </a:lnTo>
                      <a:lnTo>
                        <a:pt x="1563" y="1891"/>
                      </a:lnTo>
                      <a:lnTo>
                        <a:pt x="1510" y="1904"/>
                      </a:lnTo>
                      <a:lnTo>
                        <a:pt x="1484" y="1909"/>
                      </a:lnTo>
                      <a:lnTo>
                        <a:pt x="1456" y="1913"/>
                      </a:lnTo>
                      <a:lnTo>
                        <a:pt x="1430" y="1917"/>
                      </a:lnTo>
                      <a:lnTo>
                        <a:pt x="1403" y="1920"/>
                      </a:lnTo>
                      <a:lnTo>
                        <a:pt x="1376" y="1923"/>
                      </a:lnTo>
                      <a:lnTo>
                        <a:pt x="1350" y="1926"/>
                      </a:lnTo>
                      <a:lnTo>
                        <a:pt x="1324" y="1927"/>
                      </a:lnTo>
                      <a:lnTo>
                        <a:pt x="1297" y="1928"/>
                      </a:lnTo>
                      <a:lnTo>
                        <a:pt x="1251" y="1926"/>
                      </a:lnTo>
                      <a:lnTo>
                        <a:pt x="1206" y="1922"/>
                      </a:lnTo>
                      <a:lnTo>
                        <a:pt x="1162" y="1916"/>
                      </a:lnTo>
                      <a:lnTo>
                        <a:pt x="1120" y="1907"/>
                      </a:lnTo>
                      <a:lnTo>
                        <a:pt x="1078" y="1896"/>
                      </a:lnTo>
                      <a:lnTo>
                        <a:pt x="1037" y="1883"/>
                      </a:lnTo>
                      <a:lnTo>
                        <a:pt x="997" y="1867"/>
                      </a:lnTo>
                      <a:lnTo>
                        <a:pt x="959" y="1849"/>
                      </a:lnTo>
                      <a:lnTo>
                        <a:pt x="922" y="1829"/>
                      </a:lnTo>
                      <a:lnTo>
                        <a:pt x="886" y="1808"/>
                      </a:lnTo>
                      <a:lnTo>
                        <a:pt x="852" y="1784"/>
                      </a:lnTo>
                      <a:lnTo>
                        <a:pt x="818" y="1759"/>
                      </a:lnTo>
                      <a:lnTo>
                        <a:pt x="787" y="1733"/>
                      </a:lnTo>
                      <a:lnTo>
                        <a:pt x="756" y="1703"/>
                      </a:lnTo>
                      <a:lnTo>
                        <a:pt x="727" y="1674"/>
                      </a:lnTo>
                      <a:lnTo>
                        <a:pt x="699" y="1643"/>
                      </a:lnTo>
                      <a:lnTo>
                        <a:pt x="673" y="1609"/>
                      </a:lnTo>
                      <a:lnTo>
                        <a:pt x="648" y="1575"/>
                      </a:lnTo>
                      <a:lnTo>
                        <a:pt x="625" y="1540"/>
                      </a:lnTo>
                      <a:lnTo>
                        <a:pt x="604" y="1504"/>
                      </a:lnTo>
                      <a:lnTo>
                        <a:pt x="584" y="1466"/>
                      </a:lnTo>
                      <a:lnTo>
                        <a:pt x="565" y="1428"/>
                      </a:lnTo>
                      <a:lnTo>
                        <a:pt x="548" y="1389"/>
                      </a:lnTo>
                      <a:lnTo>
                        <a:pt x="533" y="1349"/>
                      </a:lnTo>
                      <a:lnTo>
                        <a:pt x="520" y="1308"/>
                      </a:lnTo>
                      <a:lnTo>
                        <a:pt x="507" y="1266"/>
                      </a:lnTo>
                      <a:lnTo>
                        <a:pt x="498" y="1224"/>
                      </a:lnTo>
                      <a:lnTo>
                        <a:pt x="489" y="1182"/>
                      </a:lnTo>
                      <a:lnTo>
                        <a:pt x="483" y="1139"/>
                      </a:lnTo>
                      <a:lnTo>
                        <a:pt x="478" y="1096"/>
                      </a:lnTo>
                      <a:lnTo>
                        <a:pt x="475" y="1054"/>
                      </a:lnTo>
                      <a:lnTo>
                        <a:pt x="474" y="1009"/>
                      </a:lnTo>
                      <a:lnTo>
                        <a:pt x="1771" y="1009"/>
                      </a:lnTo>
                      <a:close/>
                      <a:moveTo>
                        <a:pt x="1288" y="702"/>
                      </a:moveTo>
                      <a:lnTo>
                        <a:pt x="488" y="702"/>
                      </a:lnTo>
                      <a:lnTo>
                        <a:pt x="490" y="681"/>
                      </a:lnTo>
                      <a:lnTo>
                        <a:pt x="493" y="662"/>
                      </a:lnTo>
                      <a:lnTo>
                        <a:pt x="498" y="643"/>
                      </a:lnTo>
                      <a:lnTo>
                        <a:pt x="503" y="623"/>
                      </a:lnTo>
                      <a:lnTo>
                        <a:pt x="509" y="604"/>
                      </a:lnTo>
                      <a:lnTo>
                        <a:pt x="515" y="586"/>
                      </a:lnTo>
                      <a:lnTo>
                        <a:pt x="523" y="568"/>
                      </a:lnTo>
                      <a:lnTo>
                        <a:pt x="531" y="550"/>
                      </a:lnTo>
                      <a:lnTo>
                        <a:pt x="540" y="534"/>
                      </a:lnTo>
                      <a:lnTo>
                        <a:pt x="549" y="518"/>
                      </a:lnTo>
                      <a:lnTo>
                        <a:pt x="560" y="502"/>
                      </a:lnTo>
                      <a:lnTo>
                        <a:pt x="570" y="487"/>
                      </a:lnTo>
                      <a:lnTo>
                        <a:pt x="582" y="472"/>
                      </a:lnTo>
                      <a:lnTo>
                        <a:pt x="594" y="458"/>
                      </a:lnTo>
                      <a:lnTo>
                        <a:pt x="607" y="445"/>
                      </a:lnTo>
                      <a:lnTo>
                        <a:pt x="621" y="432"/>
                      </a:lnTo>
                      <a:lnTo>
                        <a:pt x="634" y="419"/>
                      </a:lnTo>
                      <a:lnTo>
                        <a:pt x="649" y="408"/>
                      </a:lnTo>
                      <a:lnTo>
                        <a:pt x="664" y="397"/>
                      </a:lnTo>
                      <a:lnTo>
                        <a:pt x="679" y="387"/>
                      </a:lnTo>
                      <a:lnTo>
                        <a:pt x="696" y="378"/>
                      </a:lnTo>
                      <a:lnTo>
                        <a:pt x="712" y="369"/>
                      </a:lnTo>
                      <a:lnTo>
                        <a:pt x="730" y="362"/>
                      </a:lnTo>
                      <a:lnTo>
                        <a:pt x="747" y="354"/>
                      </a:lnTo>
                      <a:lnTo>
                        <a:pt x="765" y="348"/>
                      </a:lnTo>
                      <a:lnTo>
                        <a:pt x="783" y="342"/>
                      </a:lnTo>
                      <a:lnTo>
                        <a:pt x="802" y="338"/>
                      </a:lnTo>
                      <a:lnTo>
                        <a:pt x="821" y="333"/>
                      </a:lnTo>
                      <a:lnTo>
                        <a:pt x="841" y="330"/>
                      </a:lnTo>
                      <a:lnTo>
                        <a:pt x="861" y="328"/>
                      </a:lnTo>
                      <a:lnTo>
                        <a:pt x="881" y="327"/>
                      </a:lnTo>
                      <a:lnTo>
                        <a:pt x="901" y="326"/>
                      </a:lnTo>
                      <a:lnTo>
                        <a:pt x="923" y="326"/>
                      </a:lnTo>
                      <a:lnTo>
                        <a:pt x="944" y="328"/>
                      </a:lnTo>
                      <a:lnTo>
                        <a:pt x="965" y="330"/>
                      </a:lnTo>
                      <a:lnTo>
                        <a:pt x="985" y="332"/>
                      </a:lnTo>
                      <a:lnTo>
                        <a:pt x="1005" y="337"/>
                      </a:lnTo>
                      <a:lnTo>
                        <a:pt x="1024" y="341"/>
                      </a:lnTo>
                      <a:lnTo>
                        <a:pt x="1043" y="346"/>
                      </a:lnTo>
                      <a:lnTo>
                        <a:pt x="1061" y="352"/>
                      </a:lnTo>
                      <a:lnTo>
                        <a:pt x="1079" y="359"/>
                      </a:lnTo>
                      <a:lnTo>
                        <a:pt x="1096" y="366"/>
                      </a:lnTo>
                      <a:lnTo>
                        <a:pt x="1111" y="374"/>
                      </a:lnTo>
                      <a:lnTo>
                        <a:pt x="1127" y="384"/>
                      </a:lnTo>
                      <a:lnTo>
                        <a:pt x="1142" y="393"/>
                      </a:lnTo>
                      <a:lnTo>
                        <a:pt x="1157" y="404"/>
                      </a:lnTo>
                      <a:lnTo>
                        <a:pt x="1170" y="415"/>
                      </a:lnTo>
                      <a:lnTo>
                        <a:pt x="1183" y="427"/>
                      </a:lnTo>
                      <a:lnTo>
                        <a:pt x="1196" y="439"/>
                      </a:lnTo>
                      <a:lnTo>
                        <a:pt x="1207" y="452"/>
                      </a:lnTo>
                      <a:lnTo>
                        <a:pt x="1218" y="467"/>
                      </a:lnTo>
                      <a:lnTo>
                        <a:pt x="1228" y="480"/>
                      </a:lnTo>
                      <a:lnTo>
                        <a:pt x="1238" y="496"/>
                      </a:lnTo>
                      <a:lnTo>
                        <a:pt x="1246" y="512"/>
                      </a:lnTo>
                      <a:lnTo>
                        <a:pt x="1253" y="528"/>
                      </a:lnTo>
                      <a:lnTo>
                        <a:pt x="1261" y="545"/>
                      </a:lnTo>
                      <a:lnTo>
                        <a:pt x="1267" y="563"/>
                      </a:lnTo>
                      <a:lnTo>
                        <a:pt x="1272" y="581"/>
                      </a:lnTo>
                      <a:lnTo>
                        <a:pt x="1278" y="600"/>
                      </a:lnTo>
                      <a:lnTo>
                        <a:pt x="1281" y="619"/>
                      </a:lnTo>
                      <a:lnTo>
                        <a:pt x="1284" y="640"/>
                      </a:lnTo>
                      <a:lnTo>
                        <a:pt x="1286" y="659"/>
                      </a:lnTo>
                      <a:lnTo>
                        <a:pt x="1288" y="680"/>
                      </a:lnTo>
                      <a:lnTo>
                        <a:pt x="1288"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4" name="Freeform 9"/>
                <p:cNvSpPr>
                  <a:spLocks/>
                </p:cNvSpPr>
                <p:nvPr userDrawn="1"/>
              </p:nvSpPr>
              <p:spPr bwMode="auto">
                <a:xfrm>
                  <a:off x="2076450" y="2555875"/>
                  <a:ext cx="254000" cy="322263"/>
                </a:xfrm>
                <a:custGeom>
                  <a:avLst/>
                  <a:gdLst/>
                  <a:ahLst/>
                  <a:cxnLst>
                    <a:cxn ang="0">
                      <a:pos x="1252" y="940"/>
                    </a:cxn>
                    <a:cxn ang="0">
                      <a:pos x="1250" y="815"/>
                    </a:cxn>
                    <a:cxn ang="0">
                      <a:pos x="1242" y="710"/>
                    </a:cxn>
                    <a:cxn ang="0">
                      <a:pos x="1223" y="612"/>
                    </a:cxn>
                    <a:cxn ang="0">
                      <a:pos x="1208" y="570"/>
                    </a:cxn>
                    <a:cxn ang="0">
                      <a:pos x="1188" y="537"/>
                    </a:cxn>
                    <a:cxn ang="0">
                      <a:pos x="1166" y="513"/>
                    </a:cxn>
                    <a:cxn ang="0">
                      <a:pos x="1142" y="497"/>
                    </a:cxn>
                    <a:cxn ang="0">
                      <a:pos x="1115" y="487"/>
                    </a:cxn>
                    <a:cxn ang="0">
                      <a:pos x="1065" y="479"/>
                    </a:cxn>
                    <a:cxn ang="0">
                      <a:pos x="993" y="479"/>
                    </a:cxn>
                    <a:cxn ang="0">
                      <a:pos x="898" y="500"/>
                    </a:cxn>
                    <a:cxn ang="0">
                      <a:pos x="816" y="544"/>
                    </a:cxn>
                    <a:cxn ang="0">
                      <a:pos x="744" y="607"/>
                    </a:cxn>
                    <a:cxn ang="0">
                      <a:pos x="683" y="685"/>
                    </a:cxn>
                    <a:cxn ang="0">
                      <a:pos x="631" y="774"/>
                    </a:cxn>
                    <a:cxn ang="0">
                      <a:pos x="589" y="870"/>
                    </a:cxn>
                    <a:cxn ang="0">
                      <a:pos x="556" y="972"/>
                    </a:cxn>
                    <a:cxn ang="0">
                      <a:pos x="533" y="1072"/>
                    </a:cxn>
                    <a:cxn ang="0">
                      <a:pos x="519" y="1171"/>
                    </a:cxn>
                    <a:cxn ang="0">
                      <a:pos x="511" y="1262"/>
                    </a:cxn>
                    <a:cxn ang="0">
                      <a:pos x="0" y="2235"/>
                    </a:cxn>
                    <a:cxn ang="0">
                      <a:pos x="511" y="459"/>
                    </a:cxn>
                    <a:cxn ang="0">
                      <a:pos x="543" y="408"/>
                    </a:cxn>
                    <a:cxn ang="0">
                      <a:pos x="582" y="336"/>
                    </a:cxn>
                    <a:cxn ang="0">
                      <a:pos x="626" y="270"/>
                    </a:cxn>
                    <a:cxn ang="0">
                      <a:pos x="676" y="210"/>
                    </a:cxn>
                    <a:cxn ang="0">
                      <a:pos x="731" y="156"/>
                    </a:cxn>
                    <a:cxn ang="0">
                      <a:pos x="791" y="110"/>
                    </a:cxn>
                    <a:cxn ang="0">
                      <a:pos x="856" y="71"/>
                    </a:cxn>
                    <a:cxn ang="0">
                      <a:pos x="927" y="41"/>
                    </a:cxn>
                    <a:cxn ang="0">
                      <a:pos x="1003" y="19"/>
                    </a:cxn>
                    <a:cxn ang="0">
                      <a:pos x="1083" y="5"/>
                    </a:cxn>
                    <a:cxn ang="0">
                      <a:pos x="1169" y="0"/>
                    </a:cxn>
                    <a:cxn ang="0">
                      <a:pos x="1281" y="10"/>
                    </a:cxn>
                    <a:cxn ang="0">
                      <a:pos x="1379" y="35"/>
                    </a:cxn>
                    <a:cxn ang="0">
                      <a:pos x="1466" y="76"/>
                    </a:cxn>
                    <a:cxn ang="0">
                      <a:pos x="1540" y="129"/>
                    </a:cxn>
                    <a:cxn ang="0">
                      <a:pos x="1603" y="195"/>
                    </a:cxn>
                    <a:cxn ang="0">
                      <a:pos x="1656" y="272"/>
                    </a:cxn>
                    <a:cxn ang="0">
                      <a:pos x="1697" y="357"/>
                    </a:cxn>
                    <a:cxn ang="0">
                      <a:pos x="1728" y="450"/>
                    </a:cxn>
                    <a:cxn ang="0">
                      <a:pos x="1748" y="548"/>
                    </a:cxn>
                    <a:cxn ang="0">
                      <a:pos x="1760" y="651"/>
                    </a:cxn>
                    <a:cxn ang="0">
                      <a:pos x="1762" y="2235"/>
                    </a:cxn>
                  </a:cxnLst>
                  <a:rect l="0" t="0" r="r" b="b"/>
                  <a:pathLst>
                    <a:path w="1762" h="2235">
                      <a:moveTo>
                        <a:pt x="1252" y="2235"/>
                      </a:moveTo>
                      <a:lnTo>
                        <a:pt x="1252" y="986"/>
                      </a:lnTo>
                      <a:lnTo>
                        <a:pt x="1252" y="940"/>
                      </a:lnTo>
                      <a:lnTo>
                        <a:pt x="1252" y="881"/>
                      </a:lnTo>
                      <a:lnTo>
                        <a:pt x="1251" y="848"/>
                      </a:lnTo>
                      <a:lnTo>
                        <a:pt x="1250" y="815"/>
                      </a:lnTo>
                      <a:lnTo>
                        <a:pt x="1248" y="779"/>
                      </a:lnTo>
                      <a:lnTo>
                        <a:pt x="1245" y="744"/>
                      </a:lnTo>
                      <a:lnTo>
                        <a:pt x="1242" y="710"/>
                      </a:lnTo>
                      <a:lnTo>
                        <a:pt x="1237" y="675"/>
                      </a:lnTo>
                      <a:lnTo>
                        <a:pt x="1230" y="643"/>
                      </a:lnTo>
                      <a:lnTo>
                        <a:pt x="1223" y="612"/>
                      </a:lnTo>
                      <a:lnTo>
                        <a:pt x="1218" y="598"/>
                      </a:lnTo>
                      <a:lnTo>
                        <a:pt x="1213" y="584"/>
                      </a:lnTo>
                      <a:lnTo>
                        <a:pt x="1208" y="570"/>
                      </a:lnTo>
                      <a:lnTo>
                        <a:pt x="1202" y="559"/>
                      </a:lnTo>
                      <a:lnTo>
                        <a:pt x="1196" y="547"/>
                      </a:lnTo>
                      <a:lnTo>
                        <a:pt x="1188" y="537"/>
                      </a:lnTo>
                      <a:lnTo>
                        <a:pt x="1181" y="527"/>
                      </a:lnTo>
                      <a:lnTo>
                        <a:pt x="1173" y="519"/>
                      </a:lnTo>
                      <a:lnTo>
                        <a:pt x="1166" y="513"/>
                      </a:lnTo>
                      <a:lnTo>
                        <a:pt x="1159" y="506"/>
                      </a:lnTo>
                      <a:lnTo>
                        <a:pt x="1150" y="501"/>
                      </a:lnTo>
                      <a:lnTo>
                        <a:pt x="1142" y="497"/>
                      </a:lnTo>
                      <a:lnTo>
                        <a:pt x="1133" y="493"/>
                      </a:lnTo>
                      <a:lnTo>
                        <a:pt x="1124" y="490"/>
                      </a:lnTo>
                      <a:lnTo>
                        <a:pt x="1115" y="487"/>
                      </a:lnTo>
                      <a:lnTo>
                        <a:pt x="1105" y="484"/>
                      </a:lnTo>
                      <a:lnTo>
                        <a:pt x="1085" y="481"/>
                      </a:lnTo>
                      <a:lnTo>
                        <a:pt x="1065" y="479"/>
                      </a:lnTo>
                      <a:lnTo>
                        <a:pt x="1045" y="478"/>
                      </a:lnTo>
                      <a:lnTo>
                        <a:pt x="1026" y="478"/>
                      </a:lnTo>
                      <a:lnTo>
                        <a:pt x="993" y="479"/>
                      </a:lnTo>
                      <a:lnTo>
                        <a:pt x="960" y="483"/>
                      </a:lnTo>
                      <a:lnTo>
                        <a:pt x="929" y="491"/>
                      </a:lnTo>
                      <a:lnTo>
                        <a:pt x="898" y="500"/>
                      </a:lnTo>
                      <a:lnTo>
                        <a:pt x="870" y="513"/>
                      </a:lnTo>
                      <a:lnTo>
                        <a:pt x="842" y="527"/>
                      </a:lnTo>
                      <a:lnTo>
                        <a:pt x="816" y="544"/>
                      </a:lnTo>
                      <a:lnTo>
                        <a:pt x="791" y="563"/>
                      </a:lnTo>
                      <a:lnTo>
                        <a:pt x="767" y="584"/>
                      </a:lnTo>
                      <a:lnTo>
                        <a:pt x="744" y="607"/>
                      </a:lnTo>
                      <a:lnTo>
                        <a:pt x="721" y="631"/>
                      </a:lnTo>
                      <a:lnTo>
                        <a:pt x="701" y="657"/>
                      </a:lnTo>
                      <a:lnTo>
                        <a:pt x="683" y="685"/>
                      </a:lnTo>
                      <a:lnTo>
                        <a:pt x="664" y="713"/>
                      </a:lnTo>
                      <a:lnTo>
                        <a:pt x="647" y="743"/>
                      </a:lnTo>
                      <a:lnTo>
                        <a:pt x="631" y="774"/>
                      </a:lnTo>
                      <a:lnTo>
                        <a:pt x="615" y="805"/>
                      </a:lnTo>
                      <a:lnTo>
                        <a:pt x="602" y="838"/>
                      </a:lnTo>
                      <a:lnTo>
                        <a:pt x="589" y="870"/>
                      </a:lnTo>
                      <a:lnTo>
                        <a:pt x="577" y="904"/>
                      </a:lnTo>
                      <a:lnTo>
                        <a:pt x="566" y="937"/>
                      </a:lnTo>
                      <a:lnTo>
                        <a:pt x="556" y="972"/>
                      </a:lnTo>
                      <a:lnTo>
                        <a:pt x="548" y="1005"/>
                      </a:lnTo>
                      <a:lnTo>
                        <a:pt x="540" y="1039"/>
                      </a:lnTo>
                      <a:lnTo>
                        <a:pt x="533" y="1072"/>
                      </a:lnTo>
                      <a:lnTo>
                        <a:pt x="527" y="1106"/>
                      </a:lnTo>
                      <a:lnTo>
                        <a:pt x="522" y="1138"/>
                      </a:lnTo>
                      <a:lnTo>
                        <a:pt x="519" y="1171"/>
                      </a:lnTo>
                      <a:lnTo>
                        <a:pt x="515" y="1202"/>
                      </a:lnTo>
                      <a:lnTo>
                        <a:pt x="513" y="1233"/>
                      </a:lnTo>
                      <a:lnTo>
                        <a:pt x="511" y="1262"/>
                      </a:lnTo>
                      <a:lnTo>
                        <a:pt x="511" y="1290"/>
                      </a:lnTo>
                      <a:lnTo>
                        <a:pt x="511" y="2235"/>
                      </a:lnTo>
                      <a:lnTo>
                        <a:pt x="0" y="2235"/>
                      </a:lnTo>
                      <a:lnTo>
                        <a:pt x="0" y="52"/>
                      </a:lnTo>
                      <a:lnTo>
                        <a:pt x="511" y="52"/>
                      </a:lnTo>
                      <a:lnTo>
                        <a:pt x="511" y="459"/>
                      </a:lnTo>
                      <a:lnTo>
                        <a:pt x="521" y="459"/>
                      </a:lnTo>
                      <a:lnTo>
                        <a:pt x="531" y="433"/>
                      </a:lnTo>
                      <a:lnTo>
                        <a:pt x="543" y="408"/>
                      </a:lnTo>
                      <a:lnTo>
                        <a:pt x="555" y="384"/>
                      </a:lnTo>
                      <a:lnTo>
                        <a:pt x="568" y="360"/>
                      </a:lnTo>
                      <a:lnTo>
                        <a:pt x="582" y="336"/>
                      </a:lnTo>
                      <a:lnTo>
                        <a:pt x="596" y="314"/>
                      </a:lnTo>
                      <a:lnTo>
                        <a:pt x="611" y="292"/>
                      </a:lnTo>
                      <a:lnTo>
                        <a:pt x="626" y="270"/>
                      </a:lnTo>
                      <a:lnTo>
                        <a:pt x="642" y="249"/>
                      </a:lnTo>
                      <a:lnTo>
                        <a:pt x="658" y="229"/>
                      </a:lnTo>
                      <a:lnTo>
                        <a:pt x="676" y="210"/>
                      </a:lnTo>
                      <a:lnTo>
                        <a:pt x="693" y="191"/>
                      </a:lnTo>
                      <a:lnTo>
                        <a:pt x="712" y="173"/>
                      </a:lnTo>
                      <a:lnTo>
                        <a:pt x="731" y="156"/>
                      </a:lnTo>
                      <a:lnTo>
                        <a:pt x="750" y="141"/>
                      </a:lnTo>
                      <a:lnTo>
                        <a:pt x="771" y="125"/>
                      </a:lnTo>
                      <a:lnTo>
                        <a:pt x="791" y="110"/>
                      </a:lnTo>
                      <a:lnTo>
                        <a:pt x="812" y="97"/>
                      </a:lnTo>
                      <a:lnTo>
                        <a:pt x="834" y="84"/>
                      </a:lnTo>
                      <a:lnTo>
                        <a:pt x="856" y="71"/>
                      </a:lnTo>
                      <a:lnTo>
                        <a:pt x="879" y="61"/>
                      </a:lnTo>
                      <a:lnTo>
                        <a:pt x="903" y="51"/>
                      </a:lnTo>
                      <a:lnTo>
                        <a:pt x="927" y="41"/>
                      </a:lnTo>
                      <a:lnTo>
                        <a:pt x="952" y="33"/>
                      </a:lnTo>
                      <a:lnTo>
                        <a:pt x="977" y="25"/>
                      </a:lnTo>
                      <a:lnTo>
                        <a:pt x="1003" y="19"/>
                      </a:lnTo>
                      <a:lnTo>
                        <a:pt x="1029" y="14"/>
                      </a:lnTo>
                      <a:lnTo>
                        <a:pt x="1056" y="9"/>
                      </a:lnTo>
                      <a:lnTo>
                        <a:pt x="1083" y="5"/>
                      </a:lnTo>
                      <a:lnTo>
                        <a:pt x="1111" y="2"/>
                      </a:lnTo>
                      <a:lnTo>
                        <a:pt x="1140" y="1"/>
                      </a:lnTo>
                      <a:lnTo>
                        <a:pt x="1169" y="0"/>
                      </a:lnTo>
                      <a:lnTo>
                        <a:pt x="1207" y="1"/>
                      </a:lnTo>
                      <a:lnTo>
                        <a:pt x="1245" y="4"/>
                      </a:lnTo>
                      <a:lnTo>
                        <a:pt x="1281" y="10"/>
                      </a:lnTo>
                      <a:lnTo>
                        <a:pt x="1314" y="16"/>
                      </a:lnTo>
                      <a:lnTo>
                        <a:pt x="1348" y="24"/>
                      </a:lnTo>
                      <a:lnTo>
                        <a:pt x="1379" y="35"/>
                      </a:lnTo>
                      <a:lnTo>
                        <a:pt x="1409" y="46"/>
                      </a:lnTo>
                      <a:lnTo>
                        <a:pt x="1438" y="60"/>
                      </a:lnTo>
                      <a:lnTo>
                        <a:pt x="1466" y="76"/>
                      </a:lnTo>
                      <a:lnTo>
                        <a:pt x="1492" y="91"/>
                      </a:lnTo>
                      <a:lnTo>
                        <a:pt x="1517" y="110"/>
                      </a:lnTo>
                      <a:lnTo>
                        <a:pt x="1540" y="129"/>
                      </a:lnTo>
                      <a:lnTo>
                        <a:pt x="1562" y="150"/>
                      </a:lnTo>
                      <a:lnTo>
                        <a:pt x="1583" y="172"/>
                      </a:lnTo>
                      <a:lnTo>
                        <a:pt x="1603" y="195"/>
                      </a:lnTo>
                      <a:lnTo>
                        <a:pt x="1622" y="219"/>
                      </a:lnTo>
                      <a:lnTo>
                        <a:pt x="1640" y="245"/>
                      </a:lnTo>
                      <a:lnTo>
                        <a:pt x="1656" y="272"/>
                      </a:lnTo>
                      <a:lnTo>
                        <a:pt x="1671" y="299"/>
                      </a:lnTo>
                      <a:lnTo>
                        <a:pt x="1684" y="327"/>
                      </a:lnTo>
                      <a:lnTo>
                        <a:pt x="1697" y="357"/>
                      </a:lnTo>
                      <a:lnTo>
                        <a:pt x="1708" y="387"/>
                      </a:lnTo>
                      <a:lnTo>
                        <a:pt x="1719" y="418"/>
                      </a:lnTo>
                      <a:lnTo>
                        <a:pt x="1728" y="450"/>
                      </a:lnTo>
                      <a:lnTo>
                        <a:pt x="1736" y="482"/>
                      </a:lnTo>
                      <a:lnTo>
                        <a:pt x="1743" y="515"/>
                      </a:lnTo>
                      <a:lnTo>
                        <a:pt x="1748" y="548"/>
                      </a:lnTo>
                      <a:lnTo>
                        <a:pt x="1754" y="582"/>
                      </a:lnTo>
                      <a:lnTo>
                        <a:pt x="1757" y="616"/>
                      </a:lnTo>
                      <a:lnTo>
                        <a:pt x="1760" y="651"/>
                      </a:lnTo>
                      <a:lnTo>
                        <a:pt x="1761" y="686"/>
                      </a:lnTo>
                      <a:lnTo>
                        <a:pt x="1762" y="721"/>
                      </a:lnTo>
                      <a:lnTo>
                        <a:pt x="1762" y="2235"/>
                      </a:lnTo>
                      <a:lnTo>
                        <a:pt x="1252" y="2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5" name="Freeform 10"/>
                <p:cNvSpPr>
                  <a:spLocks/>
                </p:cNvSpPr>
                <p:nvPr userDrawn="1"/>
              </p:nvSpPr>
              <p:spPr bwMode="auto">
                <a:xfrm>
                  <a:off x="2349500" y="2459038"/>
                  <a:ext cx="228600" cy="427038"/>
                </a:xfrm>
                <a:custGeom>
                  <a:avLst/>
                  <a:gdLst/>
                  <a:ahLst/>
                  <a:cxnLst>
                    <a:cxn ang="0">
                      <a:pos x="939" y="2110"/>
                    </a:cxn>
                    <a:cxn ang="0">
                      <a:pos x="941" y="2205"/>
                    </a:cxn>
                    <a:cxn ang="0">
                      <a:pos x="948" y="2296"/>
                    </a:cxn>
                    <a:cxn ang="0">
                      <a:pos x="956" y="2339"/>
                    </a:cxn>
                    <a:cxn ang="0">
                      <a:pos x="964" y="2378"/>
                    </a:cxn>
                    <a:cxn ang="0">
                      <a:pos x="977" y="2417"/>
                    </a:cxn>
                    <a:cxn ang="0">
                      <a:pos x="992" y="2452"/>
                    </a:cxn>
                    <a:cxn ang="0">
                      <a:pos x="1012" y="2484"/>
                    </a:cxn>
                    <a:cxn ang="0">
                      <a:pos x="1036" y="2514"/>
                    </a:cxn>
                    <a:cxn ang="0">
                      <a:pos x="1063" y="2539"/>
                    </a:cxn>
                    <a:cxn ang="0">
                      <a:pos x="1097" y="2561"/>
                    </a:cxn>
                    <a:cxn ang="0">
                      <a:pos x="1134" y="2578"/>
                    </a:cxn>
                    <a:cxn ang="0">
                      <a:pos x="1179" y="2591"/>
                    </a:cxn>
                    <a:cxn ang="0">
                      <a:pos x="1228" y="2598"/>
                    </a:cxn>
                    <a:cxn ang="0">
                      <a:pos x="1285" y="2602"/>
                    </a:cxn>
                    <a:cxn ang="0">
                      <a:pos x="1343" y="2598"/>
                    </a:cxn>
                    <a:cxn ang="0">
                      <a:pos x="1401" y="2590"/>
                    </a:cxn>
                    <a:cxn ang="0">
                      <a:pos x="1460" y="2578"/>
                    </a:cxn>
                    <a:cxn ang="0">
                      <a:pos x="1519" y="2565"/>
                    </a:cxn>
                    <a:cxn ang="0">
                      <a:pos x="1467" y="2931"/>
                    </a:cxn>
                    <a:cxn ang="0">
                      <a:pos x="1361" y="2944"/>
                    </a:cxn>
                    <a:cxn ang="0">
                      <a:pos x="1256" y="2954"/>
                    </a:cxn>
                    <a:cxn ang="0">
                      <a:pos x="1152" y="2958"/>
                    </a:cxn>
                    <a:cxn ang="0">
                      <a:pos x="1059" y="2959"/>
                    </a:cxn>
                    <a:cxn ang="0">
                      <a:pos x="981" y="2955"/>
                    </a:cxn>
                    <a:cxn ang="0">
                      <a:pos x="907" y="2947"/>
                    </a:cxn>
                    <a:cxn ang="0">
                      <a:pos x="839" y="2936"/>
                    </a:cxn>
                    <a:cxn ang="0">
                      <a:pos x="776" y="2920"/>
                    </a:cxn>
                    <a:cxn ang="0">
                      <a:pos x="718" y="2900"/>
                    </a:cxn>
                    <a:cxn ang="0">
                      <a:pos x="666" y="2875"/>
                    </a:cxn>
                    <a:cxn ang="0">
                      <a:pos x="618" y="2846"/>
                    </a:cxn>
                    <a:cxn ang="0">
                      <a:pos x="576" y="2810"/>
                    </a:cxn>
                    <a:cxn ang="0">
                      <a:pos x="539" y="2770"/>
                    </a:cxn>
                    <a:cxn ang="0">
                      <a:pos x="508" y="2724"/>
                    </a:cxn>
                    <a:cxn ang="0">
                      <a:pos x="482" y="2672"/>
                    </a:cxn>
                    <a:cxn ang="0">
                      <a:pos x="461" y="2614"/>
                    </a:cxn>
                    <a:cxn ang="0">
                      <a:pos x="445" y="2549"/>
                    </a:cxn>
                    <a:cxn ang="0">
                      <a:pos x="434" y="2478"/>
                    </a:cxn>
                    <a:cxn ang="0">
                      <a:pos x="429" y="2400"/>
                    </a:cxn>
                    <a:cxn ang="0">
                      <a:pos x="428" y="1079"/>
                    </a:cxn>
                    <a:cxn ang="0">
                      <a:pos x="0" y="726"/>
                    </a:cxn>
                    <a:cxn ang="0">
                      <a:pos x="428" y="207"/>
                    </a:cxn>
                    <a:cxn ang="0">
                      <a:pos x="939" y="726"/>
                    </a:cxn>
                    <a:cxn ang="0">
                      <a:pos x="1587" y="1079"/>
                    </a:cxn>
                  </a:cxnLst>
                  <a:rect l="0" t="0" r="r" b="b"/>
                  <a:pathLst>
                    <a:path w="1587" h="2959">
                      <a:moveTo>
                        <a:pt x="939" y="1079"/>
                      </a:moveTo>
                      <a:lnTo>
                        <a:pt x="939" y="2110"/>
                      </a:lnTo>
                      <a:lnTo>
                        <a:pt x="940" y="2158"/>
                      </a:lnTo>
                      <a:lnTo>
                        <a:pt x="941" y="2205"/>
                      </a:lnTo>
                      <a:lnTo>
                        <a:pt x="944" y="2252"/>
                      </a:lnTo>
                      <a:lnTo>
                        <a:pt x="948" y="2296"/>
                      </a:lnTo>
                      <a:lnTo>
                        <a:pt x="951" y="2317"/>
                      </a:lnTo>
                      <a:lnTo>
                        <a:pt x="956" y="2339"/>
                      </a:lnTo>
                      <a:lnTo>
                        <a:pt x="960" y="2358"/>
                      </a:lnTo>
                      <a:lnTo>
                        <a:pt x="964" y="2378"/>
                      </a:lnTo>
                      <a:lnTo>
                        <a:pt x="970" y="2398"/>
                      </a:lnTo>
                      <a:lnTo>
                        <a:pt x="977" y="2417"/>
                      </a:lnTo>
                      <a:lnTo>
                        <a:pt x="984" y="2435"/>
                      </a:lnTo>
                      <a:lnTo>
                        <a:pt x="992" y="2452"/>
                      </a:lnTo>
                      <a:lnTo>
                        <a:pt x="1002" y="2469"/>
                      </a:lnTo>
                      <a:lnTo>
                        <a:pt x="1012" y="2484"/>
                      </a:lnTo>
                      <a:lnTo>
                        <a:pt x="1023" y="2500"/>
                      </a:lnTo>
                      <a:lnTo>
                        <a:pt x="1036" y="2514"/>
                      </a:lnTo>
                      <a:lnTo>
                        <a:pt x="1049" y="2527"/>
                      </a:lnTo>
                      <a:lnTo>
                        <a:pt x="1063" y="2539"/>
                      </a:lnTo>
                      <a:lnTo>
                        <a:pt x="1079" y="2550"/>
                      </a:lnTo>
                      <a:lnTo>
                        <a:pt x="1097" y="2561"/>
                      </a:lnTo>
                      <a:lnTo>
                        <a:pt x="1114" y="2570"/>
                      </a:lnTo>
                      <a:lnTo>
                        <a:pt x="1134" y="2578"/>
                      </a:lnTo>
                      <a:lnTo>
                        <a:pt x="1155" y="2585"/>
                      </a:lnTo>
                      <a:lnTo>
                        <a:pt x="1179" y="2591"/>
                      </a:lnTo>
                      <a:lnTo>
                        <a:pt x="1203" y="2595"/>
                      </a:lnTo>
                      <a:lnTo>
                        <a:pt x="1228" y="2598"/>
                      </a:lnTo>
                      <a:lnTo>
                        <a:pt x="1255" y="2601"/>
                      </a:lnTo>
                      <a:lnTo>
                        <a:pt x="1285" y="2602"/>
                      </a:lnTo>
                      <a:lnTo>
                        <a:pt x="1313" y="2601"/>
                      </a:lnTo>
                      <a:lnTo>
                        <a:pt x="1343" y="2598"/>
                      </a:lnTo>
                      <a:lnTo>
                        <a:pt x="1372" y="2594"/>
                      </a:lnTo>
                      <a:lnTo>
                        <a:pt x="1401" y="2590"/>
                      </a:lnTo>
                      <a:lnTo>
                        <a:pt x="1431" y="2584"/>
                      </a:lnTo>
                      <a:lnTo>
                        <a:pt x="1460" y="2578"/>
                      </a:lnTo>
                      <a:lnTo>
                        <a:pt x="1490" y="2571"/>
                      </a:lnTo>
                      <a:lnTo>
                        <a:pt x="1519" y="2565"/>
                      </a:lnTo>
                      <a:lnTo>
                        <a:pt x="1519" y="2922"/>
                      </a:lnTo>
                      <a:lnTo>
                        <a:pt x="1467" y="2931"/>
                      </a:lnTo>
                      <a:lnTo>
                        <a:pt x="1414" y="2938"/>
                      </a:lnTo>
                      <a:lnTo>
                        <a:pt x="1361" y="2944"/>
                      </a:lnTo>
                      <a:lnTo>
                        <a:pt x="1309" y="2950"/>
                      </a:lnTo>
                      <a:lnTo>
                        <a:pt x="1256" y="2954"/>
                      </a:lnTo>
                      <a:lnTo>
                        <a:pt x="1205" y="2957"/>
                      </a:lnTo>
                      <a:lnTo>
                        <a:pt x="1152" y="2958"/>
                      </a:lnTo>
                      <a:lnTo>
                        <a:pt x="1101" y="2959"/>
                      </a:lnTo>
                      <a:lnTo>
                        <a:pt x="1059" y="2959"/>
                      </a:lnTo>
                      <a:lnTo>
                        <a:pt x="1019" y="2957"/>
                      </a:lnTo>
                      <a:lnTo>
                        <a:pt x="981" y="2955"/>
                      </a:lnTo>
                      <a:lnTo>
                        <a:pt x="943" y="2952"/>
                      </a:lnTo>
                      <a:lnTo>
                        <a:pt x="907" y="2947"/>
                      </a:lnTo>
                      <a:lnTo>
                        <a:pt x="873" y="2942"/>
                      </a:lnTo>
                      <a:lnTo>
                        <a:pt x="839" y="2936"/>
                      </a:lnTo>
                      <a:lnTo>
                        <a:pt x="806" y="2929"/>
                      </a:lnTo>
                      <a:lnTo>
                        <a:pt x="776" y="2920"/>
                      </a:lnTo>
                      <a:lnTo>
                        <a:pt x="746" y="2911"/>
                      </a:lnTo>
                      <a:lnTo>
                        <a:pt x="718" y="2900"/>
                      </a:lnTo>
                      <a:lnTo>
                        <a:pt x="692" y="2889"/>
                      </a:lnTo>
                      <a:lnTo>
                        <a:pt x="666" y="2875"/>
                      </a:lnTo>
                      <a:lnTo>
                        <a:pt x="641" y="2862"/>
                      </a:lnTo>
                      <a:lnTo>
                        <a:pt x="618" y="2846"/>
                      </a:lnTo>
                      <a:lnTo>
                        <a:pt x="597" y="2829"/>
                      </a:lnTo>
                      <a:lnTo>
                        <a:pt x="576" y="2810"/>
                      </a:lnTo>
                      <a:lnTo>
                        <a:pt x="557" y="2791"/>
                      </a:lnTo>
                      <a:lnTo>
                        <a:pt x="539" y="2770"/>
                      </a:lnTo>
                      <a:lnTo>
                        <a:pt x="524" y="2748"/>
                      </a:lnTo>
                      <a:lnTo>
                        <a:pt x="508" y="2724"/>
                      </a:lnTo>
                      <a:lnTo>
                        <a:pt x="494" y="2699"/>
                      </a:lnTo>
                      <a:lnTo>
                        <a:pt x="482" y="2672"/>
                      </a:lnTo>
                      <a:lnTo>
                        <a:pt x="470" y="2644"/>
                      </a:lnTo>
                      <a:lnTo>
                        <a:pt x="461" y="2614"/>
                      </a:lnTo>
                      <a:lnTo>
                        <a:pt x="452" y="2583"/>
                      </a:lnTo>
                      <a:lnTo>
                        <a:pt x="445" y="2549"/>
                      </a:lnTo>
                      <a:lnTo>
                        <a:pt x="438" y="2515"/>
                      </a:lnTo>
                      <a:lnTo>
                        <a:pt x="434" y="2478"/>
                      </a:lnTo>
                      <a:lnTo>
                        <a:pt x="431" y="2440"/>
                      </a:lnTo>
                      <a:lnTo>
                        <a:pt x="429" y="2400"/>
                      </a:lnTo>
                      <a:lnTo>
                        <a:pt x="428" y="2358"/>
                      </a:lnTo>
                      <a:lnTo>
                        <a:pt x="428" y="1079"/>
                      </a:lnTo>
                      <a:lnTo>
                        <a:pt x="0" y="1079"/>
                      </a:lnTo>
                      <a:lnTo>
                        <a:pt x="0" y="726"/>
                      </a:lnTo>
                      <a:lnTo>
                        <a:pt x="428" y="726"/>
                      </a:lnTo>
                      <a:lnTo>
                        <a:pt x="428" y="207"/>
                      </a:lnTo>
                      <a:lnTo>
                        <a:pt x="939" y="0"/>
                      </a:lnTo>
                      <a:lnTo>
                        <a:pt x="939" y="726"/>
                      </a:lnTo>
                      <a:lnTo>
                        <a:pt x="1587" y="726"/>
                      </a:lnTo>
                      <a:lnTo>
                        <a:pt x="1587" y="1079"/>
                      </a:lnTo>
                      <a:lnTo>
                        <a:pt x="939" y="10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6" name="Freeform 11"/>
                <p:cNvSpPr>
                  <a:spLocks/>
                </p:cNvSpPr>
                <p:nvPr userDrawn="1"/>
              </p:nvSpPr>
              <p:spPr bwMode="auto">
                <a:xfrm>
                  <a:off x="2609850" y="2563813"/>
                  <a:ext cx="255587" cy="322263"/>
                </a:xfrm>
                <a:custGeom>
                  <a:avLst/>
                  <a:gdLst/>
                  <a:ahLst/>
                  <a:cxnLst>
                    <a:cxn ang="0">
                      <a:pos x="1243" y="1774"/>
                    </a:cxn>
                    <a:cxn ang="0">
                      <a:pos x="1208" y="1849"/>
                    </a:cxn>
                    <a:cxn ang="0">
                      <a:pos x="1167" y="1919"/>
                    </a:cxn>
                    <a:cxn ang="0">
                      <a:pos x="1120" y="1983"/>
                    </a:cxn>
                    <a:cxn ang="0">
                      <a:pos x="1068" y="2040"/>
                    </a:cxn>
                    <a:cxn ang="0">
                      <a:pos x="1012" y="2092"/>
                    </a:cxn>
                    <a:cxn ang="0">
                      <a:pos x="949" y="2136"/>
                    </a:cxn>
                    <a:cxn ang="0">
                      <a:pos x="881" y="2172"/>
                    </a:cxn>
                    <a:cxn ang="0">
                      <a:pos x="810" y="2201"/>
                    </a:cxn>
                    <a:cxn ang="0">
                      <a:pos x="733" y="2220"/>
                    </a:cxn>
                    <a:cxn ang="0">
                      <a:pos x="651" y="2231"/>
                    </a:cxn>
                    <a:cxn ang="0">
                      <a:pos x="555" y="2232"/>
                    </a:cxn>
                    <a:cxn ang="0">
                      <a:pos x="448" y="2217"/>
                    </a:cxn>
                    <a:cxn ang="0">
                      <a:pos x="354" y="2187"/>
                    </a:cxn>
                    <a:cxn ang="0">
                      <a:pos x="271" y="2142"/>
                    </a:cxn>
                    <a:cxn ang="0">
                      <a:pos x="200" y="2084"/>
                    </a:cxn>
                    <a:cxn ang="0">
                      <a:pos x="140" y="2014"/>
                    </a:cxn>
                    <a:cxn ang="0">
                      <a:pos x="92" y="1934"/>
                    </a:cxn>
                    <a:cxn ang="0">
                      <a:pos x="54" y="1846"/>
                    </a:cxn>
                    <a:cxn ang="0">
                      <a:pos x="27" y="1752"/>
                    </a:cxn>
                    <a:cxn ang="0">
                      <a:pos x="9" y="1651"/>
                    </a:cxn>
                    <a:cxn ang="0">
                      <a:pos x="1" y="1548"/>
                    </a:cxn>
                    <a:cxn ang="0">
                      <a:pos x="511" y="0"/>
                    </a:cxn>
                    <a:cxn ang="0">
                      <a:pos x="511" y="1353"/>
                    </a:cxn>
                    <a:cxn ang="0">
                      <a:pos x="516" y="1454"/>
                    </a:cxn>
                    <a:cxn ang="0">
                      <a:pos x="526" y="1558"/>
                    </a:cxn>
                    <a:cxn ang="0">
                      <a:pos x="545" y="1637"/>
                    </a:cxn>
                    <a:cxn ang="0">
                      <a:pos x="561" y="1675"/>
                    </a:cxn>
                    <a:cxn ang="0">
                      <a:pos x="582" y="1707"/>
                    </a:cxn>
                    <a:cxn ang="0">
                      <a:pos x="605" y="1727"/>
                    </a:cxn>
                    <a:cxn ang="0">
                      <a:pos x="630" y="1740"/>
                    </a:cxn>
                    <a:cxn ang="0">
                      <a:pos x="658" y="1749"/>
                    </a:cxn>
                    <a:cxn ang="0">
                      <a:pos x="717" y="1755"/>
                    </a:cxn>
                    <a:cxn ang="0">
                      <a:pos x="804" y="1750"/>
                    </a:cxn>
                    <a:cxn ang="0">
                      <a:pos x="894" y="1720"/>
                    </a:cxn>
                    <a:cxn ang="0">
                      <a:pos x="973" y="1670"/>
                    </a:cxn>
                    <a:cxn ang="0">
                      <a:pos x="1041" y="1602"/>
                    </a:cxn>
                    <a:cxn ang="0">
                      <a:pos x="1099" y="1520"/>
                    </a:cxn>
                    <a:cxn ang="0">
                      <a:pos x="1147" y="1428"/>
                    </a:cxn>
                    <a:cxn ang="0">
                      <a:pos x="1186" y="1330"/>
                    </a:cxn>
                    <a:cxn ang="0">
                      <a:pos x="1216" y="1229"/>
                    </a:cxn>
                    <a:cxn ang="0">
                      <a:pos x="1236" y="1128"/>
                    </a:cxn>
                    <a:cxn ang="0">
                      <a:pos x="1248" y="1032"/>
                    </a:cxn>
                    <a:cxn ang="0">
                      <a:pos x="1252" y="944"/>
                    </a:cxn>
                    <a:cxn ang="0">
                      <a:pos x="1762" y="2183"/>
                    </a:cxn>
                  </a:cxnLst>
                  <a:rect l="0" t="0" r="r" b="b"/>
                  <a:pathLst>
                    <a:path w="1762" h="2233">
                      <a:moveTo>
                        <a:pt x="1252" y="2183"/>
                      </a:moveTo>
                      <a:lnTo>
                        <a:pt x="1252" y="1774"/>
                      </a:lnTo>
                      <a:lnTo>
                        <a:pt x="1243" y="1774"/>
                      </a:lnTo>
                      <a:lnTo>
                        <a:pt x="1232" y="1800"/>
                      </a:lnTo>
                      <a:lnTo>
                        <a:pt x="1220" y="1825"/>
                      </a:lnTo>
                      <a:lnTo>
                        <a:pt x="1208" y="1849"/>
                      </a:lnTo>
                      <a:lnTo>
                        <a:pt x="1195" y="1874"/>
                      </a:lnTo>
                      <a:lnTo>
                        <a:pt x="1181" y="1897"/>
                      </a:lnTo>
                      <a:lnTo>
                        <a:pt x="1167" y="1919"/>
                      </a:lnTo>
                      <a:lnTo>
                        <a:pt x="1151" y="1941"/>
                      </a:lnTo>
                      <a:lnTo>
                        <a:pt x="1137" y="1963"/>
                      </a:lnTo>
                      <a:lnTo>
                        <a:pt x="1120" y="1983"/>
                      </a:lnTo>
                      <a:lnTo>
                        <a:pt x="1103" y="2002"/>
                      </a:lnTo>
                      <a:lnTo>
                        <a:pt x="1086" y="2022"/>
                      </a:lnTo>
                      <a:lnTo>
                        <a:pt x="1068" y="2040"/>
                      </a:lnTo>
                      <a:lnTo>
                        <a:pt x="1050" y="2058"/>
                      </a:lnTo>
                      <a:lnTo>
                        <a:pt x="1031" y="2075"/>
                      </a:lnTo>
                      <a:lnTo>
                        <a:pt x="1012" y="2092"/>
                      </a:lnTo>
                      <a:lnTo>
                        <a:pt x="991" y="2107"/>
                      </a:lnTo>
                      <a:lnTo>
                        <a:pt x="971" y="2122"/>
                      </a:lnTo>
                      <a:lnTo>
                        <a:pt x="949" y="2136"/>
                      </a:lnTo>
                      <a:lnTo>
                        <a:pt x="928" y="2148"/>
                      </a:lnTo>
                      <a:lnTo>
                        <a:pt x="904" y="2161"/>
                      </a:lnTo>
                      <a:lnTo>
                        <a:pt x="881" y="2172"/>
                      </a:lnTo>
                      <a:lnTo>
                        <a:pt x="858" y="2182"/>
                      </a:lnTo>
                      <a:lnTo>
                        <a:pt x="834" y="2191"/>
                      </a:lnTo>
                      <a:lnTo>
                        <a:pt x="810" y="2201"/>
                      </a:lnTo>
                      <a:lnTo>
                        <a:pt x="785" y="2208"/>
                      </a:lnTo>
                      <a:lnTo>
                        <a:pt x="758" y="2214"/>
                      </a:lnTo>
                      <a:lnTo>
                        <a:pt x="733" y="2220"/>
                      </a:lnTo>
                      <a:lnTo>
                        <a:pt x="706" y="2225"/>
                      </a:lnTo>
                      <a:lnTo>
                        <a:pt x="678" y="2229"/>
                      </a:lnTo>
                      <a:lnTo>
                        <a:pt x="651" y="2231"/>
                      </a:lnTo>
                      <a:lnTo>
                        <a:pt x="623" y="2233"/>
                      </a:lnTo>
                      <a:lnTo>
                        <a:pt x="594" y="2233"/>
                      </a:lnTo>
                      <a:lnTo>
                        <a:pt x="555" y="2232"/>
                      </a:lnTo>
                      <a:lnTo>
                        <a:pt x="519" y="2229"/>
                      </a:lnTo>
                      <a:lnTo>
                        <a:pt x="483" y="2225"/>
                      </a:lnTo>
                      <a:lnTo>
                        <a:pt x="448" y="2217"/>
                      </a:lnTo>
                      <a:lnTo>
                        <a:pt x="416" y="2209"/>
                      </a:lnTo>
                      <a:lnTo>
                        <a:pt x="384" y="2198"/>
                      </a:lnTo>
                      <a:lnTo>
                        <a:pt x="354" y="2187"/>
                      </a:lnTo>
                      <a:lnTo>
                        <a:pt x="325" y="2173"/>
                      </a:lnTo>
                      <a:lnTo>
                        <a:pt x="297" y="2159"/>
                      </a:lnTo>
                      <a:lnTo>
                        <a:pt x="271" y="2142"/>
                      </a:lnTo>
                      <a:lnTo>
                        <a:pt x="246" y="2124"/>
                      </a:lnTo>
                      <a:lnTo>
                        <a:pt x="222" y="2104"/>
                      </a:lnTo>
                      <a:lnTo>
                        <a:pt x="200" y="2084"/>
                      </a:lnTo>
                      <a:lnTo>
                        <a:pt x="179" y="2062"/>
                      </a:lnTo>
                      <a:lnTo>
                        <a:pt x="159" y="2038"/>
                      </a:lnTo>
                      <a:lnTo>
                        <a:pt x="140" y="2014"/>
                      </a:lnTo>
                      <a:lnTo>
                        <a:pt x="123" y="1989"/>
                      </a:lnTo>
                      <a:lnTo>
                        <a:pt x="107" y="1962"/>
                      </a:lnTo>
                      <a:lnTo>
                        <a:pt x="92" y="1934"/>
                      </a:lnTo>
                      <a:lnTo>
                        <a:pt x="78" y="1906"/>
                      </a:lnTo>
                      <a:lnTo>
                        <a:pt x="66" y="1877"/>
                      </a:lnTo>
                      <a:lnTo>
                        <a:pt x="54" y="1846"/>
                      </a:lnTo>
                      <a:lnTo>
                        <a:pt x="44" y="1816"/>
                      </a:lnTo>
                      <a:lnTo>
                        <a:pt x="35" y="1784"/>
                      </a:lnTo>
                      <a:lnTo>
                        <a:pt x="27" y="1752"/>
                      </a:lnTo>
                      <a:lnTo>
                        <a:pt x="19" y="1719"/>
                      </a:lnTo>
                      <a:lnTo>
                        <a:pt x="14" y="1686"/>
                      </a:lnTo>
                      <a:lnTo>
                        <a:pt x="9" y="1651"/>
                      </a:lnTo>
                      <a:lnTo>
                        <a:pt x="6" y="1618"/>
                      </a:lnTo>
                      <a:lnTo>
                        <a:pt x="3" y="1583"/>
                      </a:lnTo>
                      <a:lnTo>
                        <a:pt x="1" y="1548"/>
                      </a:lnTo>
                      <a:lnTo>
                        <a:pt x="0" y="1513"/>
                      </a:lnTo>
                      <a:lnTo>
                        <a:pt x="0" y="0"/>
                      </a:lnTo>
                      <a:lnTo>
                        <a:pt x="511" y="0"/>
                      </a:lnTo>
                      <a:lnTo>
                        <a:pt x="511" y="1247"/>
                      </a:lnTo>
                      <a:lnTo>
                        <a:pt x="511" y="1294"/>
                      </a:lnTo>
                      <a:lnTo>
                        <a:pt x="511" y="1353"/>
                      </a:lnTo>
                      <a:lnTo>
                        <a:pt x="512" y="1385"/>
                      </a:lnTo>
                      <a:lnTo>
                        <a:pt x="513" y="1420"/>
                      </a:lnTo>
                      <a:lnTo>
                        <a:pt x="516" y="1454"/>
                      </a:lnTo>
                      <a:lnTo>
                        <a:pt x="518" y="1489"/>
                      </a:lnTo>
                      <a:lnTo>
                        <a:pt x="522" y="1525"/>
                      </a:lnTo>
                      <a:lnTo>
                        <a:pt x="526" y="1558"/>
                      </a:lnTo>
                      <a:lnTo>
                        <a:pt x="532" y="1591"/>
                      </a:lnTo>
                      <a:lnTo>
                        <a:pt x="541" y="1622"/>
                      </a:lnTo>
                      <a:lnTo>
                        <a:pt x="545" y="1637"/>
                      </a:lnTo>
                      <a:lnTo>
                        <a:pt x="550" y="1650"/>
                      </a:lnTo>
                      <a:lnTo>
                        <a:pt x="555" y="1663"/>
                      </a:lnTo>
                      <a:lnTo>
                        <a:pt x="561" y="1675"/>
                      </a:lnTo>
                      <a:lnTo>
                        <a:pt x="567" y="1687"/>
                      </a:lnTo>
                      <a:lnTo>
                        <a:pt x="574" y="1697"/>
                      </a:lnTo>
                      <a:lnTo>
                        <a:pt x="582" y="1707"/>
                      </a:lnTo>
                      <a:lnTo>
                        <a:pt x="589" y="1714"/>
                      </a:lnTo>
                      <a:lnTo>
                        <a:pt x="596" y="1722"/>
                      </a:lnTo>
                      <a:lnTo>
                        <a:pt x="605" y="1727"/>
                      </a:lnTo>
                      <a:lnTo>
                        <a:pt x="612" y="1732"/>
                      </a:lnTo>
                      <a:lnTo>
                        <a:pt x="621" y="1736"/>
                      </a:lnTo>
                      <a:lnTo>
                        <a:pt x="630" y="1740"/>
                      </a:lnTo>
                      <a:lnTo>
                        <a:pt x="640" y="1744"/>
                      </a:lnTo>
                      <a:lnTo>
                        <a:pt x="649" y="1747"/>
                      </a:lnTo>
                      <a:lnTo>
                        <a:pt x="658" y="1749"/>
                      </a:lnTo>
                      <a:lnTo>
                        <a:pt x="677" y="1752"/>
                      </a:lnTo>
                      <a:lnTo>
                        <a:pt x="697" y="1754"/>
                      </a:lnTo>
                      <a:lnTo>
                        <a:pt x="717" y="1755"/>
                      </a:lnTo>
                      <a:lnTo>
                        <a:pt x="737" y="1756"/>
                      </a:lnTo>
                      <a:lnTo>
                        <a:pt x="771" y="1754"/>
                      </a:lnTo>
                      <a:lnTo>
                        <a:pt x="804" y="1750"/>
                      </a:lnTo>
                      <a:lnTo>
                        <a:pt x="835" y="1743"/>
                      </a:lnTo>
                      <a:lnTo>
                        <a:pt x="865" y="1733"/>
                      </a:lnTo>
                      <a:lnTo>
                        <a:pt x="894" y="1720"/>
                      </a:lnTo>
                      <a:lnTo>
                        <a:pt x="921" y="1706"/>
                      </a:lnTo>
                      <a:lnTo>
                        <a:pt x="948" y="1689"/>
                      </a:lnTo>
                      <a:lnTo>
                        <a:pt x="973" y="1670"/>
                      </a:lnTo>
                      <a:lnTo>
                        <a:pt x="997" y="1649"/>
                      </a:lnTo>
                      <a:lnTo>
                        <a:pt x="1019" y="1627"/>
                      </a:lnTo>
                      <a:lnTo>
                        <a:pt x="1041" y="1602"/>
                      </a:lnTo>
                      <a:lnTo>
                        <a:pt x="1061" y="1577"/>
                      </a:lnTo>
                      <a:lnTo>
                        <a:pt x="1081" y="1550"/>
                      </a:lnTo>
                      <a:lnTo>
                        <a:pt x="1099" y="1520"/>
                      </a:lnTo>
                      <a:lnTo>
                        <a:pt x="1117" y="1491"/>
                      </a:lnTo>
                      <a:lnTo>
                        <a:pt x="1133" y="1461"/>
                      </a:lnTo>
                      <a:lnTo>
                        <a:pt x="1147" y="1428"/>
                      </a:lnTo>
                      <a:lnTo>
                        <a:pt x="1161" y="1397"/>
                      </a:lnTo>
                      <a:lnTo>
                        <a:pt x="1175" y="1363"/>
                      </a:lnTo>
                      <a:lnTo>
                        <a:pt x="1186" y="1330"/>
                      </a:lnTo>
                      <a:lnTo>
                        <a:pt x="1197" y="1296"/>
                      </a:lnTo>
                      <a:lnTo>
                        <a:pt x="1207" y="1262"/>
                      </a:lnTo>
                      <a:lnTo>
                        <a:pt x="1216" y="1229"/>
                      </a:lnTo>
                      <a:lnTo>
                        <a:pt x="1223" y="1195"/>
                      </a:lnTo>
                      <a:lnTo>
                        <a:pt x="1230" y="1162"/>
                      </a:lnTo>
                      <a:lnTo>
                        <a:pt x="1236" y="1128"/>
                      </a:lnTo>
                      <a:lnTo>
                        <a:pt x="1241" y="1096"/>
                      </a:lnTo>
                      <a:lnTo>
                        <a:pt x="1245" y="1063"/>
                      </a:lnTo>
                      <a:lnTo>
                        <a:pt x="1248" y="1032"/>
                      </a:lnTo>
                      <a:lnTo>
                        <a:pt x="1250" y="1002"/>
                      </a:lnTo>
                      <a:lnTo>
                        <a:pt x="1251" y="972"/>
                      </a:lnTo>
                      <a:lnTo>
                        <a:pt x="1252" y="944"/>
                      </a:lnTo>
                      <a:lnTo>
                        <a:pt x="1252" y="0"/>
                      </a:lnTo>
                      <a:lnTo>
                        <a:pt x="1762" y="0"/>
                      </a:lnTo>
                      <a:lnTo>
                        <a:pt x="1762" y="2183"/>
                      </a:lnTo>
                      <a:lnTo>
                        <a:pt x="1252" y="2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7" name="Freeform 12"/>
                <p:cNvSpPr>
                  <a:spLocks/>
                </p:cNvSpPr>
                <p:nvPr userDrawn="1"/>
              </p:nvSpPr>
              <p:spPr bwMode="auto">
                <a:xfrm>
                  <a:off x="2911475" y="2555875"/>
                  <a:ext cx="177800" cy="322263"/>
                </a:xfrm>
                <a:custGeom>
                  <a:avLst/>
                  <a:gdLst/>
                  <a:ahLst/>
                  <a:cxnLst>
                    <a:cxn ang="0">
                      <a:pos x="511" y="2235"/>
                    </a:cxn>
                    <a:cxn ang="0">
                      <a:pos x="0" y="52"/>
                    </a:cxn>
                    <a:cxn ang="0">
                      <a:pos x="511" y="455"/>
                    </a:cxn>
                    <a:cxn ang="0">
                      <a:pos x="536" y="427"/>
                    </a:cxn>
                    <a:cxn ang="0">
                      <a:pos x="568" y="373"/>
                    </a:cxn>
                    <a:cxn ang="0">
                      <a:pos x="600" y="324"/>
                    </a:cxn>
                    <a:cxn ang="0">
                      <a:pos x="634" y="278"/>
                    </a:cxn>
                    <a:cxn ang="0">
                      <a:pos x="667" y="235"/>
                    </a:cxn>
                    <a:cxn ang="0">
                      <a:pos x="703" y="196"/>
                    </a:cxn>
                    <a:cxn ang="0">
                      <a:pos x="740" y="161"/>
                    </a:cxn>
                    <a:cxn ang="0">
                      <a:pos x="779" y="129"/>
                    </a:cxn>
                    <a:cxn ang="0">
                      <a:pos x="821" y="101"/>
                    </a:cxn>
                    <a:cxn ang="0">
                      <a:pos x="864" y="76"/>
                    </a:cxn>
                    <a:cxn ang="0">
                      <a:pos x="910" y="55"/>
                    </a:cxn>
                    <a:cxn ang="0">
                      <a:pos x="960" y="37"/>
                    </a:cxn>
                    <a:cxn ang="0">
                      <a:pos x="1013" y="22"/>
                    </a:cxn>
                    <a:cxn ang="0">
                      <a:pos x="1069" y="12"/>
                    </a:cxn>
                    <a:cxn ang="0">
                      <a:pos x="1130" y="4"/>
                    </a:cxn>
                    <a:cxn ang="0">
                      <a:pos x="1194" y="1"/>
                    </a:cxn>
                    <a:cxn ang="0">
                      <a:pos x="1228" y="533"/>
                    </a:cxn>
                    <a:cxn ang="0">
                      <a:pos x="1134" y="536"/>
                    </a:cxn>
                    <a:cxn ang="0">
                      <a:pos x="1047" y="543"/>
                    </a:cxn>
                    <a:cxn ang="0">
                      <a:pos x="967" y="558"/>
                    </a:cxn>
                    <a:cxn ang="0">
                      <a:pos x="895" y="577"/>
                    </a:cxn>
                    <a:cxn ang="0">
                      <a:pos x="829" y="602"/>
                    </a:cxn>
                    <a:cxn ang="0">
                      <a:pos x="770" y="632"/>
                    </a:cxn>
                    <a:cxn ang="0">
                      <a:pos x="719" y="669"/>
                    </a:cxn>
                    <a:cxn ang="0">
                      <a:pos x="673" y="712"/>
                    </a:cxn>
                    <a:cxn ang="0">
                      <a:pos x="633" y="760"/>
                    </a:cxn>
                    <a:cxn ang="0">
                      <a:pos x="599" y="815"/>
                    </a:cxn>
                    <a:cxn ang="0">
                      <a:pos x="572" y="875"/>
                    </a:cxn>
                    <a:cxn ang="0">
                      <a:pos x="549" y="943"/>
                    </a:cxn>
                    <a:cxn ang="0">
                      <a:pos x="532" y="1017"/>
                    </a:cxn>
                    <a:cxn ang="0">
                      <a:pos x="520" y="1096"/>
                    </a:cxn>
                    <a:cxn ang="0">
                      <a:pos x="513" y="1182"/>
                    </a:cxn>
                    <a:cxn ang="0">
                      <a:pos x="511" y="1276"/>
                    </a:cxn>
                  </a:cxnLst>
                  <a:rect l="0" t="0" r="r" b="b"/>
                  <a:pathLst>
                    <a:path w="1228" h="2235">
                      <a:moveTo>
                        <a:pt x="511" y="1276"/>
                      </a:moveTo>
                      <a:lnTo>
                        <a:pt x="511" y="2235"/>
                      </a:lnTo>
                      <a:lnTo>
                        <a:pt x="0" y="2235"/>
                      </a:lnTo>
                      <a:lnTo>
                        <a:pt x="0" y="52"/>
                      </a:lnTo>
                      <a:lnTo>
                        <a:pt x="511" y="52"/>
                      </a:lnTo>
                      <a:lnTo>
                        <a:pt x="511" y="455"/>
                      </a:lnTo>
                      <a:lnTo>
                        <a:pt x="519" y="455"/>
                      </a:lnTo>
                      <a:lnTo>
                        <a:pt x="536" y="427"/>
                      </a:lnTo>
                      <a:lnTo>
                        <a:pt x="552" y="400"/>
                      </a:lnTo>
                      <a:lnTo>
                        <a:pt x="568" y="373"/>
                      </a:lnTo>
                      <a:lnTo>
                        <a:pt x="583" y="348"/>
                      </a:lnTo>
                      <a:lnTo>
                        <a:pt x="600" y="324"/>
                      </a:lnTo>
                      <a:lnTo>
                        <a:pt x="617" y="301"/>
                      </a:lnTo>
                      <a:lnTo>
                        <a:pt x="634" y="278"/>
                      </a:lnTo>
                      <a:lnTo>
                        <a:pt x="651" y="256"/>
                      </a:lnTo>
                      <a:lnTo>
                        <a:pt x="667" y="235"/>
                      </a:lnTo>
                      <a:lnTo>
                        <a:pt x="685" y="215"/>
                      </a:lnTo>
                      <a:lnTo>
                        <a:pt x="703" y="196"/>
                      </a:lnTo>
                      <a:lnTo>
                        <a:pt x="721" y="178"/>
                      </a:lnTo>
                      <a:lnTo>
                        <a:pt x="740" y="161"/>
                      </a:lnTo>
                      <a:lnTo>
                        <a:pt x="760" y="145"/>
                      </a:lnTo>
                      <a:lnTo>
                        <a:pt x="779" y="129"/>
                      </a:lnTo>
                      <a:lnTo>
                        <a:pt x="800" y="114"/>
                      </a:lnTo>
                      <a:lnTo>
                        <a:pt x="821" y="101"/>
                      </a:lnTo>
                      <a:lnTo>
                        <a:pt x="842" y="87"/>
                      </a:lnTo>
                      <a:lnTo>
                        <a:pt x="864" y="76"/>
                      </a:lnTo>
                      <a:lnTo>
                        <a:pt x="887" y="64"/>
                      </a:lnTo>
                      <a:lnTo>
                        <a:pt x="910" y="55"/>
                      </a:lnTo>
                      <a:lnTo>
                        <a:pt x="936" y="45"/>
                      </a:lnTo>
                      <a:lnTo>
                        <a:pt x="960" y="37"/>
                      </a:lnTo>
                      <a:lnTo>
                        <a:pt x="986" y="28"/>
                      </a:lnTo>
                      <a:lnTo>
                        <a:pt x="1013" y="22"/>
                      </a:lnTo>
                      <a:lnTo>
                        <a:pt x="1041" y="17"/>
                      </a:lnTo>
                      <a:lnTo>
                        <a:pt x="1069" y="12"/>
                      </a:lnTo>
                      <a:lnTo>
                        <a:pt x="1099" y="8"/>
                      </a:lnTo>
                      <a:lnTo>
                        <a:pt x="1130" y="4"/>
                      </a:lnTo>
                      <a:lnTo>
                        <a:pt x="1162" y="2"/>
                      </a:lnTo>
                      <a:lnTo>
                        <a:pt x="1194" y="1"/>
                      </a:lnTo>
                      <a:lnTo>
                        <a:pt x="1228" y="0"/>
                      </a:lnTo>
                      <a:lnTo>
                        <a:pt x="1228" y="533"/>
                      </a:lnTo>
                      <a:lnTo>
                        <a:pt x="1180" y="534"/>
                      </a:lnTo>
                      <a:lnTo>
                        <a:pt x="1134" y="536"/>
                      </a:lnTo>
                      <a:lnTo>
                        <a:pt x="1089" y="539"/>
                      </a:lnTo>
                      <a:lnTo>
                        <a:pt x="1047" y="543"/>
                      </a:lnTo>
                      <a:lnTo>
                        <a:pt x="1006" y="549"/>
                      </a:lnTo>
                      <a:lnTo>
                        <a:pt x="967" y="558"/>
                      </a:lnTo>
                      <a:lnTo>
                        <a:pt x="930" y="566"/>
                      </a:lnTo>
                      <a:lnTo>
                        <a:pt x="895" y="577"/>
                      </a:lnTo>
                      <a:lnTo>
                        <a:pt x="861" y="588"/>
                      </a:lnTo>
                      <a:lnTo>
                        <a:pt x="829" y="602"/>
                      </a:lnTo>
                      <a:lnTo>
                        <a:pt x="799" y="616"/>
                      </a:lnTo>
                      <a:lnTo>
                        <a:pt x="770" y="632"/>
                      </a:lnTo>
                      <a:lnTo>
                        <a:pt x="744" y="650"/>
                      </a:lnTo>
                      <a:lnTo>
                        <a:pt x="719" y="669"/>
                      </a:lnTo>
                      <a:lnTo>
                        <a:pt x="695" y="690"/>
                      </a:lnTo>
                      <a:lnTo>
                        <a:pt x="673" y="712"/>
                      </a:lnTo>
                      <a:lnTo>
                        <a:pt x="652" y="735"/>
                      </a:lnTo>
                      <a:lnTo>
                        <a:pt x="633" y="760"/>
                      </a:lnTo>
                      <a:lnTo>
                        <a:pt x="616" y="787"/>
                      </a:lnTo>
                      <a:lnTo>
                        <a:pt x="599" y="815"/>
                      </a:lnTo>
                      <a:lnTo>
                        <a:pt x="584" y="845"/>
                      </a:lnTo>
                      <a:lnTo>
                        <a:pt x="572" y="875"/>
                      </a:lnTo>
                      <a:lnTo>
                        <a:pt x="559" y="909"/>
                      </a:lnTo>
                      <a:lnTo>
                        <a:pt x="549" y="943"/>
                      </a:lnTo>
                      <a:lnTo>
                        <a:pt x="539" y="979"/>
                      </a:lnTo>
                      <a:lnTo>
                        <a:pt x="532" y="1017"/>
                      </a:lnTo>
                      <a:lnTo>
                        <a:pt x="526" y="1056"/>
                      </a:lnTo>
                      <a:lnTo>
                        <a:pt x="520" y="1096"/>
                      </a:lnTo>
                      <a:lnTo>
                        <a:pt x="516" y="1138"/>
                      </a:lnTo>
                      <a:lnTo>
                        <a:pt x="513" y="1182"/>
                      </a:lnTo>
                      <a:lnTo>
                        <a:pt x="511" y="1229"/>
                      </a:lnTo>
                      <a:lnTo>
                        <a:pt x="511" y="1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8" name="Freeform 13"/>
                <p:cNvSpPr>
                  <a:spLocks noEditPoints="1"/>
                </p:cNvSpPr>
                <p:nvPr userDrawn="1"/>
              </p:nvSpPr>
              <p:spPr bwMode="auto">
                <a:xfrm>
                  <a:off x="3103563" y="2555875"/>
                  <a:ext cx="255587" cy="330200"/>
                </a:xfrm>
                <a:custGeom>
                  <a:avLst/>
                  <a:gdLst/>
                  <a:ahLst/>
                  <a:cxnLst>
                    <a:cxn ang="0">
                      <a:pos x="1768" y="788"/>
                    </a:cxn>
                    <a:cxn ang="0">
                      <a:pos x="1742" y="607"/>
                    </a:cxn>
                    <a:cxn ang="0">
                      <a:pos x="1690" y="445"/>
                    </a:cxn>
                    <a:cxn ang="0">
                      <a:pos x="1612" y="305"/>
                    </a:cxn>
                    <a:cxn ang="0">
                      <a:pos x="1508" y="189"/>
                    </a:cxn>
                    <a:cxn ang="0">
                      <a:pos x="1378" y="99"/>
                    </a:cxn>
                    <a:cxn ang="0">
                      <a:pos x="1222" y="37"/>
                    </a:cxn>
                    <a:cxn ang="0">
                      <a:pos x="1039" y="4"/>
                    </a:cxn>
                    <a:cxn ang="0">
                      <a:pos x="821" y="5"/>
                    </a:cxn>
                    <a:cxn ang="0">
                      <a:pos x="609" y="42"/>
                    </a:cxn>
                    <a:cxn ang="0">
                      <a:pos x="432" y="114"/>
                    </a:cxn>
                    <a:cxn ang="0">
                      <a:pos x="286" y="218"/>
                    </a:cxn>
                    <a:cxn ang="0">
                      <a:pos x="171" y="353"/>
                    </a:cxn>
                    <a:cxn ang="0">
                      <a:pos x="86" y="516"/>
                    </a:cxn>
                    <a:cxn ang="0">
                      <a:pos x="30" y="703"/>
                    </a:cxn>
                    <a:cxn ang="0">
                      <a:pos x="3" y="914"/>
                    </a:cxn>
                    <a:cxn ang="0">
                      <a:pos x="4" y="1161"/>
                    </a:cxn>
                    <a:cxn ang="0">
                      <a:pos x="35" y="1412"/>
                    </a:cxn>
                    <a:cxn ang="0">
                      <a:pos x="100" y="1639"/>
                    </a:cxn>
                    <a:cxn ang="0">
                      <a:pos x="197" y="1839"/>
                    </a:cxn>
                    <a:cxn ang="0">
                      <a:pos x="332" y="2006"/>
                    </a:cxn>
                    <a:cxn ang="0">
                      <a:pos x="503" y="2138"/>
                    </a:cxn>
                    <a:cxn ang="0">
                      <a:pos x="714" y="2231"/>
                    </a:cxn>
                    <a:cxn ang="0">
                      <a:pos x="964" y="2279"/>
                    </a:cxn>
                    <a:cxn ang="0">
                      <a:pos x="1181" y="2284"/>
                    </a:cxn>
                    <a:cxn ang="0">
                      <a:pos x="1337" y="2275"/>
                    </a:cxn>
                    <a:cxn ang="0">
                      <a:pos x="1490" y="2254"/>
                    </a:cxn>
                    <a:cxn ang="0">
                      <a:pos x="1642" y="2220"/>
                    </a:cxn>
                    <a:cxn ang="0">
                      <a:pos x="1667" y="1862"/>
                    </a:cxn>
                    <a:cxn ang="0">
                      <a:pos x="1483" y="1909"/>
                    </a:cxn>
                    <a:cxn ang="0">
                      <a:pos x="1376" y="1923"/>
                    </a:cxn>
                    <a:cxn ang="0">
                      <a:pos x="1252" y="1926"/>
                    </a:cxn>
                    <a:cxn ang="0">
                      <a:pos x="1077" y="1896"/>
                    </a:cxn>
                    <a:cxn ang="0">
                      <a:pos x="922" y="1829"/>
                    </a:cxn>
                    <a:cxn ang="0">
                      <a:pos x="787" y="1733"/>
                    </a:cxn>
                    <a:cxn ang="0">
                      <a:pos x="674" y="1609"/>
                    </a:cxn>
                    <a:cxn ang="0">
                      <a:pos x="583" y="1466"/>
                    </a:cxn>
                    <a:cxn ang="0">
                      <a:pos x="519" y="1308"/>
                    </a:cxn>
                    <a:cxn ang="0">
                      <a:pos x="482" y="1139"/>
                    </a:cxn>
                    <a:cxn ang="0">
                      <a:pos x="1771" y="1009"/>
                    </a:cxn>
                    <a:cxn ang="0">
                      <a:pos x="494" y="662"/>
                    </a:cxn>
                    <a:cxn ang="0">
                      <a:pos x="515" y="586"/>
                    </a:cxn>
                    <a:cxn ang="0">
                      <a:pos x="550" y="518"/>
                    </a:cxn>
                    <a:cxn ang="0">
                      <a:pos x="594" y="458"/>
                    </a:cxn>
                    <a:cxn ang="0">
                      <a:pos x="648" y="408"/>
                    </a:cxn>
                    <a:cxn ang="0">
                      <a:pos x="712" y="369"/>
                    </a:cxn>
                    <a:cxn ang="0">
                      <a:pos x="783" y="342"/>
                    </a:cxn>
                    <a:cxn ang="0">
                      <a:pos x="861" y="328"/>
                    </a:cxn>
                    <a:cxn ang="0">
                      <a:pos x="945" y="328"/>
                    </a:cxn>
                    <a:cxn ang="0">
                      <a:pos x="1025" y="341"/>
                    </a:cxn>
                    <a:cxn ang="0">
                      <a:pos x="1095" y="366"/>
                    </a:cxn>
                    <a:cxn ang="0">
                      <a:pos x="1156" y="404"/>
                    </a:cxn>
                    <a:cxn ang="0">
                      <a:pos x="1207" y="452"/>
                    </a:cxn>
                    <a:cxn ang="0">
                      <a:pos x="1245" y="512"/>
                    </a:cxn>
                    <a:cxn ang="0">
                      <a:pos x="1273" y="581"/>
                    </a:cxn>
                    <a:cxn ang="0">
                      <a:pos x="1286" y="659"/>
                    </a:cxn>
                  </a:cxnLst>
                  <a:rect l="0" t="0" r="r" b="b"/>
                  <a:pathLst>
                    <a:path w="1771" h="2285">
                      <a:moveTo>
                        <a:pt x="1771" y="1009"/>
                      </a:moveTo>
                      <a:lnTo>
                        <a:pt x="1771" y="886"/>
                      </a:lnTo>
                      <a:lnTo>
                        <a:pt x="1770" y="837"/>
                      </a:lnTo>
                      <a:lnTo>
                        <a:pt x="1768" y="788"/>
                      </a:lnTo>
                      <a:lnTo>
                        <a:pt x="1764" y="741"/>
                      </a:lnTo>
                      <a:lnTo>
                        <a:pt x="1758" y="695"/>
                      </a:lnTo>
                      <a:lnTo>
                        <a:pt x="1751" y="650"/>
                      </a:lnTo>
                      <a:lnTo>
                        <a:pt x="1742" y="607"/>
                      </a:lnTo>
                      <a:lnTo>
                        <a:pt x="1731" y="564"/>
                      </a:lnTo>
                      <a:lnTo>
                        <a:pt x="1719" y="523"/>
                      </a:lnTo>
                      <a:lnTo>
                        <a:pt x="1706" y="483"/>
                      </a:lnTo>
                      <a:lnTo>
                        <a:pt x="1690" y="445"/>
                      </a:lnTo>
                      <a:lnTo>
                        <a:pt x="1673" y="408"/>
                      </a:lnTo>
                      <a:lnTo>
                        <a:pt x="1654" y="372"/>
                      </a:lnTo>
                      <a:lnTo>
                        <a:pt x="1634" y="338"/>
                      </a:lnTo>
                      <a:lnTo>
                        <a:pt x="1612" y="305"/>
                      </a:lnTo>
                      <a:lnTo>
                        <a:pt x="1588" y="274"/>
                      </a:lnTo>
                      <a:lnTo>
                        <a:pt x="1564" y="243"/>
                      </a:lnTo>
                      <a:lnTo>
                        <a:pt x="1537" y="215"/>
                      </a:lnTo>
                      <a:lnTo>
                        <a:pt x="1508" y="189"/>
                      </a:lnTo>
                      <a:lnTo>
                        <a:pt x="1478" y="164"/>
                      </a:lnTo>
                      <a:lnTo>
                        <a:pt x="1446" y="141"/>
                      </a:lnTo>
                      <a:lnTo>
                        <a:pt x="1413" y="119"/>
                      </a:lnTo>
                      <a:lnTo>
                        <a:pt x="1378" y="99"/>
                      </a:lnTo>
                      <a:lnTo>
                        <a:pt x="1341" y="81"/>
                      </a:lnTo>
                      <a:lnTo>
                        <a:pt x="1303" y="64"/>
                      </a:lnTo>
                      <a:lnTo>
                        <a:pt x="1263" y="49"/>
                      </a:lnTo>
                      <a:lnTo>
                        <a:pt x="1222" y="37"/>
                      </a:lnTo>
                      <a:lnTo>
                        <a:pt x="1179" y="25"/>
                      </a:lnTo>
                      <a:lnTo>
                        <a:pt x="1134" y="17"/>
                      </a:lnTo>
                      <a:lnTo>
                        <a:pt x="1088" y="10"/>
                      </a:lnTo>
                      <a:lnTo>
                        <a:pt x="1039" y="4"/>
                      </a:lnTo>
                      <a:lnTo>
                        <a:pt x="990" y="1"/>
                      </a:lnTo>
                      <a:lnTo>
                        <a:pt x="938" y="0"/>
                      </a:lnTo>
                      <a:lnTo>
                        <a:pt x="879" y="1"/>
                      </a:lnTo>
                      <a:lnTo>
                        <a:pt x="821" y="5"/>
                      </a:lnTo>
                      <a:lnTo>
                        <a:pt x="764" y="11"/>
                      </a:lnTo>
                      <a:lnTo>
                        <a:pt x="710" y="19"/>
                      </a:lnTo>
                      <a:lnTo>
                        <a:pt x="659" y="30"/>
                      </a:lnTo>
                      <a:lnTo>
                        <a:pt x="609" y="42"/>
                      </a:lnTo>
                      <a:lnTo>
                        <a:pt x="562" y="57"/>
                      </a:lnTo>
                      <a:lnTo>
                        <a:pt x="516" y="74"/>
                      </a:lnTo>
                      <a:lnTo>
                        <a:pt x="473" y="93"/>
                      </a:lnTo>
                      <a:lnTo>
                        <a:pt x="432" y="114"/>
                      </a:lnTo>
                      <a:lnTo>
                        <a:pt x="392" y="137"/>
                      </a:lnTo>
                      <a:lnTo>
                        <a:pt x="354" y="163"/>
                      </a:lnTo>
                      <a:lnTo>
                        <a:pt x="319" y="190"/>
                      </a:lnTo>
                      <a:lnTo>
                        <a:pt x="286" y="218"/>
                      </a:lnTo>
                      <a:lnTo>
                        <a:pt x="254" y="250"/>
                      </a:lnTo>
                      <a:lnTo>
                        <a:pt x="225" y="282"/>
                      </a:lnTo>
                      <a:lnTo>
                        <a:pt x="196" y="317"/>
                      </a:lnTo>
                      <a:lnTo>
                        <a:pt x="171" y="353"/>
                      </a:lnTo>
                      <a:lnTo>
                        <a:pt x="147" y="391"/>
                      </a:lnTo>
                      <a:lnTo>
                        <a:pt x="125" y="431"/>
                      </a:lnTo>
                      <a:lnTo>
                        <a:pt x="104" y="473"/>
                      </a:lnTo>
                      <a:lnTo>
                        <a:pt x="86" y="516"/>
                      </a:lnTo>
                      <a:lnTo>
                        <a:pt x="69" y="560"/>
                      </a:lnTo>
                      <a:lnTo>
                        <a:pt x="54" y="606"/>
                      </a:lnTo>
                      <a:lnTo>
                        <a:pt x="42" y="654"/>
                      </a:lnTo>
                      <a:lnTo>
                        <a:pt x="30" y="703"/>
                      </a:lnTo>
                      <a:lnTo>
                        <a:pt x="21" y="754"/>
                      </a:lnTo>
                      <a:lnTo>
                        <a:pt x="13" y="806"/>
                      </a:lnTo>
                      <a:lnTo>
                        <a:pt x="7" y="860"/>
                      </a:lnTo>
                      <a:lnTo>
                        <a:pt x="3" y="914"/>
                      </a:lnTo>
                      <a:lnTo>
                        <a:pt x="1" y="971"/>
                      </a:lnTo>
                      <a:lnTo>
                        <a:pt x="0" y="1028"/>
                      </a:lnTo>
                      <a:lnTo>
                        <a:pt x="1" y="1095"/>
                      </a:lnTo>
                      <a:lnTo>
                        <a:pt x="4" y="1161"/>
                      </a:lnTo>
                      <a:lnTo>
                        <a:pt x="8" y="1225"/>
                      </a:lnTo>
                      <a:lnTo>
                        <a:pt x="16" y="1289"/>
                      </a:lnTo>
                      <a:lnTo>
                        <a:pt x="24" y="1351"/>
                      </a:lnTo>
                      <a:lnTo>
                        <a:pt x="35" y="1412"/>
                      </a:lnTo>
                      <a:lnTo>
                        <a:pt x="48" y="1471"/>
                      </a:lnTo>
                      <a:lnTo>
                        <a:pt x="63" y="1528"/>
                      </a:lnTo>
                      <a:lnTo>
                        <a:pt x="80" y="1585"/>
                      </a:lnTo>
                      <a:lnTo>
                        <a:pt x="100" y="1639"/>
                      </a:lnTo>
                      <a:lnTo>
                        <a:pt x="121" y="1692"/>
                      </a:lnTo>
                      <a:lnTo>
                        <a:pt x="144" y="1742"/>
                      </a:lnTo>
                      <a:lnTo>
                        <a:pt x="170" y="1791"/>
                      </a:lnTo>
                      <a:lnTo>
                        <a:pt x="197" y="1839"/>
                      </a:lnTo>
                      <a:lnTo>
                        <a:pt x="228" y="1884"/>
                      </a:lnTo>
                      <a:lnTo>
                        <a:pt x="260" y="1927"/>
                      </a:lnTo>
                      <a:lnTo>
                        <a:pt x="295" y="1967"/>
                      </a:lnTo>
                      <a:lnTo>
                        <a:pt x="332" y="2006"/>
                      </a:lnTo>
                      <a:lnTo>
                        <a:pt x="372" y="2043"/>
                      </a:lnTo>
                      <a:lnTo>
                        <a:pt x="413" y="2077"/>
                      </a:lnTo>
                      <a:lnTo>
                        <a:pt x="457" y="2109"/>
                      </a:lnTo>
                      <a:lnTo>
                        <a:pt x="503" y="2138"/>
                      </a:lnTo>
                      <a:lnTo>
                        <a:pt x="553" y="2166"/>
                      </a:lnTo>
                      <a:lnTo>
                        <a:pt x="603" y="2190"/>
                      </a:lnTo>
                      <a:lnTo>
                        <a:pt x="657" y="2212"/>
                      </a:lnTo>
                      <a:lnTo>
                        <a:pt x="714" y="2231"/>
                      </a:lnTo>
                      <a:lnTo>
                        <a:pt x="772" y="2247"/>
                      </a:lnTo>
                      <a:lnTo>
                        <a:pt x="833" y="2261"/>
                      </a:lnTo>
                      <a:lnTo>
                        <a:pt x="897" y="2271"/>
                      </a:lnTo>
                      <a:lnTo>
                        <a:pt x="964" y="2279"/>
                      </a:lnTo>
                      <a:lnTo>
                        <a:pt x="1032" y="2284"/>
                      </a:lnTo>
                      <a:lnTo>
                        <a:pt x="1105" y="2285"/>
                      </a:lnTo>
                      <a:lnTo>
                        <a:pt x="1142" y="2285"/>
                      </a:lnTo>
                      <a:lnTo>
                        <a:pt x="1181" y="2284"/>
                      </a:lnTo>
                      <a:lnTo>
                        <a:pt x="1220" y="2283"/>
                      </a:lnTo>
                      <a:lnTo>
                        <a:pt x="1259" y="2281"/>
                      </a:lnTo>
                      <a:lnTo>
                        <a:pt x="1298" y="2278"/>
                      </a:lnTo>
                      <a:lnTo>
                        <a:pt x="1337" y="2275"/>
                      </a:lnTo>
                      <a:lnTo>
                        <a:pt x="1375" y="2270"/>
                      </a:lnTo>
                      <a:lnTo>
                        <a:pt x="1414" y="2265"/>
                      </a:lnTo>
                      <a:lnTo>
                        <a:pt x="1451" y="2260"/>
                      </a:lnTo>
                      <a:lnTo>
                        <a:pt x="1490" y="2254"/>
                      </a:lnTo>
                      <a:lnTo>
                        <a:pt x="1528" y="2246"/>
                      </a:lnTo>
                      <a:lnTo>
                        <a:pt x="1566" y="2239"/>
                      </a:lnTo>
                      <a:lnTo>
                        <a:pt x="1604" y="2229"/>
                      </a:lnTo>
                      <a:lnTo>
                        <a:pt x="1642" y="2220"/>
                      </a:lnTo>
                      <a:lnTo>
                        <a:pt x="1678" y="2210"/>
                      </a:lnTo>
                      <a:lnTo>
                        <a:pt x="1715" y="2198"/>
                      </a:lnTo>
                      <a:lnTo>
                        <a:pt x="1715" y="1845"/>
                      </a:lnTo>
                      <a:lnTo>
                        <a:pt x="1667" y="1862"/>
                      </a:lnTo>
                      <a:lnTo>
                        <a:pt x="1615" y="1877"/>
                      </a:lnTo>
                      <a:lnTo>
                        <a:pt x="1563" y="1891"/>
                      </a:lnTo>
                      <a:lnTo>
                        <a:pt x="1510" y="1904"/>
                      </a:lnTo>
                      <a:lnTo>
                        <a:pt x="1483" y="1909"/>
                      </a:lnTo>
                      <a:lnTo>
                        <a:pt x="1457" y="1913"/>
                      </a:lnTo>
                      <a:lnTo>
                        <a:pt x="1429" y="1917"/>
                      </a:lnTo>
                      <a:lnTo>
                        <a:pt x="1403" y="1920"/>
                      </a:lnTo>
                      <a:lnTo>
                        <a:pt x="1376" y="1923"/>
                      </a:lnTo>
                      <a:lnTo>
                        <a:pt x="1349" y="1926"/>
                      </a:lnTo>
                      <a:lnTo>
                        <a:pt x="1323" y="1927"/>
                      </a:lnTo>
                      <a:lnTo>
                        <a:pt x="1298" y="1928"/>
                      </a:lnTo>
                      <a:lnTo>
                        <a:pt x="1252" y="1926"/>
                      </a:lnTo>
                      <a:lnTo>
                        <a:pt x="1207" y="1922"/>
                      </a:lnTo>
                      <a:lnTo>
                        <a:pt x="1162" y="1916"/>
                      </a:lnTo>
                      <a:lnTo>
                        <a:pt x="1119" y="1907"/>
                      </a:lnTo>
                      <a:lnTo>
                        <a:pt x="1077" y="1896"/>
                      </a:lnTo>
                      <a:lnTo>
                        <a:pt x="1037" y="1883"/>
                      </a:lnTo>
                      <a:lnTo>
                        <a:pt x="997" y="1867"/>
                      </a:lnTo>
                      <a:lnTo>
                        <a:pt x="959" y="1849"/>
                      </a:lnTo>
                      <a:lnTo>
                        <a:pt x="922" y="1829"/>
                      </a:lnTo>
                      <a:lnTo>
                        <a:pt x="886" y="1808"/>
                      </a:lnTo>
                      <a:lnTo>
                        <a:pt x="851" y="1784"/>
                      </a:lnTo>
                      <a:lnTo>
                        <a:pt x="819" y="1759"/>
                      </a:lnTo>
                      <a:lnTo>
                        <a:pt x="787" y="1733"/>
                      </a:lnTo>
                      <a:lnTo>
                        <a:pt x="757" y="1703"/>
                      </a:lnTo>
                      <a:lnTo>
                        <a:pt x="727" y="1674"/>
                      </a:lnTo>
                      <a:lnTo>
                        <a:pt x="700" y="1643"/>
                      </a:lnTo>
                      <a:lnTo>
                        <a:pt x="674" y="1609"/>
                      </a:lnTo>
                      <a:lnTo>
                        <a:pt x="648" y="1575"/>
                      </a:lnTo>
                      <a:lnTo>
                        <a:pt x="625" y="1540"/>
                      </a:lnTo>
                      <a:lnTo>
                        <a:pt x="603" y="1504"/>
                      </a:lnTo>
                      <a:lnTo>
                        <a:pt x="583" y="1466"/>
                      </a:lnTo>
                      <a:lnTo>
                        <a:pt x="565" y="1428"/>
                      </a:lnTo>
                      <a:lnTo>
                        <a:pt x="548" y="1389"/>
                      </a:lnTo>
                      <a:lnTo>
                        <a:pt x="533" y="1349"/>
                      </a:lnTo>
                      <a:lnTo>
                        <a:pt x="519" y="1308"/>
                      </a:lnTo>
                      <a:lnTo>
                        <a:pt x="507" y="1266"/>
                      </a:lnTo>
                      <a:lnTo>
                        <a:pt x="497" y="1224"/>
                      </a:lnTo>
                      <a:lnTo>
                        <a:pt x="489" y="1182"/>
                      </a:lnTo>
                      <a:lnTo>
                        <a:pt x="482" y="1139"/>
                      </a:lnTo>
                      <a:lnTo>
                        <a:pt x="478" y="1096"/>
                      </a:lnTo>
                      <a:lnTo>
                        <a:pt x="475" y="1054"/>
                      </a:lnTo>
                      <a:lnTo>
                        <a:pt x="474" y="1009"/>
                      </a:lnTo>
                      <a:lnTo>
                        <a:pt x="1771" y="1009"/>
                      </a:lnTo>
                      <a:close/>
                      <a:moveTo>
                        <a:pt x="1289" y="702"/>
                      </a:moveTo>
                      <a:lnTo>
                        <a:pt x="488" y="702"/>
                      </a:lnTo>
                      <a:lnTo>
                        <a:pt x="490" y="681"/>
                      </a:lnTo>
                      <a:lnTo>
                        <a:pt x="494" y="662"/>
                      </a:lnTo>
                      <a:lnTo>
                        <a:pt x="498" y="643"/>
                      </a:lnTo>
                      <a:lnTo>
                        <a:pt x="503" y="623"/>
                      </a:lnTo>
                      <a:lnTo>
                        <a:pt x="509" y="604"/>
                      </a:lnTo>
                      <a:lnTo>
                        <a:pt x="515" y="586"/>
                      </a:lnTo>
                      <a:lnTo>
                        <a:pt x="522" y="568"/>
                      </a:lnTo>
                      <a:lnTo>
                        <a:pt x="531" y="550"/>
                      </a:lnTo>
                      <a:lnTo>
                        <a:pt x="540" y="534"/>
                      </a:lnTo>
                      <a:lnTo>
                        <a:pt x="550" y="518"/>
                      </a:lnTo>
                      <a:lnTo>
                        <a:pt x="559" y="502"/>
                      </a:lnTo>
                      <a:lnTo>
                        <a:pt x="571" y="487"/>
                      </a:lnTo>
                      <a:lnTo>
                        <a:pt x="582" y="472"/>
                      </a:lnTo>
                      <a:lnTo>
                        <a:pt x="594" y="458"/>
                      </a:lnTo>
                      <a:lnTo>
                        <a:pt x="607" y="445"/>
                      </a:lnTo>
                      <a:lnTo>
                        <a:pt x="620" y="432"/>
                      </a:lnTo>
                      <a:lnTo>
                        <a:pt x="635" y="419"/>
                      </a:lnTo>
                      <a:lnTo>
                        <a:pt x="648" y="408"/>
                      </a:lnTo>
                      <a:lnTo>
                        <a:pt x="664" y="397"/>
                      </a:lnTo>
                      <a:lnTo>
                        <a:pt x="680" y="387"/>
                      </a:lnTo>
                      <a:lnTo>
                        <a:pt x="696" y="378"/>
                      </a:lnTo>
                      <a:lnTo>
                        <a:pt x="712" y="369"/>
                      </a:lnTo>
                      <a:lnTo>
                        <a:pt x="729" y="362"/>
                      </a:lnTo>
                      <a:lnTo>
                        <a:pt x="747" y="354"/>
                      </a:lnTo>
                      <a:lnTo>
                        <a:pt x="765" y="348"/>
                      </a:lnTo>
                      <a:lnTo>
                        <a:pt x="783" y="342"/>
                      </a:lnTo>
                      <a:lnTo>
                        <a:pt x="802" y="338"/>
                      </a:lnTo>
                      <a:lnTo>
                        <a:pt x="821" y="333"/>
                      </a:lnTo>
                      <a:lnTo>
                        <a:pt x="841" y="330"/>
                      </a:lnTo>
                      <a:lnTo>
                        <a:pt x="861" y="328"/>
                      </a:lnTo>
                      <a:lnTo>
                        <a:pt x="881" y="327"/>
                      </a:lnTo>
                      <a:lnTo>
                        <a:pt x="902" y="326"/>
                      </a:lnTo>
                      <a:lnTo>
                        <a:pt x="923" y="326"/>
                      </a:lnTo>
                      <a:lnTo>
                        <a:pt x="945" y="328"/>
                      </a:lnTo>
                      <a:lnTo>
                        <a:pt x="965" y="330"/>
                      </a:lnTo>
                      <a:lnTo>
                        <a:pt x="986" y="332"/>
                      </a:lnTo>
                      <a:lnTo>
                        <a:pt x="1005" y="337"/>
                      </a:lnTo>
                      <a:lnTo>
                        <a:pt x="1025" y="341"/>
                      </a:lnTo>
                      <a:lnTo>
                        <a:pt x="1043" y="346"/>
                      </a:lnTo>
                      <a:lnTo>
                        <a:pt x="1061" y="352"/>
                      </a:lnTo>
                      <a:lnTo>
                        <a:pt x="1078" y="359"/>
                      </a:lnTo>
                      <a:lnTo>
                        <a:pt x="1095" y="366"/>
                      </a:lnTo>
                      <a:lnTo>
                        <a:pt x="1111" y="374"/>
                      </a:lnTo>
                      <a:lnTo>
                        <a:pt x="1127" y="384"/>
                      </a:lnTo>
                      <a:lnTo>
                        <a:pt x="1142" y="393"/>
                      </a:lnTo>
                      <a:lnTo>
                        <a:pt x="1156" y="404"/>
                      </a:lnTo>
                      <a:lnTo>
                        <a:pt x="1170" y="415"/>
                      </a:lnTo>
                      <a:lnTo>
                        <a:pt x="1182" y="427"/>
                      </a:lnTo>
                      <a:lnTo>
                        <a:pt x="1195" y="439"/>
                      </a:lnTo>
                      <a:lnTo>
                        <a:pt x="1207" y="452"/>
                      </a:lnTo>
                      <a:lnTo>
                        <a:pt x="1217" y="467"/>
                      </a:lnTo>
                      <a:lnTo>
                        <a:pt x="1228" y="480"/>
                      </a:lnTo>
                      <a:lnTo>
                        <a:pt x="1237" y="496"/>
                      </a:lnTo>
                      <a:lnTo>
                        <a:pt x="1245" y="512"/>
                      </a:lnTo>
                      <a:lnTo>
                        <a:pt x="1254" y="528"/>
                      </a:lnTo>
                      <a:lnTo>
                        <a:pt x="1261" y="545"/>
                      </a:lnTo>
                      <a:lnTo>
                        <a:pt x="1267" y="563"/>
                      </a:lnTo>
                      <a:lnTo>
                        <a:pt x="1273" y="581"/>
                      </a:lnTo>
                      <a:lnTo>
                        <a:pt x="1277" y="600"/>
                      </a:lnTo>
                      <a:lnTo>
                        <a:pt x="1281" y="619"/>
                      </a:lnTo>
                      <a:lnTo>
                        <a:pt x="1284" y="640"/>
                      </a:lnTo>
                      <a:lnTo>
                        <a:pt x="1286" y="659"/>
                      </a:lnTo>
                      <a:lnTo>
                        <a:pt x="1287" y="680"/>
                      </a:lnTo>
                      <a:lnTo>
                        <a:pt x="1289"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grpSp>
      </p:grpSp>
      <p:sp>
        <p:nvSpPr>
          <p:cNvPr id="69" name="Freeform 5"/>
          <p:cNvSpPr>
            <a:spLocks noChangeAspect="1" noEditPoints="1"/>
          </p:cNvSpPr>
          <p:nvPr userDrawn="1"/>
        </p:nvSpPr>
        <p:spPr bwMode="auto">
          <a:xfrm>
            <a:off x="5095815" y="845968"/>
            <a:ext cx="3618831" cy="188723"/>
          </a:xfrm>
          <a:custGeom>
            <a:avLst/>
            <a:gdLst>
              <a:gd name="T0" fmla="*/ 140 w 13706"/>
              <a:gd name="T1" fmla="*/ 64 h 628"/>
              <a:gd name="T2" fmla="*/ 13662 w 13706"/>
              <a:gd name="T3" fmla="*/ 399 h 628"/>
              <a:gd name="T4" fmla="*/ 13634 w 13706"/>
              <a:gd name="T5" fmla="*/ 304 h 628"/>
              <a:gd name="T6" fmla="*/ 13214 w 13706"/>
              <a:gd name="T7" fmla="*/ 479 h 628"/>
              <a:gd name="T8" fmla="*/ 13011 w 13706"/>
              <a:gd name="T9" fmla="*/ 199 h 628"/>
              <a:gd name="T10" fmla="*/ 12760 w 13706"/>
              <a:gd name="T11" fmla="*/ 169 h 628"/>
              <a:gd name="T12" fmla="*/ 12653 w 13706"/>
              <a:gd name="T13" fmla="*/ 486 h 628"/>
              <a:gd name="T14" fmla="*/ 12694 w 13706"/>
              <a:gd name="T15" fmla="*/ 206 h 628"/>
              <a:gd name="T16" fmla="*/ 12403 w 13706"/>
              <a:gd name="T17" fmla="*/ 338 h 628"/>
              <a:gd name="T18" fmla="*/ 12281 w 13706"/>
              <a:gd name="T19" fmla="*/ 248 h 628"/>
              <a:gd name="T20" fmla="*/ 12096 w 13706"/>
              <a:gd name="T21" fmla="*/ 229 h 628"/>
              <a:gd name="T22" fmla="*/ 11969 w 13706"/>
              <a:gd name="T23" fmla="*/ 477 h 628"/>
              <a:gd name="T24" fmla="*/ 11969 w 13706"/>
              <a:gd name="T25" fmla="*/ 477 h 628"/>
              <a:gd name="T26" fmla="*/ 11505 w 13706"/>
              <a:gd name="T27" fmla="*/ 221 h 628"/>
              <a:gd name="T28" fmla="*/ 11116 w 13706"/>
              <a:gd name="T29" fmla="*/ 253 h 628"/>
              <a:gd name="T30" fmla="*/ 10813 w 13706"/>
              <a:gd name="T31" fmla="*/ 0 h 628"/>
              <a:gd name="T32" fmla="*/ 10560 w 13706"/>
              <a:gd name="T33" fmla="*/ 169 h 628"/>
              <a:gd name="T34" fmla="*/ 10112 w 13706"/>
              <a:gd name="T35" fmla="*/ 479 h 628"/>
              <a:gd name="T36" fmla="*/ 10024 w 13706"/>
              <a:gd name="T37" fmla="*/ 559 h 628"/>
              <a:gd name="T38" fmla="*/ 9827 w 13706"/>
              <a:gd name="T39" fmla="*/ 161 h 628"/>
              <a:gd name="T40" fmla="*/ 9369 w 13706"/>
              <a:gd name="T41" fmla="*/ 199 h 628"/>
              <a:gd name="T42" fmla="*/ 9123 w 13706"/>
              <a:gd name="T43" fmla="*/ 307 h 628"/>
              <a:gd name="T44" fmla="*/ 9167 w 13706"/>
              <a:gd name="T45" fmla="*/ 257 h 628"/>
              <a:gd name="T46" fmla="*/ 8669 w 13706"/>
              <a:gd name="T47" fmla="*/ 29 h 628"/>
              <a:gd name="T48" fmla="*/ 8458 w 13706"/>
              <a:gd name="T49" fmla="*/ 161 h 628"/>
              <a:gd name="T50" fmla="*/ 8103 w 13706"/>
              <a:gd name="T51" fmla="*/ 257 h 628"/>
              <a:gd name="T52" fmla="*/ 8210 w 13706"/>
              <a:gd name="T53" fmla="*/ 449 h 628"/>
              <a:gd name="T54" fmla="*/ 7930 w 13706"/>
              <a:gd name="T55" fmla="*/ 479 h 628"/>
              <a:gd name="T56" fmla="*/ 7250 w 13706"/>
              <a:gd name="T57" fmla="*/ 479 h 628"/>
              <a:gd name="T58" fmla="*/ 7061 w 13706"/>
              <a:gd name="T59" fmla="*/ 438 h 628"/>
              <a:gd name="T60" fmla="*/ 7105 w 13706"/>
              <a:gd name="T61" fmla="*/ 479 h 628"/>
              <a:gd name="T62" fmla="*/ 6762 w 13706"/>
              <a:gd name="T63" fmla="*/ 68 h 628"/>
              <a:gd name="T64" fmla="*/ 6549 w 13706"/>
              <a:gd name="T65" fmla="*/ 169 h 628"/>
              <a:gd name="T66" fmla="*/ 6330 w 13706"/>
              <a:gd name="T67" fmla="*/ 199 h 628"/>
              <a:gd name="T68" fmla="*/ 6403 w 13706"/>
              <a:gd name="T69" fmla="*/ 219 h 628"/>
              <a:gd name="T70" fmla="*/ 6091 w 13706"/>
              <a:gd name="T71" fmla="*/ 479 h 628"/>
              <a:gd name="T72" fmla="*/ 5808 w 13706"/>
              <a:gd name="T73" fmla="*/ 437 h 628"/>
              <a:gd name="T74" fmla="*/ 5823 w 13706"/>
              <a:gd name="T75" fmla="*/ 29 h 628"/>
              <a:gd name="T76" fmla="*/ 5107 w 13706"/>
              <a:gd name="T77" fmla="*/ 318 h 628"/>
              <a:gd name="T78" fmla="*/ 5105 w 13706"/>
              <a:gd name="T79" fmla="*/ 219 h 628"/>
              <a:gd name="T80" fmla="*/ 5107 w 13706"/>
              <a:gd name="T81" fmla="*/ 420 h 628"/>
              <a:gd name="T82" fmla="*/ 4667 w 13706"/>
              <a:gd name="T83" fmla="*/ 240 h 628"/>
              <a:gd name="T84" fmla="*/ 4467 w 13706"/>
              <a:gd name="T85" fmla="*/ 88 h 628"/>
              <a:gd name="T86" fmla="*/ 4230 w 13706"/>
              <a:gd name="T87" fmla="*/ 169 h 628"/>
              <a:gd name="T88" fmla="*/ 4406 w 13706"/>
              <a:gd name="T89" fmla="*/ 443 h 628"/>
              <a:gd name="T90" fmla="*/ 3866 w 13706"/>
              <a:gd name="T91" fmla="*/ 486 h 628"/>
              <a:gd name="T92" fmla="*/ 3964 w 13706"/>
              <a:gd name="T93" fmla="*/ 479 h 628"/>
              <a:gd name="T94" fmla="*/ 3634 w 13706"/>
              <a:gd name="T95" fmla="*/ 199 h 628"/>
              <a:gd name="T96" fmla="*/ 3367 w 13706"/>
              <a:gd name="T97" fmla="*/ 206 h 628"/>
              <a:gd name="T98" fmla="*/ 3457 w 13706"/>
              <a:gd name="T99" fmla="*/ 479 h 628"/>
              <a:gd name="T100" fmla="*/ 3031 w 13706"/>
              <a:gd name="T101" fmla="*/ 486 h 628"/>
              <a:gd name="T102" fmla="*/ 2749 w 13706"/>
              <a:gd name="T103" fmla="*/ 444 h 628"/>
              <a:gd name="T104" fmla="*/ 1793 w 13706"/>
              <a:gd name="T105" fmla="*/ 169 h 628"/>
              <a:gd name="T106" fmla="*/ 1562 w 13706"/>
              <a:gd name="T107" fmla="*/ 326 h 628"/>
              <a:gd name="T108" fmla="*/ 1699 w 13706"/>
              <a:gd name="T109" fmla="*/ 169 h 628"/>
              <a:gd name="T110" fmla="*/ 1349 w 13706"/>
              <a:gd name="T111" fmla="*/ 199 h 628"/>
              <a:gd name="T112" fmla="*/ 1281 w 13706"/>
              <a:gd name="T113" fmla="*/ 313 h 628"/>
              <a:gd name="T114" fmla="*/ 1061 w 13706"/>
              <a:gd name="T115" fmla="*/ 169 h 628"/>
              <a:gd name="T116" fmla="*/ 1187 w 13706"/>
              <a:gd name="T117" fmla="*/ 483 h 628"/>
              <a:gd name="T118" fmla="*/ 803 w 13706"/>
              <a:gd name="T119" fmla="*/ 486 h 628"/>
              <a:gd name="T120" fmla="*/ 899 w 13706"/>
              <a:gd name="T121" fmla="*/ 479 h 628"/>
              <a:gd name="T122" fmla="*/ 545 w 13706"/>
              <a:gd name="T123" fmla="*/ 479 h 628"/>
              <a:gd name="T124" fmla="*/ 400 w 13706"/>
              <a:gd name="T125" fmla="*/ 1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6" h="628">
                <a:moveTo>
                  <a:pt x="5" y="420"/>
                </a:moveTo>
                <a:cubicBezTo>
                  <a:pt x="40" y="435"/>
                  <a:pt x="76" y="444"/>
                  <a:pt x="115" y="444"/>
                </a:cubicBezTo>
                <a:cubicBezTo>
                  <a:pt x="163" y="444"/>
                  <a:pt x="212" y="422"/>
                  <a:pt x="212" y="367"/>
                </a:cubicBezTo>
                <a:cubicBezTo>
                  <a:pt x="212" y="317"/>
                  <a:pt x="176" y="299"/>
                  <a:pt x="137" y="276"/>
                </a:cubicBezTo>
                <a:lnTo>
                  <a:pt x="97" y="254"/>
                </a:lnTo>
                <a:cubicBezTo>
                  <a:pt x="48" y="227"/>
                  <a:pt x="0" y="203"/>
                  <a:pt x="0" y="137"/>
                </a:cubicBezTo>
                <a:cubicBezTo>
                  <a:pt x="0" y="53"/>
                  <a:pt x="72" y="22"/>
                  <a:pt x="145" y="22"/>
                </a:cubicBezTo>
                <a:cubicBezTo>
                  <a:pt x="177" y="22"/>
                  <a:pt x="208" y="28"/>
                  <a:pt x="239" y="34"/>
                </a:cubicBezTo>
                <a:lnTo>
                  <a:pt x="239" y="84"/>
                </a:lnTo>
                <a:cubicBezTo>
                  <a:pt x="208" y="71"/>
                  <a:pt x="174" y="64"/>
                  <a:pt x="140" y="64"/>
                </a:cubicBezTo>
                <a:cubicBezTo>
                  <a:pt x="97" y="64"/>
                  <a:pt x="56" y="84"/>
                  <a:pt x="56" y="133"/>
                </a:cubicBezTo>
                <a:cubicBezTo>
                  <a:pt x="56" y="174"/>
                  <a:pt x="99" y="195"/>
                  <a:pt x="131" y="213"/>
                </a:cubicBezTo>
                <a:lnTo>
                  <a:pt x="172" y="236"/>
                </a:lnTo>
                <a:cubicBezTo>
                  <a:pt x="225" y="266"/>
                  <a:pt x="268" y="292"/>
                  <a:pt x="268" y="360"/>
                </a:cubicBezTo>
                <a:cubicBezTo>
                  <a:pt x="268" y="454"/>
                  <a:pt x="191" y="486"/>
                  <a:pt x="109" y="486"/>
                </a:cubicBezTo>
                <a:cubicBezTo>
                  <a:pt x="73" y="486"/>
                  <a:pt x="39" y="481"/>
                  <a:pt x="5" y="473"/>
                </a:cubicBezTo>
                <a:lnTo>
                  <a:pt x="5" y="420"/>
                </a:lnTo>
                <a:close/>
                <a:moveTo>
                  <a:pt x="13506" y="433"/>
                </a:moveTo>
                <a:cubicBezTo>
                  <a:pt x="13532" y="441"/>
                  <a:pt x="13558" y="449"/>
                  <a:pt x="13586" y="449"/>
                </a:cubicBezTo>
                <a:cubicBezTo>
                  <a:pt x="13619" y="449"/>
                  <a:pt x="13662" y="440"/>
                  <a:pt x="13662" y="399"/>
                </a:cubicBezTo>
                <a:cubicBezTo>
                  <a:pt x="13662" y="368"/>
                  <a:pt x="13628" y="355"/>
                  <a:pt x="13606" y="343"/>
                </a:cubicBezTo>
                <a:lnTo>
                  <a:pt x="13577" y="328"/>
                </a:lnTo>
                <a:cubicBezTo>
                  <a:pt x="13541" y="309"/>
                  <a:pt x="13507" y="291"/>
                  <a:pt x="13507" y="244"/>
                </a:cubicBezTo>
                <a:cubicBezTo>
                  <a:pt x="13507" y="183"/>
                  <a:pt x="13560" y="161"/>
                  <a:pt x="13613" y="161"/>
                </a:cubicBezTo>
                <a:cubicBezTo>
                  <a:pt x="13639" y="161"/>
                  <a:pt x="13662" y="166"/>
                  <a:pt x="13686" y="172"/>
                </a:cubicBezTo>
                <a:lnTo>
                  <a:pt x="13686" y="213"/>
                </a:lnTo>
                <a:cubicBezTo>
                  <a:pt x="13664" y="205"/>
                  <a:pt x="13637" y="199"/>
                  <a:pt x="13614" y="199"/>
                </a:cubicBezTo>
                <a:cubicBezTo>
                  <a:pt x="13590" y="199"/>
                  <a:pt x="13551" y="209"/>
                  <a:pt x="13551" y="239"/>
                </a:cubicBezTo>
                <a:cubicBezTo>
                  <a:pt x="13551" y="265"/>
                  <a:pt x="13589" y="277"/>
                  <a:pt x="13607" y="288"/>
                </a:cubicBezTo>
                <a:lnTo>
                  <a:pt x="13634" y="304"/>
                </a:lnTo>
                <a:cubicBezTo>
                  <a:pt x="13672" y="326"/>
                  <a:pt x="13706" y="342"/>
                  <a:pt x="13706" y="392"/>
                </a:cubicBezTo>
                <a:cubicBezTo>
                  <a:pt x="13706" y="462"/>
                  <a:pt x="13652" y="486"/>
                  <a:pt x="13590" y="486"/>
                </a:cubicBezTo>
                <a:cubicBezTo>
                  <a:pt x="13562" y="486"/>
                  <a:pt x="13534" y="482"/>
                  <a:pt x="13506" y="473"/>
                </a:cubicBezTo>
                <a:lnTo>
                  <a:pt x="13506" y="433"/>
                </a:lnTo>
                <a:close/>
                <a:moveTo>
                  <a:pt x="13392" y="479"/>
                </a:moveTo>
                <a:lnTo>
                  <a:pt x="13392" y="307"/>
                </a:lnTo>
                <a:cubicBezTo>
                  <a:pt x="13392" y="272"/>
                  <a:pt x="13398" y="206"/>
                  <a:pt x="13346" y="206"/>
                </a:cubicBezTo>
                <a:cubicBezTo>
                  <a:pt x="13284" y="206"/>
                  <a:pt x="13258" y="303"/>
                  <a:pt x="13258" y="351"/>
                </a:cubicBezTo>
                <a:lnTo>
                  <a:pt x="13258" y="479"/>
                </a:lnTo>
                <a:lnTo>
                  <a:pt x="13214" y="479"/>
                </a:lnTo>
                <a:lnTo>
                  <a:pt x="13214" y="169"/>
                </a:lnTo>
                <a:lnTo>
                  <a:pt x="13258" y="169"/>
                </a:lnTo>
                <a:lnTo>
                  <a:pt x="13258" y="240"/>
                </a:lnTo>
                <a:lnTo>
                  <a:pt x="13260" y="240"/>
                </a:lnTo>
                <a:cubicBezTo>
                  <a:pt x="13275" y="192"/>
                  <a:pt x="13303" y="161"/>
                  <a:pt x="13357" y="161"/>
                </a:cubicBezTo>
                <a:cubicBezTo>
                  <a:pt x="13411" y="161"/>
                  <a:pt x="13436" y="208"/>
                  <a:pt x="13436" y="257"/>
                </a:cubicBezTo>
                <a:lnTo>
                  <a:pt x="13436" y="479"/>
                </a:lnTo>
                <a:lnTo>
                  <a:pt x="13392" y="479"/>
                </a:lnTo>
                <a:close/>
                <a:moveTo>
                  <a:pt x="13088" y="324"/>
                </a:moveTo>
                <a:cubicBezTo>
                  <a:pt x="13088" y="274"/>
                  <a:pt x="13076" y="199"/>
                  <a:pt x="13011" y="199"/>
                </a:cubicBezTo>
                <a:cubicBezTo>
                  <a:pt x="12946" y="199"/>
                  <a:pt x="12935" y="274"/>
                  <a:pt x="12935" y="324"/>
                </a:cubicBezTo>
                <a:cubicBezTo>
                  <a:pt x="12935" y="373"/>
                  <a:pt x="12946" y="449"/>
                  <a:pt x="13011" y="449"/>
                </a:cubicBezTo>
                <a:cubicBezTo>
                  <a:pt x="13076" y="449"/>
                  <a:pt x="13088" y="374"/>
                  <a:pt x="13088" y="324"/>
                </a:cubicBezTo>
                <a:close/>
                <a:moveTo>
                  <a:pt x="12884" y="325"/>
                </a:moveTo>
                <a:cubicBezTo>
                  <a:pt x="12884" y="241"/>
                  <a:pt x="12914" y="161"/>
                  <a:pt x="13011" y="161"/>
                </a:cubicBezTo>
                <a:cubicBezTo>
                  <a:pt x="13108" y="161"/>
                  <a:pt x="13139" y="241"/>
                  <a:pt x="13139" y="325"/>
                </a:cubicBezTo>
                <a:cubicBezTo>
                  <a:pt x="13139" y="409"/>
                  <a:pt x="13108" y="486"/>
                  <a:pt x="13011" y="486"/>
                </a:cubicBezTo>
                <a:cubicBezTo>
                  <a:pt x="12914" y="486"/>
                  <a:pt x="12884" y="409"/>
                  <a:pt x="12884" y="325"/>
                </a:cubicBezTo>
                <a:close/>
                <a:moveTo>
                  <a:pt x="12760" y="479"/>
                </a:moveTo>
                <a:lnTo>
                  <a:pt x="12760" y="169"/>
                </a:lnTo>
                <a:lnTo>
                  <a:pt x="12804" y="169"/>
                </a:lnTo>
                <a:lnTo>
                  <a:pt x="12804" y="479"/>
                </a:lnTo>
                <a:lnTo>
                  <a:pt x="12760" y="479"/>
                </a:lnTo>
                <a:close/>
                <a:moveTo>
                  <a:pt x="12752" y="88"/>
                </a:moveTo>
                <a:lnTo>
                  <a:pt x="12752" y="29"/>
                </a:lnTo>
                <a:lnTo>
                  <a:pt x="12811" y="29"/>
                </a:lnTo>
                <a:lnTo>
                  <a:pt x="12811" y="88"/>
                </a:lnTo>
                <a:lnTo>
                  <a:pt x="12752" y="88"/>
                </a:lnTo>
                <a:close/>
                <a:moveTo>
                  <a:pt x="12692" y="483"/>
                </a:moveTo>
                <a:cubicBezTo>
                  <a:pt x="12679" y="485"/>
                  <a:pt x="12666" y="486"/>
                  <a:pt x="12653" y="486"/>
                </a:cubicBezTo>
                <a:cubicBezTo>
                  <a:pt x="12594" y="486"/>
                  <a:pt x="12567" y="467"/>
                  <a:pt x="12567" y="406"/>
                </a:cubicBezTo>
                <a:lnTo>
                  <a:pt x="12567" y="206"/>
                </a:lnTo>
                <a:lnTo>
                  <a:pt x="12516" y="206"/>
                </a:lnTo>
                <a:lnTo>
                  <a:pt x="12516" y="169"/>
                </a:lnTo>
                <a:lnTo>
                  <a:pt x="12567" y="169"/>
                </a:lnTo>
                <a:lnTo>
                  <a:pt x="12567" y="96"/>
                </a:lnTo>
                <a:lnTo>
                  <a:pt x="12611" y="68"/>
                </a:lnTo>
                <a:lnTo>
                  <a:pt x="12611" y="169"/>
                </a:lnTo>
                <a:lnTo>
                  <a:pt x="12694" y="169"/>
                </a:lnTo>
                <a:lnTo>
                  <a:pt x="12694" y="206"/>
                </a:lnTo>
                <a:lnTo>
                  <a:pt x="12611" y="206"/>
                </a:lnTo>
                <a:lnTo>
                  <a:pt x="12611" y="397"/>
                </a:lnTo>
                <a:cubicBezTo>
                  <a:pt x="12611" y="430"/>
                  <a:pt x="12626" y="449"/>
                  <a:pt x="12662" y="449"/>
                </a:cubicBezTo>
                <a:cubicBezTo>
                  <a:pt x="12674" y="449"/>
                  <a:pt x="12681" y="448"/>
                  <a:pt x="12692" y="443"/>
                </a:cubicBezTo>
                <a:lnTo>
                  <a:pt x="12692" y="483"/>
                </a:lnTo>
                <a:close/>
                <a:moveTo>
                  <a:pt x="12377" y="338"/>
                </a:moveTo>
                <a:cubicBezTo>
                  <a:pt x="12338" y="338"/>
                  <a:pt x="12276" y="355"/>
                  <a:pt x="12276" y="404"/>
                </a:cubicBezTo>
                <a:cubicBezTo>
                  <a:pt x="12276" y="430"/>
                  <a:pt x="12293" y="449"/>
                  <a:pt x="12319" y="449"/>
                </a:cubicBezTo>
                <a:cubicBezTo>
                  <a:pt x="12349" y="449"/>
                  <a:pt x="12379" y="429"/>
                  <a:pt x="12392" y="401"/>
                </a:cubicBezTo>
                <a:cubicBezTo>
                  <a:pt x="12402" y="378"/>
                  <a:pt x="12403" y="364"/>
                  <a:pt x="12403" y="338"/>
                </a:cubicBezTo>
                <a:lnTo>
                  <a:pt x="12377" y="338"/>
                </a:lnTo>
                <a:close/>
                <a:moveTo>
                  <a:pt x="12405" y="479"/>
                </a:moveTo>
                <a:lnTo>
                  <a:pt x="12405" y="438"/>
                </a:lnTo>
                <a:lnTo>
                  <a:pt x="12403" y="438"/>
                </a:lnTo>
                <a:cubicBezTo>
                  <a:pt x="12386" y="471"/>
                  <a:pt x="12343" y="486"/>
                  <a:pt x="12308" y="486"/>
                </a:cubicBezTo>
                <a:cubicBezTo>
                  <a:pt x="12254" y="486"/>
                  <a:pt x="12225" y="452"/>
                  <a:pt x="12225" y="400"/>
                </a:cubicBezTo>
                <a:cubicBezTo>
                  <a:pt x="12225" y="330"/>
                  <a:pt x="12305" y="301"/>
                  <a:pt x="12403" y="301"/>
                </a:cubicBezTo>
                <a:lnTo>
                  <a:pt x="12403" y="295"/>
                </a:lnTo>
                <a:cubicBezTo>
                  <a:pt x="12403" y="248"/>
                  <a:pt x="12406" y="199"/>
                  <a:pt x="12345" y="199"/>
                </a:cubicBezTo>
                <a:cubicBezTo>
                  <a:pt x="12307" y="199"/>
                  <a:pt x="12287" y="211"/>
                  <a:pt x="12281" y="248"/>
                </a:cubicBezTo>
                <a:lnTo>
                  <a:pt x="12232" y="248"/>
                </a:lnTo>
                <a:cubicBezTo>
                  <a:pt x="12234" y="186"/>
                  <a:pt x="12287" y="161"/>
                  <a:pt x="12343" y="161"/>
                </a:cubicBezTo>
                <a:cubicBezTo>
                  <a:pt x="12414" y="161"/>
                  <a:pt x="12448" y="191"/>
                  <a:pt x="12448" y="261"/>
                </a:cubicBezTo>
                <a:lnTo>
                  <a:pt x="12448" y="479"/>
                </a:lnTo>
                <a:lnTo>
                  <a:pt x="12405" y="479"/>
                </a:lnTo>
                <a:close/>
                <a:moveTo>
                  <a:pt x="12050" y="479"/>
                </a:moveTo>
                <a:lnTo>
                  <a:pt x="12050" y="169"/>
                </a:lnTo>
                <a:lnTo>
                  <a:pt x="12095" y="169"/>
                </a:lnTo>
                <a:lnTo>
                  <a:pt x="12095" y="229"/>
                </a:lnTo>
                <a:lnTo>
                  <a:pt x="12096" y="229"/>
                </a:lnTo>
                <a:cubicBezTo>
                  <a:pt x="12116" y="184"/>
                  <a:pt x="12150" y="161"/>
                  <a:pt x="12200" y="161"/>
                </a:cubicBezTo>
                <a:lnTo>
                  <a:pt x="12200" y="209"/>
                </a:lnTo>
                <a:cubicBezTo>
                  <a:pt x="12119" y="209"/>
                  <a:pt x="12095" y="283"/>
                  <a:pt x="12095" y="351"/>
                </a:cubicBezTo>
                <a:lnTo>
                  <a:pt x="12095" y="479"/>
                </a:lnTo>
                <a:lnTo>
                  <a:pt x="12050" y="479"/>
                </a:lnTo>
                <a:close/>
                <a:moveTo>
                  <a:pt x="11925" y="257"/>
                </a:moveTo>
                <a:cubicBezTo>
                  <a:pt x="11925" y="223"/>
                  <a:pt x="11900" y="199"/>
                  <a:pt x="11866" y="199"/>
                </a:cubicBezTo>
                <a:cubicBezTo>
                  <a:pt x="11828" y="199"/>
                  <a:pt x="11808" y="223"/>
                  <a:pt x="11800" y="257"/>
                </a:cubicBezTo>
                <a:lnTo>
                  <a:pt x="11925" y="257"/>
                </a:lnTo>
                <a:close/>
                <a:moveTo>
                  <a:pt x="11969" y="477"/>
                </a:moveTo>
                <a:cubicBezTo>
                  <a:pt x="11946" y="484"/>
                  <a:pt x="11922" y="486"/>
                  <a:pt x="11898" y="486"/>
                </a:cubicBezTo>
                <a:cubicBezTo>
                  <a:pt x="11790" y="486"/>
                  <a:pt x="11746" y="415"/>
                  <a:pt x="11746" y="313"/>
                </a:cubicBezTo>
                <a:cubicBezTo>
                  <a:pt x="11746" y="233"/>
                  <a:pt x="11776" y="161"/>
                  <a:pt x="11868" y="161"/>
                </a:cubicBezTo>
                <a:cubicBezTo>
                  <a:pt x="11939" y="161"/>
                  <a:pt x="11976" y="210"/>
                  <a:pt x="11976" y="280"/>
                </a:cubicBezTo>
                <a:lnTo>
                  <a:pt x="11976" y="295"/>
                </a:lnTo>
                <a:lnTo>
                  <a:pt x="11797" y="295"/>
                </a:lnTo>
                <a:lnTo>
                  <a:pt x="11797" y="313"/>
                </a:lnTo>
                <a:cubicBezTo>
                  <a:pt x="11797" y="381"/>
                  <a:pt x="11831" y="449"/>
                  <a:pt x="11907" y="449"/>
                </a:cubicBezTo>
                <a:cubicBezTo>
                  <a:pt x="11929" y="449"/>
                  <a:pt x="11948" y="446"/>
                  <a:pt x="11969" y="441"/>
                </a:cubicBezTo>
                <a:lnTo>
                  <a:pt x="11969" y="477"/>
                </a:lnTo>
                <a:close/>
                <a:moveTo>
                  <a:pt x="11642" y="313"/>
                </a:moveTo>
                <a:cubicBezTo>
                  <a:pt x="11642" y="270"/>
                  <a:pt x="11634" y="199"/>
                  <a:pt x="11577" y="199"/>
                </a:cubicBezTo>
                <a:cubicBezTo>
                  <a:pt x="11520" y="199"/>
                  <a:pt x="11504" y="279"/>
                  <a:pt x="11504" y="323"/>
                </a:cubicBezTo>
                <a:cubicBezTo>
                  <a:pt x="11504" y="366"/>
                  <a:pt x="11517" y="449"/>
                  <a:pt x="11576" y="449"/>
                </a:cubicBezTo>
                <a:cubicBezTo>
                  <a:pt x="11637" y="449"/>
                  <a:pt x="11642" y="356"/>
                  <a:pt x="11642" y="313"/>
                </a:cubicBezTo>
                <a:close/>
                <a:moveTo>
                  <a:pt x="11460" y="619"/>
                </a:moveTo>
                <a:lnTo>
                  <a:pt x="11460" y="169"/>
                </a:lnTo>
                <a:lnTo>
                  <a:pt x="11504" y="169"/>
                </a:lnTo>
                <a:lnTo>
                  <a:pt x="11504" y="221"/>
                </a:lnTo>
                <a:lnTo>
                  <a:pt x="11505" y="221"/>
                </a:lnTo>
                <a:cubicBezTo>
                  <a:pt x="11516" y="185"/>
                  <a:pt x="11548" y="161"/>
                  <a:pt x="11586" y="161"/>
                </a:cubicBezTo>
                <a:cubicBezTo>
                  <a:pt x="11676" y="161"/>
                  <a:pt x="11693" y="249"/>
                  <a:pt x="11693" y="321"/>
                </a:cubicBezTo>
                <a:cubicBezTo>
                  <a:pt x="11693" y="388"/>
                  <a:pt x="11672" y="486"/>
                  <a:pt x="11587" y="486"/>
                </a:cubicBezTo>
                <a:cubicBezTo>
                  <a:pt x="11547" y="486"/>
                  <a:pt x="11518" y="467"/>
                  <a:pt x="11505" y="428"/>
                </a:cubicBezTo>
                <a:lnTo>
                  <a:pt x="11504" y="428"/>
                </a:lnTo>
                <a:lnTo>
                  <a:pt x="11504" y="619"/>
                </a:lnTo>
                <a:lnTo>
                  <a:pt x="11460" y="619"/>
                </a:lnTo>
                <a:close/>
                <a:moveTo>
                  <a:pt x="11325" y="253"/>
                </a:moveTo>
                <a:cubicBezTo>
                  <a:pt x="11325" y="182"/>
                  <a:pt x="11315" y="64"/>
                  <a:pt x="11221" y="64"/>
                </a:cubicBezTo>
                <a:cubicBezTo>
                  <a:pt x="11126" y="64"/>
                  <a:pt x="11116" y="182"/>
                  <a:pt x="11116" y="253"/>
                </a:cubicBezTo>
                <a:cubicBezTo>
                  <a:pt x="11116" y="324"/>
                  <a:pt x="11126" y="444"/>
                  <a:pt x="11221" y="444"/>
                </a:cubicBezTo>
                <a:cubicBezTo>
                  <a:pt x="11315" y="444"/>
                  <a:pt x="11325" y="323"/>
                  <a:pt x="11325" y="253"/>
                </a:cubicBezTo>
                <a:close/>
                <a:moveTo>
                  <a:pt x="11060" y="253"/>
                </a:moveTo>
                <a:cubicBezTo>
                  <a:pt x="11060" y="144"/>
                  <a:pt x="11088" y="22"/>
                  <a:pt x="11221" y="22"/>
                </a:cubicBezTo>
                <a:cubicBezTo>
                  <a:pt x="11353" y="22"/>
                  <a:pt x="11381" y="146"/>
                  <a:pt x="11381" y="253"/>
                </a:cubicBezTo>
                <a:cubicBezTo>
                  <a:pt x="11381" y="360"/>
                  <a:pt x="11353" y="486"/>
                  <a:pt x="11221" y="486"/>
                </a:cubicBezTo>
                <a:cubicBezTo>
                  <a:pt x="11088" y="486"/>
                  <a:pt x="11060" y="360"/>
                  <a:pt x="11060" y="253"/>
                </a:cubicBezTo>
                <a:close/>
                <a:moveTo>
                  <a:pt x="10779" y="628"/>
                </a:moveTo>
                <a:lnTo>
                  <a:pt x="10779" y="0"/>
                </a:lnTo>
                <a:lnTo>
                  <a:pt x="10813" y="0"/>
                </a:lnTo>
                <a:lnTo>
                  <a:pt x="10813" y="628"/>
                </a:lnTo>
                <a:lnTo>
                  <a:pt x="10779" y="628"/>
                </a:lnTo>
                <a:close/>
                <a:moveTo>
                  <a:pt x="10364" y="605"/>
                </a:moveTo>
                <a:lnTo>
                  <a:pt x="10408" y="479"/>
                </a:lnTo>
                <a:lnTo>
                  <a:pt x="10289" y="169"/>
                </a:lnTo>
                <a:lnTo>
                  <a:pt x="10337" y="169"/>
                </a:lnTo>
                <a:lnTo>
                  <a:pt x="10427" y="413"/>
                </a:lnTo>
                <a:lnTo>
                  <a:pt x="10429" y="413"/>
                </a:lnTo>
                <a:lnTo>
                  <a:pt x="10512" y="169"/>
                </a:lnTo>
                <a:lnTo>
                  <a:pt x="10560" y="169"/>
                </a:lnTo>
                <a:lnTo>
                  <a:pt x="10410" y="605"/>
                </a:lnTo>
                <a:lnTo>
                  <a:pt x="10364" y="605"/>
                </a:lnTo>
                <a:close/>
                <a:moveTo>
                  <a:pt x="10196" y="318"/>
                </a:moveTo>
                <a:cubicBezTo>
                  <a:pt x="10196" y="275"/>
                  <a:pt x="10178" y="199"/>
                  <a:pt x="10123" y="199"/>
                </a:cubicBezTo>
                <a:cubicBezTo>
                  <a:pt x="10065" y="199"/>
                  <a:pt x="10058" y="286"/>
                  <a:pt x="10058" y="326"/>
                </a:cubicBezTo>
                <a:cubicBezTo>
                  <a:pt x="10058" y="367"/>
                  <a:pt x="10066" y="442"/>
                  <a:pt x="10121" y="442"/>
                </a:cubicBezTo>
                <a:cubicBezTo>
                  <a:pt x="10178" y="442"/>
                  <a:pt x="10196" y="362"/>
                  <a:pt x="10196" y="318"/>
                </a:cubicBezTo>
                <a:close/>
                <a:moveTo>
                  <a:pt x="10196" y="420"/>
                </a:moveTo>
                <a:lnTo>
                  <a:pt x="10194" y="420"/>
                </a:lnTo>
                <a:cubicBezTo>
                  <a:pt x="10182" y="457"/>
                  <a:pt x="10151" y="479"/>
                  <a:pt x="10112" y="479"/>
                </a:cubicBezTo>
                <a:cubicBezTo>
                  <a:pt x="10027" y="479"/>
                  <a:pt x="10007" y="396"/>
                  <a:pt x="10007" y="326"/>
                </a:cubicBezTo>
                <a:cubicBezTo>
                  <a:pt x="10007" y="259"/>
                  <a:pt x="10028" y="161"/>
                  <a:pt x="10113" y="161"/>
                </a:cubicBezTo>
                <a:cubicBezTo>
                  <a:pt x="10151" y="161"/>
                  <a:pt x="10184" y="183"/>
                  <a:pt x="10194" y="219"/>
                </a:cubicBezTo>
                <a:lnTo>
                  <a:pt x="10196" y="219"/>
                </a:lnTo>
                <a:lnTo>
                  <a:pt x="10196" y="169"/>
                </a:lnTo>
                <a:lnTo>
                  <a:pt x="10240" y="169"/>
                </a:lnTo>
                <a:lnTo>
                  <a:pt x="10240" y="480"/>
                </a:lnTo>
                <a:cubicBezTo>
                  <a:pt x="10240" y="569"/>
                  <a:pt x="10198" y="615"/>
                  <a:pt x="10108" y="615"/>
                </a:cubicBezTo>
                <a:cubicBezTo>
                  <a:pt x="10078" y="615"/>
                  <a:pt x="10053" y="610"/>
                  <a:pt x="10024" y="604"/>
                </a:cubicBezTo>
                <a:lnTo>
                  <a:pt x="10024" y="559"/>
                </a:lnTo>
                <a:cubicBezTo>
                  <a:pt x="10049" y="572"/>
                  <a:pt x="10074" y="578"/>
                  <a:pt x="10102" y="578"/>
                </a:cubicBezTo>
                <a:cubicBezTo>
                  <a:pt x="10173" y="578"/>
                  <a:pt x="10196" y="541"/>
                  <a:pt x="10196" y="475"/>
                </a:cubicBezTo>
                <a:lnTo>
                  <a:pt x="10196" y="420"/>
                </a:lnTo>
                <a:close/>
                <a:moveTo>
                  <a:pt x="9904" y="324"/>
                </a:moveTo>
                <a:cubicBezTo>
                  <a:pt x="9904" y="274"/>
                  <a:pt x="9892" y="199"/>
                  <a:pt x="9827" y="199"/>
                </a:cubicBezTo>
                <a:cubicBezTo>
                  <a:pt x="9762" y="199"/>
                  <a:pt x="9751" y="274"/>
                  <a:pt x="9751" y="324"/>
                </a:cubicBezTo>
                <a:cubicBezTo>
                  <a:pt x="9751" y="373"/>
                  <a:pt x="9762" y="449"/>
                  <a:pt x="9827" y="449"/>
                </a:cubicBezTo>
                <a:cubicBezTo>
                  <a:pt x="9892" y="449"/>
                  <a:pt x="9904" y="374"/>
                  <a:pt x="9904" y="324"/>
                </a:cubicBezTo>
                <a:close/>
                <a:moveTo>
                  <a:pt x="9700" y="325"/>
                </a:moveTo>
                <a:cubicBezTo>
                  <a:pt x="9700" y="241"/>
                  <a:pt x="9730" y="161"/>
                  <a:pt x="9827" y="161"/>
                </a:cubicBezTo>
                <a:cubicBezTo>
                  <a:pt x="9924" y="161"/>
                  <a:pt x="9955" y="241"/>
                  <a:pt x="9955" y="325"/>
                </a:cubicBezTo>
                <a:cubicBezTo>
                  <a:pt x="9955" y="409"/>
                  <a:pt x="9924" y="486"/>
                  <a:pt x="9827" y="486"/>
                </a:cubicBezTo>
                <a:cubicBezTo>
                  <a:pt x="9730" y="486"/>
                  <a:pt x="9700" y="409"/>
                  <a:pt x="9700" y="325"/>
                </a:cubicBezTo>
                <a:close/>
                <a:moveTo>
                  <a:pt x="9576" y="479"/>
                </a:moveTo>
                <a:lnTo>
                  <a:pt x="9576" y="29"/>
                </a:lnTo>
                <a:lnTo>
                  <a:pt x="9620" y="29"/>
                </a:lnTo>
                <a:lnTo>
                  <a:pt x="9620" y="479"/>
                </a:lnTo>
                <a:lnTo>
                  <a:pt x="9576" y="479"/>
                </a:lnTo>
                <a:close/>
                <a:moveTo>
                  <a:pt x="9446" y="324"/>
                </a:moveTo>
                <a:cubicBezTo>
                  <a:pt x="9446" y="274"/>
                  <a:pt x="9433" y="199"/>
                  <a:pt x="9369" y="199"/>
                </a:cubicBezTo>
                <a:cubicBezTo>
                  <a:pt x="9304" y="199"/>
                  <a:pt x="9293" y="274"/>
                  <a:pt x="9293" y="324"/>
                </a:cubicBezTo>
                <a:cubicBezTo>
                  <a:pt x="9293" y="373"/>
                  <a:pt x="9304" y="449"/>
                  <a:pt x="9369" y="449"/>
                </a:cubicBezTo>
                <a:cubicBezTo>
                  <a:pt x="9434" y="449"/>
                  <a:pt x="9446" y="374"/>
                  <a:pt x="9446" y="324"/>
                </a:cubicBezTo>
                <a:close/>
                <a:moveTo>
                  <a:pt x="9242" y="325"/>
                </a:moveTo>
                <a:cubicBezTo>
                  <a:pt x="9242" y="241"/>
                  <a:pt x="9272" y="161"/>
                  <a:pt x="9369" y="161"/>
                </a:cubicBezTo>
                <a:cubicBezTo>
                  <a:pt x="9466" y="161"/>
                  <a:pt x="9497" y="241"/>
                  <a:pt x="9497" y="325"/>
                </a:cubicBezTo>
                <a:cubicBezTo>
                  <a:pt x="9497" y="409"/>
                  <a:pt x="9466" y="486"/>
                  <a:pt x="9369" y="486"/>
                </a:cubicBezTo>
                <a:cubicBezTo>
                  <a:pt x="9272" y="486"/>
                  <a:pt x="9242" y="409"/>
                  <a:pt x="9242" y="325"/>
                </a:cubicBezTo>
                <a:close/>
                <a:moveTo>
                  <a:pt x="9123" y="479"/>
                </a:moveTo>
                <a:lnTo>
                  <a:pt x="9123" y="307"/>
                </a:lnTo>
                <a:cubicBezTo>
                  <a:pt x="9123" y="272"/>
                  <a:pt x="9129" y="206"/>
                  <a:pt x="9077" y="206"/>
                </a:cubicBezTo>
                <a:cubicBezTo>
                  <a:pt x="9015" y="206"/>
                  <a:pt x="8989" y="303"/>
                  <a:pt x="8989" y="351"/>
                </a:cubicBezTo>
                <a:lnTo>
                  <a:pt x="8989" y="479"/>
                </a:lnTo>
                <a:lnTo>
                  <a:pt x="8945" y="479"/>
                </a:lnTo>
                <a:lnTo>
                  <a:pt x="8945" y="169"/>
                </a:lnTo>
                <a:lnTo>
                  <a:pt x="8989" y="169"/>
                </a:lnTo>
                <a:lnTo>
                  <a:pt x="8989" y="240"/>
                </a:lnTo>
                <a:lnTo>
                  <a:pt x="8990" y="240"/>
                </a:lnTo>
                <a:cubicBezTo>
                  <a:pt x="9006" y="192"/>
                  <a:pt x="9033" y="161"/>
                  <a:pt x="9087" y="161"/>
                </a:cubicBezTo>
                <a:cubicBezTo>
                  <a:pt x="9142" y="161"/>
                  <a:pt x="9167" y="208"/>
                  <a:pt x="9167" y="257"/>
                </a:cubicBezTo>
                <a:lnTo>
                  <a:pt x="9167" y="479"/>
                </a:lnTo>
                <a:lnTo>
                  <a:pt x="9123" y="479"/>
                </a:lnTo>
                <a:close/>
                <a:moveTo>
                  <a:pt x="8803" y="479"/>
                </a:moveTo>
                <a:lnTo>
                  <a:pt x="8803" y="307"/>
                </a:lnTo>
                <a:cubicBezTo>
                  <a:pt x="8803" y="272"/>
                  <a:pt x="8809" y="206"/>
                  <a:pt x="8757" y="206"/>
                </a:cubicBezTo>
                <a:cubicBezTo>
                  <a:pt x="8695" y="206"/>
                  <a:pt x="8669" y="303"/>
                  <a:pt x="8669" y="351"/>
                </a:cubicBezTo>
                <a:lnTo>
                  <a:pt x="8669" y="479"/>
                </a:lnTo>
                <a:lnTo>
                  <a:pt x="8625" y="479"/>
                </a:lnTo>
                <a:lnTo>
                  <a:pt x="8625" y="29"/>
                </a:lnTo>
                <a:lnTo>
                  <a:pt x="8669" y="29"/>
                </a:lnTo>
                <a:lnTo>
                  <a:pt x="8669" y="240"/>
                </a:lnTo>
                <a:lnTo>
                  <a:pt x="8670" y="240"/>
                </a:lnTo>
                <a:cubicBezTo>
                  <a:pt x="8686" y="192"/>
                  <a:pt x="8714" y="161"/>
                  <a:pt x="8768" y="161"/>
                </a:cubicBezTo>
                <a:cubicBezTo>
                  <a:pt x="8822" y="161"/>
                  <a:pt x="8847" y="208"/>
                  <a:pt x="8847" y="257"/>
                </a:cubicBezTo>
                <a:lnTo>
                  <a:pt x="8847" y="479"/>
                </a:lnTo>
                <a:lnTo>
                  <a:pt x="8803" y="479"/>
                </a:lnTo>
                <a:close/>
                <a:moveTo>
                  <a:pt x="8556" y="478"/>
                </a:moveTo>
                <a:cubicBezTo>
                  <a:pt x="8534" y="484"/>
                  <a:pt x="8514" y="486"/>
                  <a:pt x="8491" y="486"/>
                </a:cubicBezTo>
                <a:cubicBezTo>
                  <a:pt x="8384" y="486"/>
                  <a:pt x="8331" y="421"/>
                  <a:pt x="8331" y="317"/>
                </a:cubicBezTo>
                <a:cubicBezTo>
                  <a:pt x="8331" y="232"/>
                  <a:pt x="8362" y="161"/>
                  <a:pt x="8458" y="161"/>
                </a:cubicBezTo>
                <a:cubicBezTo>
                  <a:pt x="8523" y="161"/>
                  <a:pt x="8564" y="196"/>
                  <a:pt x="8564" y="263"/>
                </a:cubicBezTo>
                <a:lnTo>
                  <a:pt x="8511" y="263"/>
                </a:lnTo>
                <a:cubicBezTo>
                  <a:pt x="8511" y="227"/>
                  <a:pt x="8495" y="199"/>
                  <a:pt x="8456" y="199"/>
                </a:cubicBezTo>
                <a:cubicBezTo>
                  <a:pt x="8399" y="199"/>
                  <a:pt x="8382" y="261"/>
                  <a:pt x="8382" y="307"/>
                </a:cubicBezTo>
                <a:cubicBezTo>
                  <a:pt x="8382" y="387"/>
                  <a:pt x="8417" y="449"/>
                  <a:pt x="8505" y="449"/>
                </a:cubicBezTo>
                <a:cubicBezTo>
                  <a:pt x="8523" y="449"/>
                  <a:pt x="8540" y="448"/>
                  <a:pt x="8556" y="443"/>
                </a:cubicBezTo>
                <a:lnTo>
                  <a:pt x="8556" y="478"/>
                </a:lnTo>
                <a:close/>
                <a:moveTo>
                  <a:pt x="8228" y="257"/>
                </a:moveTo>
                <a:cubicBezTo>
                  <a:pt x="8228" y="223"/>
                  <a:pt x="8203" y="199"/>
                  <a:pt x="8169" y="199"/>
                </a:cubicBezTo>
                <a:cubicBezTo>
                  <a:pt x="8131" y="199"/>
                  <a:pt x="8111" y="223"/>
                  <a:pt x="8103" y="257"/>
                </a:cubicBezTo>
                <a:lnTo>
                  <a:pt x="8228" y="257"/>
                </a:lnTo>
                <a:close/>
                <a:moveTo>
                  <a:pt x="8272" y="477"/>
                </a:moveTo>
                <a:cubicBezTo>
                  <a:pt x="8249" y="484"/>
                  <a:pt x="8225" y="486"/>
                  <a:pt x="8201" y="486"/>
                </a:cubicBezTo>
                <a:cubicBezTo>
                  <a:pt x="8093" y="486"/>
                  <a:pt x="8049" y="415"/>
                  <a:pt x="8049" y="313"/>
                </a:cubicBezTo>
                <a:cubicBezTo>
                  <a:pt x="8049" y="233"/>
                  <a:pt x="8079" y="161"/>
                  <a:pt x="8171" y="161"/>
                </a:cubicBezTo>
                <a:cubicBezTo>
                  <a:pt x="8242" y="161"/>
                  <a:pt x="8279" y="210"/>
                  <a:pt x="8279" y="280"/>
                </a:cubicBezTo>
                <a:lnTo>
                  <a:pt x="8279" y="295"/>
                </a:lnTo>
                <a:lnTo>
                  <a:pt x="8100" y="295"/>
                </a:lnTo>
                <a:lnTo>
                  <a:pt x="8100" y="313"/>
                </a:lnTo>
                <a:cubicBezTo>
                  <a:pt x="8100" y="381"/>
                  <a:pt x="8134" y="449"/>
                  <a:pt x="8210" y="449"/>
                </a:cubicBezTo>
                <a:cubicBezTo>
                  <a:pt x="8232" y="449"/>
                  <a:pt x="8251" y="446"/>
                  <a:pt x="8272" y="441"/>
                </a:cubicBezTo>
                <a:lnTo>
                  <a:pt x="8272" y="477"/>
                </a:lnTo>
                <a:close/>
                <a:moveTo>
                  <a:pt x="7879" y="479"/>
                </a:moveTo>
                <a:lnTo>
                  <a:pt x="7879" y="71"/>
                </a:lnTo>
                <a:lnTo>
                  <a:pt x="7771" y="71"/>
                </a:lnTo>
                <a:lnTo>
                  <a:pt x="7771" y="29"/>
                </a:lnTo>
                <a:lnTo>
                  <a:pt x="8037" y="29"/>
                </a:lnTo>
                <a:lnTo>
                  <a:pt x="8037" y="71"/>
                </a:lnTo>
                <a:lnTo>
                  <a:pt x="7930" y="71"/>
                </a:lnTo>
                <a:lnTo>
                  <a:pt x="7930" y="479"/>
                </a:lnTo>
                <a:lnTo>
                  <a:pt x="7879" y="479"/>
                </a:lnTo>
                <a:close/>
                <a:moveTo>
                  <a:pt x="7523" y="628"/>
                </a:moveTo>
                <a:lnTo>
                  <a:pt x="7523" y="0"/>
                </a:lnTo>
                <a:lnTo>
                  <a:pt x="7557" y="0"/>
                </a:lnTo>
                <a:lnTo>
                  <a:pt x="7557" y="628"/>
                </a:lnTo>
                <a:lnTo>
                  <a:pt x="7523" y="628"/>
                </a:lnTo>
                <a:close/>
                <a:moveTo>
                  <a:pt x="7206" y="479"/>
                </a:moveTo>
                <a:lnTo>
                  <a:pt x="7206" y="29"/>
                </a:lnTo>
                <a:lnTo>
                  <a:pt x="7250" y="29"/>
                </a:lnTo>
                <a:lnTo>
                  <a:pt x="7250" y="479"/>
                </a:lnTo>
                <a:lnTo>
                  <a:pt x="7206" y="479"/>
                </a:lnTo>
                <a:close/>
                <a:moveTo>
                  <a:pt x="7034" y="338"/>
                </a:moveTo>
                <a:cubicBezTo>
                  <a:pt x="6995" y="338"/>
                  <a:pt x="6933" y="355"/>
                  <a:pt x="6933" y="404"/>
                </a:cubicBezTo>
                <a:cubicBezTo>
                  <a:pt x="6933" y="430"/>
                  <a:pt x="6950" y="449"/>
                  <a:pt x="6976" y="449"/>
                </a:cubicBezTo>
                <a:cubicBezTo>
                  <a:pt x="7006" y="449"/>
                  <a:pt x="7036" y="429"/>
                  <a:pt x="7049" y="401"/>
                </a:cubicBezTo>
                <a:cubicBezTo>
                  <a:pt x="7059" y="378"/>
                  <a:pt x="7061" y="364"/>
                  <a:pt x="7061" y="338"/>
                </a:cubicBezTo>
                <a:lnTo>
                  <a:pt x="7034" y="338"/>
                </a:lnTo>
                <a:close/>
                <a:moveTo>
                  <a:pt x="7062" y="479"/>
                </a:moveTo>
                <a:lnTo>
                  <a:pt x="7062" y="438"/>
                </a:lnTo>
                <a:lnTo>
                  <a:pt x="7061" y="438"/>
                </a:lnTo>
                <a:cubicBezTo>
                  <a:pt x="7044" y="471"/>
                  <a:pt x="7000" y="486"/>
                  <a:pt x="6965" y="486"/>
                </a:cubicBezTo>
                <a:cubicBezTo>
                  <a:pt x="6911" y="486"/>
                  <a:pt x="6882" y="452"/>
                  <a:pt x="6882" y="400"/>
                </a:cubicBezTo>
                <a:cubicBezTo>
                  <a:pt x="6882" y="330"/>
                  <a:pt x="6963" y="301"/>
                  <a:pt x="7061" y="301"/>
                </a:cubicBezTo>
                <a:lnTo>
                  <a:pt x="7061" y="295"/>
                </a:lnTo>
                <a:cubicBezTo>
                  <a:pt x="7061" y="248"/>
                  <a:pt x="7063" y="199"/>
                  <a:pt x="7002" y="199"/>
                </a:cubicBezTo>
                <a:cubicBezTo>
                  <a:pt x="6965" y="199"/>
                  <a:pt x="6944" y="211"/>
                  <a:pt x="6939" y="248"/>
                </a:cubicBezTo>
                <a:lnTo>
                  <a:pt x="6889" y="248"/>
                </a:lnTo>
                <a:cubicBezTo>
                  <a:pt x="6891" y="186"/>
                  <a:pt x="6944" y="161"/>
                  <a:pt x="7001" y="161"/>
                </a:cubicBezTo>
                <a:cubicBezTo>
                  <a:pt x="7071" y="161"/>
                  <a:pt x="7105" y="191"/>
                  <a:pt x="7105" y="261"/>
                </a:cubicBezTo>
                <a:lnTo>
                  <a:pt x="7105" y="479"/>
                </a:lnTo>
                <a:lnTo>
                  <a:pt x="7062" y="479"/>
                </a:lnTo>
                <a:close/>
                <a:moveTo>
                  <a:pt x="6843" y="483"/>
                </a:moveTo>
                <a:cubicBezTo>
                  <a:pt x="6829" y="485"/>
                  <a:pt x="6816" y="486"/>
                  <a:pt x="6803" y="486"/>
                </a:cubicBezTo>
                <a:cubicBezTo>
                  <a:pt x="6745" y="486"/>
                  <a:pt x="6717" y="467"/>
                  <a:pt x="6717" y="406"/>
                </a:cubicBezTo>
                <a:lnTo>
                  <a:pt x="6717" y="206"/>
                </a:lnTo>
                <a:lnTo>
                  <a:pt x="6666" y="206"/>
                </a:lnTo>
                <a:lnTo>
                  <a:pt x="6666" y="169"/>
                </a:lnTo>
                <a:lnTo>
                  <a:pt x="6717" y="169"/>
                </a:lnTo>
                <a:lnTo>
                  <a:pt x="6717" y="96"/>
                </a:lnTo>
                <a:lnTo>
                  <a:pt x="6762" y="68"/>
                </a:lnTo>
                <a:lnTo>
                  <a:pt x="6762" y="169"/>
                </a:lnTo>
                <a:lnTo>
                  <a:pt x="6845" y="169"/>
                </a:lnTo>
                <a:lnTo>
                  <a:pt x="6845" y="206"/>
                </a:lnTo>
                <a:lnTo>
                  <a:pt x="6762" y="206"/>
                </a:lnTo>
                <a:lnTo>
                  <a:pt x="6762" y="397"/>
                </a:lnTo>
                <a:cubicBezTo>
                  <a:pt x="6762" y="430"/>
                  <a:pt x="6777" y="449"/>
                  <a:pt x="6813" y="449"/>
                </a:cubicBezTo>
                <a:cubicBezTo>
                  <a:pt x="6825" y="449"/>
                  <a:pt x="6832" y="448"/>
                  <a:pt x="6843" y="443"/>
                </a:cubicBezTo>
                <a:lnTo>
                  <a:pt x="6843" y="483"/>
                </a:lnTo>
                <a:close/>
                <a:moveTo>
                  <a:pt x="6549" y="479"/>
                </a:moveTo>
                <a:lnTo>
                  <a:pt x="6549" y="169"/>
                </a:lnTo>
                <a:lnTo>
                  <a:pt x="6593" y="169"/>
                </a:lnTo>
                <a:lnTo>
                  <a:pt x="6593" y="479"/>
                </a:lnTo>
                <a:lnTo>
                  <a:pt x="6549" y="479"/>
                </a:lnTo>
                <a:close/>
                <a:moveTo>
                  <a:pt x="6542" y="88"/>
                </a:moveTo>
                <a:lnTo>
                  <a:pt x="6542" y="29"/>
                </a:lnTo>
                <a:lnTo>
                  <a:pt x="6600" y="29"/>
                </a:lnTo>
                <a:lnTo>
                  <a:pt x="6600" y="88"/>
                </a:lnTo>
                <a:lnTo>
                  <a:pt x="6542" y="88"/>
                </a:lnTo>
                <a:close/>
                <a:moveTo>
                  <a:pt x="6403" y="318"/>
                </a:moveTo>
                <a:cubicBezTo>
                  <a:pt x="6403" y="275"/>
                  <a:pt x="6386" y="199"/>
                  <a:pt x="6330" y="199"/>
                </a:cubicBezTo>
                <a:cubicBezTo>
                  <a:pt x="6273" y="199"/>
                  <a:pt x="6266" y="286"/>
                  <a:pt x="6266" y="326"/>
                </a:cubicBezTo>
                <a:cubicBezTo>
                  <a:pt x="6266" y="367"/>
                  <a:pt x="6274" y="442"/>
                  <a:pt x="6329" y="442"/>
                </a:cubicBezTo>
                <a:cubicBezTo>
                  <a:pt x="6386" y="442"/>
                  <a:pt x="6403" y="362"/>
                  <a:pt x="6403" y="318"/>
                </a:cubicBezTo>
                <a:close/>
                <a:moveTo>
                  <a:pt x="6403" y="420"/>
                </a:moveTo>
                <a:lnTo>
                  <a:pt x="6402" y="420"/>
                </a:lnTo>
                <a:cubicBezTo>
                  <a:pt x="6390" y="457"/>
                  <a:pt x="6358" y="479"/>
                  <a:pt x="6320" y="479"/>
                </a:cubicBezTo>
                <a:cubicBezTo>
                  <a:pt x="6234" y="479"/>
                  <a:pt x="6215" y="396"/>
                  <a:pt x="6215" y="326"/>
                </a:cubicBezTo>
                <a:cubicBezTo>
                  <a:pt x="6215" y="259"/>
                  <a:pt x="6236" y="161"/>
                  <a:pt x="6321" y="161"/>
                </a:cubicBezTo>
                <a:cubicBezTo>
                  <a:pt x="6358" y="161"/>
                  <a:pt x="6392" y="183"/>
                  <a:pt x="6402" y="219"/>
                </a:cubicBezTo>
                <a:lnTo>
                  <a:pt x="6403" y="219"/>
                </a:lnTo>
                <a:lnTo>
                  <a:pt x="6403" y="169"/>
                </a:lnTo>
                <a:lnTo>
                  <a:pt x="6448" y="169"/>
                </a:lnTo>
                <a:lnTo>
                  <a:pt x="6448" y="480"/>
                </a:lnTo>
                <a:cubicBezTo>
                  <a:pt x="6448" y="569"/>
                  <a:pt x="6405" y="615"/>
                  <a:pt x="6316" y="615"/>
                </a:cubicBezTo>
                <a:cubicBezTo>
                  <a:pt x="6285" y="615"/>
                  <a:pt x="6260" y="610"/>
                  <a:pt x="6232" y="604"/>
                </a:cubicBezTo>
                <a:lnTo>
                  <a:pt x="6232" y="559"/>
                </a:lnTo>
                <a:cubicBezTo>
                  <a:pt x="6257" y="572"/>
                  <a:pt x="6281" y="578"/>
                  <a:pt x="6309" y="578"/>
                </a:cubicBezTo>
                <a:cubicBezTo>
                  <a:pt x="6381" y="578"/>
                  <a:pt x="6403" y="541"/>
                  <a:pt x="6403" y="475"/>
                </a:cubicBezTo>
                <a:lnTo>
                  <a:pt x="6403" y="420"/>
                </a:lnTo>
                <a:close/>
                <a:moveTo>
                  <a:pt x="6091" y="479"/>
                </a:moveTo>
                <a:lnTo>
                  <a:pt x="6091" y="169"/>
                </a:lnTo>
                <a:lnTo>
                  <a:pt x="6135" y="169"/>
                </a:lnTo>
                <a:lnTo>
                  <a:pt x="6135" y="479"/>
                </a:lnTo>
                <a:lnTo>
                  <a:pt x="6091" y="479"/>
                </a:lnTo>
                <a:close/>
                <a:moveTo>
                  <a:pt x="6084" y="88"/>
                </a:moveTo>
                <a:lnTo>
                  <a:pt x="6084" y="29"/>
                </a:lnTo>
                <a:lnTo>
                  <a:pt x="6142" y="29"/>
                </a:lnTo>
                <a:lnTo>
                  <a:pt x="6142" y="88"/>
                </a:lnTo>
                <a:lnTo>
                  <a:pt x="6084" y="88"/>
                </a:lnTo>
                <a:close/>
                <a:moveTo>
                  <a:pt x="5808" y="437"/>
                </a:moveTo>
                <a:cubicBezTo>
                  <a:pt x="5833" y="437"/>
                  <a:pt x="5860" y="435"/>
                  <a:pt x="5884" y="424"/>
                </a:cubicBezTo>
                <a:cubicBezTo>
                  <a:pt x="5947" y="395"/>
                  <a:pt x="5952" y="313"/>
                  <a:pt x="5952" y="253"/>
                </a:cubicBezTo>
                <a:cubicBezTo>
                  <a:pt x="5952" y="189"/>
                  <a:pt x="5946" y="107"/>
                  <a:pt x="5875" y="81"/>
                </a:cubicBezTo>
                <a:cubicBezTo>
                  <a:pt x="5852" y="73"/>
                  <a:pt x="5827" y="71"/>
                  <a:pt x="5802" y="71"/>
                </a:cubicBezTo>
                <a:lnTo>
                  <a:pt x="5773" y="71"/>
                </a:lnTo>
                <a:lnTo>
                  <a:pt x="5773" y="437"/>
                </a:lnTo>
                <a:lnTo>
                  <a:pt x="5808" y="437"/>
                </a:lnTo>
                <a:close/>
                <a:moveTo>
                  <a:pt x="5722" y="479"/>
                </a:moveTo>
                <a:lnTo>
                  <a:pt x="5722" y="29"/>
                </a:lnTo>
                <a:lnTo>
                  <a:pt x="5823" y="29"/>
                </a:lnTo>
                <a:cubicBezTo>
                  <a:pt x="5968" y="29"/>
                  <a:pt x="6008" y="123"/>
                  <a:pt x="6008" y="253"/>
                </a:cubicBezTo>
                <a:cubicBezTo>
                  <a:pt x="6008" y="338"/>
                  <a:pt x="5992" y="435"/>
                  <a:pt x="5901" y="467"/>
                </a:cubicBezTo>
                <a:cubicBezTo>
                  <a:pt x="5870" y="477"/>
                  <a:pt x="5838" y="479"/>
                  <a:pt x="5807" y="479"/>
                </a:cubicBezTo>
                <a:lnTo>
                  <a:pt x="5722" y="479"/>
                </a:lnTo>
                <a:close/>
                <a:moveTo>
                  <a:pt x="5419" y="628"/>
                </a:moveTo>
                <a:lnTo>
                  <a:pt x="5419" y="0"/>
                </a:lnTo>
                <a:lnTo>
                  <a:pt x="5452" y="0"/>
                </a:lnTo>
                <a:lnTo>
                  <a:pt x="5452" y="628"/>
                </a:lnTo>
                <a:lnTo>
                  <a:pt x="5419" y="628"/>
                </a:lnTo>
                <a:close/>
                <a:moveTo>
                  <a:pt x="5107" y="318"/>
                </a:moveTo>
                <a:cubicBezTo>
                  <a:pt x="5107" y="275"/>
                  <a:pt x="5089" y="199"/>
                  <a:pt x="5034" y="199"/>
                </a:cubicBezTo>
                <a:cubicBezTo>
                  <a:pt x="4976" y="199"/>
                  <a:pt x="4969" y="286"/>
                  <a:pt x="4969" y="326"/>
                </a:cubicBezTo>
                <a:cubicBezTo>
                  <a:pt x="4969" y="367"/>
                  <a:pt x="4977" y="442"/>
                  <a:pt x="5032" y="442"/>
                </a:cubicBezTo>
                <a:cubicBezTo>
                  <a:pt x="5089" y="442"/>
                  <a:pt x="5107" y="362"/>
                  <a:pt x="5107" y="318"/>
                </a:cubicBezTo>
                <a:close/>
                <a:moveTo>
                  <a:pt x="5107" y="420"/>
                </a:moveTo>
                <a:lnTo>
                  <a:pt x="5105" y="420"/>
                </a:lnTo>
                <a:cubicBezTo>
                  <a:pt x="5093" y="457"/>
                  <a:pt x="5062" y="479"/>
                  <a:pt x="5023" y="479"/>
                </a:cubicBezTo>
                <a:cubicBezTo>
                  <a:pt x="4938" y="479"/>
                  <a:pt x="4918" y="396"/>
                  <a:pt x="4918" y="326"/>
                </a:cubicBezTo>
                <a:cubicBezTo>
                  <a:pt x="4918" y="259"/>
                  <a:pt x="4939" y="161"/>
                  <a:pt x="5025" y="161"/>
                </a:cubicBezTo>
                <a:cubicBezTo>
                  <a:pt x="5062" y="161"/>
                  <a:pt x="5095" y="183"/>
                  <a:pt x="5105" y="219"/>
                </a:cubicBezTo>
                <a:lnTo>
                  <a:pt x="5107" y="219"/>
                </a:lnTo>
                <a:lnTo>
                  <a:pt x="5107" y="169"/>
                </a:lnTo>
                <a:lnTo>
                  <a:pt x="5151" y="169"/>
                </a:lnTo>
                <a:lnTo>
                  <a:pt x="5151" y="480"/>
                </a:lnTo>
                <a:cubicBezTo>
                  <a:pt x="5151" y="569"/>
                  <a:pt x="5109" y="615"/>
                  <a:pt x="5019" y="615"/>
                </a:cubicBezTo>
                <a:cubicBezTo>
                  <a:pt x="4989" y="615"/>
                  <a:pt x="4964" y="610"/>
                  <a:pt x="4935" y="604"/>
                </a:cubicBezTo>
                <a:lnTo>
                  <a:pt x="4935" y="559"/>
                </a:lnTo>
                <a:cubicBezTo>
                  <a:pt x="4961" y="572"/>
                  <a:pt x="4985" y="578"/>
                  <a:pt x="5013" y="578"/>
                </a:cubicBezTo>
                <a:cubicBezTo>
                  <a:pt x="5085" y="578"/>
                  <a:pt x="5107" y="541"/>
                  <a:pt x="5107" y="475"/>
                </a:cubicBezTo>
                <a:lnTo>
                  <a:pt x="5107" y="420"/>
                </a:lnTo>
                <a:close/>
                <a:moveTo>
                  <a:pt x="4799" y="479"/>
                </a:moveTo>
                <a:lnTo>
                  <a:pt x="4799" y="307"/>
                </a:lnTo>
                <a:cubicBezTo>
                  <a:pt x="4799" y="272"/>
                  <a:pt x="4805" y="206"/>
                  <a:pt x="4754" y="206"/>
                </a:cubicBezTo>
                <a:cubicBezTo>
                  <a:pt x="4692" y="206"/>
                  <a:pt x="4666" y="303"/>
                  <a:pt x="4666" y="351"/>
                </a:cubicBezTo>
                <a:lnTo>
                  <a:pt x="4666" y="479"/>
                </a:lnTo>
                <a:lnTo>
                  <a:pt x="4621" y="479"/>
                </a:lnTo>
                <a:lnTo>
                  <a:pt x="4621" y="169"/>
                </a:lnTo>
                <a:lnTo>
                  <a:pt x="4666" y="169"/>
                </a:lnTo>
                <a:lnTo>
                  <a:pt x="4666" y="240"/>
                </a:lnTo>
                <a:lnTo>
                  <a:pt x="4667" y="240"/>
                </a:lnTo>
                <a:cubicBezTo>
                  <a:pt x="4683" y="192"/>
                  <a:pt x="4710" y="161"/>
                  <a:pt x="4764" y="161"/>
                </a:cubicBezTo>
                <a:cubicBezTo>
                  <a:pt x="4818" y="161"/>
                  <a:pt x="4844" y="208"/>
                  <a:pt x="4844" y="257"/>
                </a:cubicBezTo>
                <a:lnTo>
                  <a:pt x="4844" y="479"/>
                </a:lnTo>
                <a:lnTo>
                  <a:pt x="4799" y="479"/>
                </a:lnTo>
                <a:close/>
                <a:moveTo>
                  <a:pt x="4474" y="479"/>
                </a:moveTo>
                <a:lnTo>
                  <a:pt x="4474" y="169"/>
                </a:lnTo>
                <a:lnTo>
                  <a:pt x="4519" y="169"/>
                </a:lnTo>
                <a:lnTo>
                  <a:pt x="4519" y="479"/>
                </a:lnTo>
                <a:lnTo>
                  <a:pt x="4474" y="479"/>
                </a:lnTo>
                <a:close/>
                <a:moveTo>
                  <a:pt x="4467" y="88"/>
                </a:moveTo>
                <a:lnTo>
                  <a:pt x="4467" y="29"/>
                </a:lnTo>
                <a:lnTo>
                  <a:pt x="4526" y="29"/>
                </a:lnTo>
                <a:lnTo>
                  <a:pt x="4526" y="88"/>
                </a:lnTo>
                <a:lnTo>
                  <a:pt x="4467" y="88"/>
                </a:lnTo>
                <a:close/>
                <a:moveTo>
                  <a:pt x="4406" y="483"/>
                </a:moveTo>
                <a:cubicBezTo>
                  <a:pt x="4393" y="485"/>
                  <a:pt x="4380" y="486"/>
                  <a:pt x="4367" y="486"/>
                </a:cubicBezTo>
                <a:cubicBezTo>
                  <a:pt x="4309" y="486"/>
                  <a:pt x="4281" y="467"/>
                  <a:pt x="4281" y="406"/>
                </a:cubicBezTo>
                <a:lnTo>
                  <a:pt x="4281" y="206"/>
                </a:lnTo>
                <a:lnTo>
                  <a:pt x="4230" y="206"/>
                </a:lnTo>
                <a:lnTo>
                  <a:pt x="4230" y="169"/>
                </a:lnTo>
                <a:lnTo>
                  <a:pt x="4281" y="169"/>
                </a:lnTo>
                <a:lnTo>
                  <a:pt x="4281" y="96"/>
                </a:lnTo>
                <a:lnTo>
                  <a:pt x="4326" y="68"/>
                </a:lnTo>
                <a:lnTo>
                  <a:pt x="4326" y="169"/>
                </a:lnTo>
                <a:lnTo>
                  <a:pt x="4409" y="169"/>
                </a:lnTo>
                <a:lnTo>
                  <a:pt x="4409" y="206"/>
                </a:lnTo>
                <a:lnTo>
                  <a:pt x="4326" y="206"/>
                </a:lnTo>
                <a:lnTo>
                  <a:pt x="4326" y="397"/>
                </a:lnTo>
                <a:cubicBezTo>
                  <a:pt x="4326" y="430"/>
                  <a:pt x="4341" y="449"/>
                  <a:pt x="4376" y="449"/>
                </a:cubicBezTo>
                <a:cubicBezTo>
                  <a:pt x="4389" y="449"/>
                  <a:pt x="4395" y="448"/>
                  <a:pt x="4406" y="443"/>
                </a:cubicBezTo>
                <a:lnTo>
                  <a:pt x="4406" y="483"/>
                </a:lnTo>
                <a:close/>
                <a:moveTo>
                  <a:pt x="4113" y="479"/>
                </a:moveTo>
                <a:lnTo>
                  <a:pt x="4113" y="29"/>
                </a:lnTo>
                <a:lnTo>
                  <a:pt x="4157" y="29"/>
                </a:lnTo>
                <a:lnTo>
                  <a:pt x="4157" y="479"/>
                </a:lnTo>
                <a:lnTo>
                  <a:pt x="4113" y="479"/>
                </a:lnTo>
                <a:close/>
                <a:moveTo>
                  <a:pt x="3964" y="479"/>
                </a:moveTo>
                <a:lnTo>
                  <a:pt x="3964" y="407"/>
                </a:lnTo>
                <a:lnTo>
                  <a:pt x="3963" y="407"/>
                </a:lnTo>
                <a:cubicBezTo>
                  <a:pt x="3948" y="455"/>
                  <a:pt x="3919" y="486"/>
                  <a:pt x="3866" y="486"/>
                </a:cubicBezTo>
                <a:cubicBezTo>
                  <a:pt x="3812" y="486"/>
                  <a:pt x="3787" y="441"/>
                  <a:pt x="3787" y="390"/>
                </a:cubicBezTo>
                <a:lnTo>
                  <a:pt x="3787" y="169"/>
                </a:lnTo>
                <a:lnTo>
                  <a:pt x="3831" y="169"/>
                </a:lnTo>
                <a:lnTo>
                  <a:pt x="3831" y="341"/>
                </a:lnTo>
                <a:cubicBezTo>
                  <a:pt x="3831" y="375"/>
                  <a:pt x="3826" y="442"/>
                  <a:pt x="3877" y="442"/>
                </a:cubicBezTo>
                <a:cubicBezTo>
                  <a:pt x="3939" y="442"/>
                  <a:pt x="3964" y="345"/>
                  <a:pt x="3964" y="296"/>
                </a:cubicBezTo>
                <a:lnTo>
                  <a:pt x="3964" y="169"/>
                </a:lnTo>
                <a:lnTo>
                  <a:pt x="4008" y="169"/>
                </a:lnTo>
                <a:lnTo>
                  <a:pt x="4008" y="479"/>
                </a:lnTo>
                <a:lnTo>
                  <a:pt x="3964" y="479"/>
                </a:lnTo>
                <a:close/>
                <a:moveTo>
                  <a:pt x="3526" y="433"/>
                </a:moveTo>
                <a:cubicBezTo>
                  <a:pt x="3552" y="441"/>
                  <a:pt x="3578" y="449"/>
                  <a:pt x="3606" y="449"/>
                </a:cubicBezTo>
                <a:cubicBezTo>
                  <a:pt x="3640" y="449"/>
                  <a:pt x="3682" y="440"/>
                  <a:pt x="3682" y="399"/>
                </a:cubicBezTo>
                <a:cubicBezTo>
                  <a:pt x="3682" y="368"/>
                  <a:pt x="3649" y="355"/>
                  <a:pt x="3626" y="343"/>
                </a:cubicBezTo>
                <a:lnTo>
                  <a:pt x="3598" y="328"/>
                </a:lnTo>
                <a:cubicBezTo>
                  <a:pt x="3561" y="309"/>
                  <a:pt x="3527" y="291"/>
                  <a:pt x="3527" y="244"/>
                </a:cubicBezTo>
                <a:cubicBezTo>
                  <a:pt x="3527" y="183"/>
                  <a:pt x="3580" y="161"/>
                  <a:pt x="3634" y="161"/>
                </a:cubicBezTo>
                <a:cubicBezTo>
                  <a:pt x="3659" y="161"/>
                  <a:pt x="3683" y="166"/>
                  <a:pt x="3707" y="172"/>
                </a:cubicBezTo>
                <a:lnTo>
                  <a:pt x="3707" y="213"/>
                </a:lnTo>
                <a:cubicBezTo>
                  <a:pt x="3684" y="205"/>
                  <a:pt x="3658" y="199"/>
                  <a:pt x="3634" y="199"/>
                </a:cubicBezTo>
                <a:cubicBezTo>
                  <a:pt x="3610" y="199"/>
                  <a:pt x="3572" y="209"/>
                  <a:pt x="3572" y="239"/>
                </a:cubicBezTo>
                <a:cubicBezTo>
                  <a:pt x="3572" y="265"/>
                  <a:pt x="3610" y="277"/>
                  <a:pt x="3628" y="288"/>
                </a:cubicBezTo>
                <a:lnTo>
                  <a:pt x="3654" y="304"/>
                </a:lnTo>
                <a:cubicBezTo>
                  <a:pt x="3692" y="326"/>
                  <a:pt x="3726" y="342"/>
                  <a:pt x="3726" y="392"/>
                </a:cubicBezTo>
                <a:cubicBezTo>
                  <a:pt x="3726" y="462"/>
                  <a:pt x="3673" y="486"/>
                  <a:pt x="3611" y="486"/>
                </a:cubicBezTo>
                <a:cubicBezTo>
                  <a:pt x="3582" y="486"/>
                  <a:pt x="3554" y="482"/>
                  <a:pt x="3526" y="473"/>
                </a:cubicBezTo>
                <a:lnTo>
                  <a:pt x="3526" y="433"/>
                </a:lnTo>
                <a:close/>
                <a:moveTo>
                  <a:pt x="3412" y="479"/>
                </a:moveTo>
                <a:lnTo>
                  <a:pt x="3412" y="307"/>
                </a:lnTo>
                <a:cubicBezTo>
                  <a:pt x="3412" y="272"/>
                  <a:pt x="3418" y="206"/>
                  <a:pt x="3367" y="206"/>
                </a:cubicBezTo>
                <a:cubicBezTo>
                  <a:pt x="3305" y="206"/>
                  <a:pt x="3279" y="303"/>
                  <a:pt x="3279" y="351"/>
                </a:cubicBezTo>
                <a:lnTo>
                  <a:pt x="3279" y="479"/>
                </a:lnTo>
                <a:lnTo>
                  <a:pt x="3234" y="479"/>
                </a:lnTo>
                <a:lnTo>
                  <a:pt x="3234" y="169"/>
                </a:lnTo>
                <a:lnTo>
                  <a:pt x="3279" y="169"/>
                </a:lnTo>
                <a:lnTo>
                  <a:pt x="3279" y="240"/>
                </a:lnTo>
                <a:lnTo>
                  <a:pt x="3280" y="240"/>
                </a:lnTo>
                <a:cubicBezTo>
                  <a:pt x="3296" y="192"/>
                  <a:pt x="3323" y="161"/>
                  <a:pt x="3377" y="161"/>
                </a:cubicBezTo>
                <a:cubicBezTo>
                  <a:pt x="3431" y="161"/>
                  <a:pt x="3457" y="208"/>
                  <a:pt x="3457" y="257"/>
                </a:cubicBezTo>
                <a:lnTo>
                  <a:pt x="3457" y="479"/>
                </a:lnTo>
                <a:lnTo>
                  <a:pt x="3412" y="479"/>
                </a:lnTo>
                <a:close/>
                <a:moveTo>
                  <a:pt x="3108" y="324"/>
                </a:moveTo>
                <a:cubicBezTo>
                  <a:pt x="3108" y="274"/>
                  <a:pt x="3096" y="199"/>
                  <a:pt x="3031" y="199"/>
                </a:cubicBezTo>
                <a:cubicBezTo>
                  <a:pt x="2967" y="199"/>
                  <a:pt x="2956" y="274"/>
                  <a:pt x="2956" y="324"/>
                </a:cubicBezTo>
                <a:cubicBezTo>
                  <a:pt x="2956" y="373"/>
                  <a:pt x="2967" y="449"/>
                  <a:pt x="3031" y="449"/>
                </a:cubicBezTo>
                <a:cubicBezTo>
                  <a:pt x="3097" y="449"/>
                  <a:pt x="3108" y="374"/>
                  <a:pt x="3108" y="324"/>
                </a:cubicBezTo>
                <a:close/>
                <a:moveTo>
                  <a:pt x="2905" y="325"/>
                </a:moveTo>
                <a:cubicBezTo>
                  <a:pt x="2905" y="241"/>
                  <a:pt x="2935" y="161"/>
                  <a:pt x="3031" y="161"/>
                </a:cubicBezTo>
                <a:cubicBezTo>
                  <a:pt x="3129" y="161"/>
                  <a:pt x="3159" y="241"/>
                  <a:pt x="3159" y="325"/>
                </a:cubicBezTo>
                <a:cubicBezTo>
                  <a:pt x="3159" y="409"/>
                  <a:pt x="3129" y="486"/>
                  <a:pt x="3031" y="486"/>
                </a:cubicBezTo>
                <a:cubicBezTo>
                  <a:pt x="2935" y="486"/>
                  <a:pt x="2905" y="409"/>
                  <a:pt x="2905" y="325"/>
                </a:cubicBezTo>
                <a:close/>
                <a:moveTo>
                  <a:pt x="2856" y="460"/>
                </a:moveTo>
                <a:cubicBezTo>
                  <a:pt x="2814" y="477"/>
                  <a:pt x="2785" y="486"/>
                  <a:pt x="2737" y="486"/>
                </a:cubicBezTo>
                <a:cubicBezTo>
                  <a:pt x="2602" y="486"/>
                  <a:pt x="2564" y="358"/>
                  <a:pt x="2564" y="246"/>
                </a:cubicBezTo>
                <a:cubicBezTo>
                  <a:pt x="2564" y="133"/>
                  <a:pt x="2603" y="22"/>
                  <a:pt x="2734" y="22"/>
                </a:cubicBezTo>
                <a:cubicBezTo>
                  <a:pt x="2813" y="22"/>
                  <a:pt x="2873" y="69"/>
                  <a:pt x="2873" y="152"/>
                </a:cubicBezTo>
                <a:lnTo>
                  <a:pt x="2816" y="152"/>
                </a:lnTo>
                <a:cubicBezTo>
                  <a:pt x="2816" y="101"/>
                  <a:pt x="2786" y="64"/>
                  <a:pt x="2734" y="64"/>
                </a:cubicBezTo>
                <a:cubicBezTo>
                  <a:pt x="2635" y="64"/>
                  <a:pt x="2620" y="171"/>
                  <a:pt x="2620" y="248"/>
                </a:cubicBezTo>
                <a:cubicBezTo>
                  <a:pt x="2620" y="333"/>
                  <a:pt x="2643" y="444"/>
                  <a:pt x="2749" y="444"/>
                </a:cubicBezTo>
                <a:cubicBezTo>
                  <a:pt x="2789" y="444"/>
                  <a:pt x="2826" y="431"/>
                  <a:pt x="2856" y="407"/>
                </a:cubicBezTo>
                <a:lnTo>
                  <a:pt x="2856" y="460"/>
                </a:lnTo>
                <a:close/>
                <a:moveTo>
                  <a:pt x="2283" y="628"/>
                </a:moveTo>
                <a:lnTo>
                  <a:pt x="2283" y="0"/>
                </a:lnTo>
                <a:lnTo>
                  <a:pt x="2317" y="0"/>
                </a:lnTo>
                <a:lnTo>
                  <a:pt x="2317" y="628"/>
                </a:lnTo>
                <a:lnTo>
                  <a:pt x="2283" y="628"/>
                </a:lnTo>
                <a:close/>
                <a:moveTo>
                  <a:pt x="1868" y="605"/>
                </a:moveTo>
                <a:lnTo>
                  <a:pt x="1912" y="479"/>
                </a:lnTo>
                <a:lnTo>
                  <a:pt x="1793" y="169"/>
                </a:lnTo>
                <a:lnTo>
                  <a:pt x="1840" y="169"/>
                </a:lnTo>
                <a:lnTo>
                  <a:pt x="1931" y="413"/>
                </a:lnTo>
                <a:lnTo>
                  <a:pt x="1932" y="413"/>
                </a:lnTo>
                <a:lnTo>
                  <a:pt x="2016" y="169"/>
                </a:lnTo>
                <a:lnTo>
                  <a:pt x="2064" y="169"/>
                </a:lnTo>
                <a:lnTo>
                  <a:pt x="1914" y="605"/>
                </a:lnTo>
                <a:lnTo>
                  <a:pt x="1868" y="605"/>
                </a:lnTo>
                <a:close/>
                <a:moveTo>
                  <a:pt x="1699" y="318"/>
                </a:moveTo>
                <a:cubicBezTo>
                  <a:pt x="1699" y="275"/>
                  <a:pt x="1682" y="199"/>
                  <a:pt x="1626" y="199"/>
                </a:cubicBezTo>
                <a:cubicBezTo>
                  <a:pt x="1569" y="199"/>
                  <a:pt x="1562" y="286"/>
                  <a:pt x="1562" y="326"/>
                </a:cubicBezTo>
                <a:cubicBezTo>
                  <a:pt x="1562" y="367"/>
                  <a:pt x="1570" y="442"/>
                  <a:pt x="1625" y="442"/>
                </a:cubicBezTo>
                <a:cubicBezTo>
                  <a:pt x="1682" y="442"/>
                  <a:pt x="1699" y="362"/>
                  <a:pt x="1699" y="318"/>
                </a:cubicBezTo>
                <a:close/>
                <a:moveTo>
                  <a:pt x="1699" y="420"/>
                </a:moveTo>
                <a:lnTo>
                  <a:pt x="1698" y="420"/>
                </a:lnTo>
                <a:cubicBezTo>
                  <a:pt x="1686" y="457"/>
                  <a:pt x="1654" y="479"/>
                  <a:pt x="1616" y="479"/>
                </a:cubicBezTo>
                <a:cubicBezTo>
                  <a:pt x="1531" y="479"/>
                  <a:pt x="1511" y="396"/>
                  <a:pt x="1511" y="326"/>
                </a:cubicBezTo>
                <a:cubicBezTo>
                  <a:pt x="1511" y="259"/>
                  <a:pt x="1532" y="161"/>
                  <a:pt x="1617" y="161"/>
                </a:cubicBezTo>
                <a:cubicBezTo>
                  <a:pt x="1654" y="161"/>
                  <a:pt x="1688" y="183"/>
                  <a:pt x="1698" y="219"/>
                </a:cubicBezTo>
                <a:lnTo>
                  <a:pt x="1699" y="219"/>
                </a:lnTo>
                <a:lnTo>
                  <a:pt x="1699" y="169"/>
                </a:lnTo>
                <a:lnTo>
                  <a:pt x="1744" y="169"/>
                </a:lnTo>
                <a:lnTo>
                  <a:pt x="1744" y="480"/>
                </a:lnTo>
                <a:cubicBezTo>
                  <a:pt x="1744" y="569"/>
                  <a:pt x="1701" y="615"/>
                  <a:pt x="1612" y="615"/>
                </a:cubicBezTo>
                <a:cubicBezTo>
                  <a:pt x="1581" y="615"/>
                  <a:pt x="1557" y="610"/>
                  <a:pt x="1528" y="604"/>
                </a:cubicBezTo>
                <a:lnTo>
                  <a:pt x="1528" y="559"/>
                </a:lnTo>
                <a:cubicBezTo>
                  <a:pt x="1553" y="572"/>
                  <a:pt x="1577" y="578"/>
                  <a:pt x="1606" y="578"/>
                </a:cubicBezTo>
                <a:cubicBezTo>
                  <a:pt x="1677" y="578"/>
                  <a:pt x="1699" y="541"/>
                  <a:pt x="1699" y="475"/>
                </a:cubicBezTo>
                <a:lnTo>
                  <a:pt x="1699" y="420"/>
                </a:lnTo>
                <a:close/>
                <a:moveTo>
                  <a:pt x="1408" y="257"/>
                </a:moveTo>
                <a:cubicBezTo>
                  <a:pt x="1408" y="223"/>
                  <a:pt x="1383" y="199"/>
                  <a:pt x="1349" y="199"/>
                </a:cubicBezTo>
                <a:cubicBezTo>
                  <a:pt x="1312" y="199"/>
                  <a:pt x="1291" y="223"/>
                  <a:pt x="1284" y="257"/>
                </a:cubicBezTo>
                <a:lnTo>
                  <a:pt x="1408" y="257"/>
                </a:lnTo>
                <a:close/>
                <a:moveTo>
                  <a:pt x="1452" y="477"/>
                </a:moveTo>
                <a:cubicBezTo>
                  <a:pt x="1429" y="484"/>
                  <a:pt x="1405" y="486"/>
                  <a:pt x="1381" y="486"/>
                </a:cubicBezTo>
                <a:cubicBezTo>
                  <a:pt x="1273" y="486"/>
                  <a:pt x="1230" y="415"/>
                  <a:pt x="1230" y="313"/>
                </a:cubicBezTo>
                <a:cubicBezTo>
                  <a:pt x="1230" y="233"/>
                  <a:pt x="1260" y="161"/>
                  <a:pt x="1351" y="161"/>
                </a:cubicBezTo>
                <a:cubicBezTo>
                  <a:pt x="1423" y="161"/>
                  <a:pt x="1459" y="210"/>
                  <a:pt x="1459" y="280"/>
                </a:cubicBezTo>
                <a:lnTo>
                  <a:pt x="1459" y="295"/>
                </a:lnTo>
                <a:lnTo>
                  <a:pt x="1281" y="295"/>
                </a:lnTo>
                <a:lnTo>
                  <a:pt x="1281" y="313"/>
                </a:lnTo>
                <a:cubicBezTo>
                  <a:pt x="1281" y="381"/>
                  <a:pt x="1314" y="449"/>
                  <a:pt x="1391" y="449"/>
                </a:cubicBezTo>
                <a:cubicBezTo>
                  <a:pt x="1412" y="449"/>
                  <a:pt x="1431" y="446"/>
                  <a:pt x="1452" y="441"/>
                </a:cubicBezTo>
                <a:lnTo>
                  <a:pt x="1452" y="477"/>
                </a:lnTo>
                <a:close/>
                <a:moveTo>
                  <a:pt x="1187" y="483"/>
                </a:moveTo>
                <a:cubicBezTo>
                  <a:pt x="1173" y="485"/>
                  <a:pt x="1160" y="486"/>
                  <a:pt x="1147" y="486"/>
                </a:cubicBezTo>
                <a:cubicBezTo>
                  <a:pt x="1089" y="486"/>
                  <a:pt x="1061" y="467"/>
                  <a:pt x="1061" y="406"/>
                </a:cubicBezTo>
                <a:lnTo>
                  <a:pt x="1061" y="206"/>
                </a:lnTo>
                <a:lnTo>
                  <a:pt x="1010" y="206"/>
                </a:lnTo>
                <a:lnTo>
                  <a:pt x="1010" y="169"/>
                </a:lnTo>
                <a:lnTo>
                  <a:pt x="1061" y="169"/>
                </a:lnTo>
                <a:lnTo>
                  <a:pt x="1061" y="96"/>
                </a:lnTo>
                <a:lnTo>
                  <a:pt x="1106" y="68"/>
                </a:lnTo>
                <a:lnTo>
                  <a:pt x="1106" y="169"/>
                </a:lnTo>
                <a:lnTo>
                  <a:pt x="1189" y="169"/>
                </a:lnTo>
                <a:lnTo>
                  <a:pt x="1189" y="206"/>
                </a:lnTo>
                <a:lnTo>
                  <a:pt x="1106" y="206"/>
                </a:lnTo>
                <a:lnTo>
                  <a:pt x="1106" y="397"/>
                </a:lnTo>
                <a:cubicBezTo>
                  <a:pt x="1106" y="430"/>
                  <a:pt x="1121" y="449"/>
                  <a:pt x="1157" y="449"/>
                </a:cubicBezTo>
                <a:cubicBezTo>
                  <a:pt x="1169" y="449"/>
                  <a:pt x="1175" y="448"/>
                  <a:pt x="1187" y="443"/>
                </a:cubicBezTo>
                <a:lnTo>
                  <a:pt x="1187" y="483"/>
                </a:lnTo>
                <a:close/>
                <a:moveTo>
                  <a:pt x="872" y="338"/>
                </a:moveTo>
                <a:cubicBezTo>
                  <a:pt x="833" y="338"/>
                  <a:pt x="770" y="355"/>
                  <a:pt x="770" y="404"/>
                </a:cubicBezTo>
                <a:cubicBezTo>
                  <a:pt x="770" y="430"/>
                  <a:pt x="788" y="449"/>
                  <a:pt x="814" y="449"/>
                </a:cubicBezTo>
                <a:cubicBezTo>
                  <a:pt x="844" y="449"/>
                  <a:pt x="874" y="429"/>
                  <a:pt x="886" y="401"/>
                </a:cubicBezTo>
                <a:cubicBezTo>
                  <a:pt x="897" y="378"/>
                  <a:pt x="898" y="364"/>
                  <a:pt x="898" y="338"/>
                </a:cubicBezTo>
                <a:lnTo>
                  <a:pt x="872" y="338"/>
                </a:lnTo>
                <a:close/>
                <a:moveTo>
                  <a:pt x="899" y="479"/>
                </a:moveTo>
                <a:lnTo>
                  <a:pt x="899" y="438"/>
                </a:lnTo>
                <a:lnTo>
                  <a:pt x="898" y="438"/>
                </a:lnTo>
                <a:cubicBezTo>
                  <a:pt x="881" y="471"/>
                  <a:pt x="837" y="486"/>
                  <a:pt x="803" y="486"/>
                </a:cubicBezTo>
                <a:cubicBezTo>
                  <a:pt x="749" y="486"/>
                  <a:pt x="719" y="452"/>
                  <a:pt x="719" y="400"/>
                </a:cubicBezTo>
                <a:cubicBezTo>
                  <a:pt x="719" y="330"/>
                  <a:pt x="800" y="301"/>
                  <a:pt x="898" y="301"/>
                </a:cubicBezTo>
                <a:lnTo>
                  <a:pt x="898" y="295"/>
                </a:lnTo>
                <a:cubicBezTo>
                  <a:pt x="898" y="248"/>
                  <a:pt x="901" y="199"/>
                  <a:pt x="839" y="199"/>
                </a:cubicBezTo>
                <a:cubicBezTo>
                  <a:pt x="802" y="199"/>
                  <a:pt x="781" y="211"/>
                  <a:pt x="776" y="248"/>
                </a:cubicBezTo>
                <a:lnTo>
                  <a:pt x="726" y="248"/>
                </a:lnTo>
                <a:cubicBezTo>
                  <a:pt x="728" y="186"/>
                  <a:pt x="782" y="161"/>
                  <a:pt x="838" y="161"/>
                </a:cubicBezTo>
                <a:cubicBezTo>
                  <a:pt x="908" y="161"/>
                  <a:pt x="942" y="191"/>
                  <a:pt x="942" y="261"/>
                </a:cubicBezTo>
                <a:lnTo>
                  <a:pt x="942" y="479"/>
                </a:lnTo>
                <a:lnTo>
                  <a:pt x="899" y="479"/>
                </a:lnTo>
                <a:close/>
                <a:moveTo>
                  <a:pt x="545" y="479"/>
                </a:moveTo>
                <a:lnTo>
                  <a:pt x="545" y="169"/>
                </a:lnTo>
                <a:lnTo>
                  <a:pt x="589" y="169"/>
                </a:lnTo>
                <a:lnTo>
                  <a:pt x="589" y="229"/>
                </a:lnTo>
                <a:lnTo>
                  <a:pt x="591" y="229"/>
                </a:lnTo>
                <a:cubicBezTo>
                  <a:pt x="610" y="184"/>
                  <a:pt x="645" y="161"/>
                  <a:pt x="694" y="161"/>
                </a:cubicBezTo>
                <a:lnTo>
                  <a:pt x="694" y="209"/>
                </a:lnTo>
                <a:cubicBezTo>
                  <a:pt x="614" y="209"/>
                  <a:pt x="589" y="283"/>
                  <a:pt x="589" y="351"/>
                </a:cubicBezTo>
                <a:lnTo>
                  <a:pt x="589" y="479"/>
                </a:lnTo>
                <a:lnTo>
                  <a:pt x="545" y="479"/>
                </a:lnTo>
                <a:close/>
                <a:moveTo>
                  <a:pt x="481" y="483"/>
                </a:moveTo>
                <a:cubicBezTo>
                  <a:pt x="468" y="485"/>
                  <a:pt x="455" y="486"/>
                  <a:pt x="442" y="486"/>
                </a:cubicBezTo>
                <a:cubicBezTo>
                  <a:pt x="383" y="486"/>
                  <a:pt x="356" y="467"/>
                  <a:pt x="356" y="406"/>
                </a:cubicBezTo>
                <a:lnTo>
                  <a:pt x="356" y="206"/>
                </a:lnTo>
                <a:lnTo>
                  <a:pt x="305" y="206"/>
                </a:lnTo>
                <a:lnTo>
                  <a:pt x="305" y="169"/>
                </a:lnTo>
                <a:lnTo>
                  <a:pt x="356" y="169"/>
                </a:lnTo>
                <a:lnTo>
                  <a:pt x="356" y="96"/>
                </a:lnTo>
                <a:lnTo>
                  <a:pt x="400" y="68"/>
                </a:lnTo>
                <a:lnTo>
                  <a:pt x="400" y="169"/>
                </a:lnTo>
                <a:lnTo>
                  <a:pt x="484" y="169"/>
                </a:lnTo>
                <a:lnTo>
                  <a:pt x="484" y="206"/>
                </a:lnTo>
                <a:lnTo>
                  <a:pt x="400" y="206"/>
                </a:lnTo>
                <a:lnTo>
                  <a:pt x="400" y="397"/>
                </a:lnTo>
                <a:cubicBezTo>
                  <a:pt x="400" y="430"/>
                  <a:pt x="415" y="449"/>
                  <a:pt x="451" y="449"/>
                </a:cubicBezTo>
                <a:cubicBezTo>
                  <a:pt x="463" y="449"/>
                  <a:pt x="470" y="448"/>
                  <a:pt x="481" y="443"/>
                </a:cubicBezTo>
                <a:lnTo>
                  <a:pt x="481" y="483"/>
                </a:lnTo>
                <a:close/>
              </a:path>
            </a:pathLst>
          </a:custGeom>
          <a:solidFill>
            <a:srgbClr val="0304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11345" y="1240610"/>
            <a:ext cx="1652822" cy="636380"/>
          </a:xfrm>
          <a:prstGeom prst="rect">
            <a:avLst/>
          </a:prstGeom>
        </p:spPr>
      </p:pic>
    </p:spTree>
    <p:extLst>
      <p:ext uri="{BB962C8B-B14F-4D97-AF65-F5344CB8AC3E}">
        <p14:creationId xmlns:p14="http://schemas.microsoft.com/office/powerpoint/2010/main" val="16762064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298137A4-986C-44B7-BC96-9776515981F1}" type="slidenum">
              <a:rPr lang="pt-BR" smtClean="0"/>
              <a:pPr/>
              <a:t>‹nº›</a:t>
            </a:fld>
            <a:endParaRPr lang="pt-BR"/>
          </a:p>
        </p:txBody>
      </p:sp>
      <p:sp>
        <p:nvSpPr>
          <p:cNvPr id="8" name="Rectangle 6"/>
          <p:cNvSpPr txBox="1">
            <a:spLocks noChangeArrowheads="1"/>
          </p:cNvSpPr>
          <p:nvPr userDrawn="1"/>
        </p:nvSpPr>
        <p:spPr>
          <a:xfrm>
            <a:off x="8460432" y="6423025"/>
            <a:ext cx="683568" cy="438150"/>
          </a:xfrm>
          <a:prstGeom prst="rect">
            <a:avLst/>
          </a:prstGeom>
        </p:spPr>
        <p:txBody>
          <a:bodyPr vert="horz" lIns="91440" tIns="45720" rIns="91440" bIns="45720" rtlCol="0" anchor="ctr"/>
          <a:lstStyle>
            <a:defPPr>
              <a:defRPr lang="pt-BR"/>
            </a:defPPr>
            <a:lvl1pPr marL="0" algn="r" defTabSz="914400" rtl="0" eaLnBrk="1" latinLnBrk="0" hangingPunct="1">
              <a:defRPr sz="1400" kern="1200">
                <a:solidFill>
                  <a:schemeClr val="bg1">
                    <a:lumMod val="65000"/>
                  </a:schemeClr>
                </a:solidFill>
                <a:latin typeface="Trebuchet M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64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9000446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74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325031561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2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a:off x="2" y="0"/>
            <a:ext cx="9143999" cy="6858000"/>
          </a:xfrm>
          <a:prstGeom prst="rect">
            <a:avLst/>
          </a:prstGeom>
          <a:solidFill>
            <a:srgbClr val="1F497D">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spTree>
    <p:extLst>
      <p:ext uri="{BB962C8B-B14F-4D97-AF65-F5344CB8AC3E}">
        <p14:creationId xmlns:p14="http://schemas.microsoft.com/office/powerpoint/2010/main" val="34364424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84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40004347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95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23416963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5813" y="4509889"/>
            <a:ext cx="3163634" cy="646331"/>
          </a:xfrm>
          <a:noFill/>
        </p:spPr>
        <p:txBody>
          <a:bodyPr wrap="square" anchor="t" anchorCtr="0">
            <a:spAutoFit/>
          </a:bodyPr>
          <a:lstStyle>
            <a:lvl1pPr>
              <a:defRPr sz="2100">
                <a:solidFill>
                  <a:srgbClr val="002266"/>
                </a:solidFill>
              </a:defRPr>
            </a:lvl1pPr>
          </a:lstStyle>
          <a:p>
            <a:r>
              <a:rPr lang="pt-BR" dirty="0"/>
              <a:t>Click to edit Master title style</a:t>
            </a:r>
          </a:p>
        </p:txBody>
      </p:sp>
      <p:sp>
        <p:nvSpPr>
          <p:cNvPr id="3" name="Subtitle 2"/>
          <p:cNvSpPr>
            <a:spLocks noGrp="1"/>
          </p:cNvSpPr>
          <p:nvPr>
            <p:ph type="subTitle" idx="1"/>
          </p:nvPr>
        </p:nvSpPr>
        <p:spPr>
          <a:xfrm>
            <a:off x="435219" y="5547385"/>
            <a:ext cx="3026996" cy="207749"/>
          </a:xfrm>
        </p:spPr>
        <p:txBody>
          <a:bodyPr/>
          <a:lstStyle>
            <a:lvl1pPr marL="0" indent="0" algn="l">
              <a:buNone/>
              <a:defRPr sz="1350">
                <a:solidFill>
                  <a:srgbClr val="2F539C"/>
                </a:solidFill>
              </a:defRPr>
            </a:lvl1pPr>
            <a:lvl2pPr marL="342883" indent="0" algn="ctr">
              <a:buNone/>
              <a:defRPr>
                <a:solidFill>
                  <a:schemeClr val="tx1">
                    <a:tint val="75000"/>
                  </a:schemeClr>
                </a:solidFill>
              </a:defRPr>
            </a:lvl2pPr>
            <a:lvl3pPr marL="685767" indent="0" algn="ctr">
              <a:buNone/>
              <a:defRPr>
                <a:solidFill>
                  <a:schemeClr val="tx1">
                    <a:tint val="75000"/>
                  </a:schemeClr>
                </a:solidFill>
              </a:defRPr>
            </a:lvl3pPr>
            <a:lvl4pPr marL="1028648"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2" indent="0" algn="ctr">
              <a:buNone/>
              <a:defRPr>
                <a:solidFill>
                  <a:schemeClr val="tx1">
                    <a:tint val="75000"/>
                  </a:schemeClr>
                </a:solidFill>
              </a:defRPr>
            </a:lvl9pPr>
          </a:lstStyle>
          <a:p>
            <a:r>
              <a:rPr lang="pt-BR" dirty="0"/>
              <a:t>Click to edit Master subtitle style</a:t>
            </a:r>
          </a:p>
        </p:txBody>
      </p:sp>
      <p:cxnSp>
        <p:nvCxnSpPr>
          <p:cNvPr id="54" name="Straight Connector 9"/>
          <p:cNvCxnSpPr>
            <a:cxnSpLocks noChangeShapeType="1"/>
          </p:cNvCxnSpPr>
          <p:nvPr userDrawn="1"/>
        </p:nvCxnSpPr>
        <p:spPr bwMode="auto">
          <a:xfrm>
            <a:off x="435221" y="1112935"/>
            <a:ext cx="8708783" cy="0"/>
          </a:xfrm>
          <a:prstGeom prst="line">
            <a:avLst/>
          </a:prstGeom>
          <a:noFill/>
          <a:ln w="12700">
            <a:solidFill>
              <a:schemeClr val="tx1"/>
            </a:solidFill>
            <a:round/>
            <a:headEnd/>
            <a:tailEnd/>
          </a:ln>
        </p:spPr>
      </p:cxnSp>
      <p:grpSp>
        <p:nvGrpSpPr>
          <p:cNvPr id="55" name="Group 54"/>
          <p:cNvGrpSpPr/>
          <p:nvPr userDrawn="1"/>
        </p:nvGrpSpPr>
        <p:grpSpPr>
          <a:xfrm>
            <a:off x="435222" y="366058"/>
            <a:ext cx="2061150" cy="1062376"/>
            <a:chOff x="471488" y="366051"/>
            <a:chExt cx="2232912" cy="1062375"/>
          </a:xfrm>
        </p:grpSpPr>
        <p:sp>
          <p:nvSpPr>
            <p:cNvPr id="56" name="Freeform 14"/>
            <p:cNvSpPr>
              <a:spLocks/>
            </p:cNvSpPr>
            <p:nvPr userDrawn="1"/>
          </p:nvSpPr>
          <p:spPr bwMode="auto">
            <a:xfrm>
              <a:off x="1754457" y="366051"/>
              <a:ext cx="206884" cy="211195"/>
            </a:xfrm>
            <a:custGeom>
              <a:avLst/>
              <a:gdLst/>
              <a:ahLst/>
              <a:cxnLst>
                <a:cxn ang="0">
                  <a:pos x="0" y="0"/>
                </a:cxn>
                <a:cxn ang="0">
                  <a:pos x="0" y="52"/>
                </a:cxn>
                <a:cxn ang="0">
                  <a:pos x="0" y="359"/>
                </a:cxn>
                <a:cxn ang="0">
                  <a:pos x="12" y="364"/>
                </a:cxn>
                <a:cxn ang="0">
                  <a:pos x="44" y="376"/>
                </a:cxn>
                <a:cxn ang="0">
                  <a:pos x="95" y="396"/>
                </a:cxn>
                <a:cxn ang="0">
                  <a:pos x="162" y="421"/>
                </a:cxn>
                <a:cxn ang="0">
                  <a:pos x="241" y="452"/>
                </a:cxn>
                <a:cxn ang="0">
                  <a:pos x="330" y="486"/>
                </a:cxn>
                <a:cxn ang="0">
                  <a:pos x="427" y="524"/>
                </a:cxn>
                <a:cxn ang="0">
                  <a:pos x="529" y="563"/>
                </a:cxn>
                <a:cxn ang="0">
                  <a:pos x="631" y="603"/>
                </a:cxn>
                <a:cxn ang="0">
                  <a:pos x="733" y="642"/>
                </a:cxn>
                <a:cxn ang="0">
                  <a:pos x="832" y="680"/>
                </a:cxn>
                <a:cxn ang="0">
                  <a:pos x="923" y="715"/>
                </a:cxn>
                <a:cxn ang="0">
                  <a:pos x="1005" y="747"/>
                </a:cxn>
                <a:cxn ang="0">
                  <a:pos x="1074" y="773"/>
                </a:cxn>
                <a:cxn ang="0">
                  <a:pos x="1130" y="795"/>
                </a:cxn>
                <a:cxn ang="0">
                  <a:pos x="1167" y="809"/>
                </a:cxn>
                <a:cxn ang="0">
                  <a:pos x="1130" y="824"/>
                </a:cxn>
                <a:cxn ang="0">
                  <a:pos x="1074" y="845"/>
                </a:cxn>
                <a:cxn ang="0">
                  <a:pos x="1005" y="872"/>
                </a:cxn>
                <a:cxn ang="0">
                  <a:pos x="923" y="903"/>
                </a:cxn>
                <a:cxn ang="0">
                  <a:pos x="832" y="939"/>
                </a:cxn>
                <a:cxn ang="0">
                  <a:pos x="733" y="976"/>
                </a:cxn>
                <a:cxn ang="0">
                  <a:pos x="631" y="1016"/>
                </a:cxn>
                <a:cxn ang="0">
                  <a:pos x="529" y="1054"/>
                </a:cxn>
                <a:cxn ang="0">
                  <a:pos x="427" y="1093"/>
                </a:cxn>
                <a:cxn ang="0">
                  <a:pos x="330" y="1131"/>
                </a:cxn>
                <a:cxn ang="0">
                  <a:pos x="241" y="1165"/>
                </a:cxn>
                <a:cxn ang="0">
                  <a:pos x="162" y="1196"/>
                </a:cxn>
                <a:cxn ang="0">
                  <a:pos x="95" y="1221"/>
                </a:cxn>
                <a:cxn ang="0">
                  <a:pos x="44" y="1241"/>
                </a:cxn>
                <a:cxn ang="0">
                  <a:pos x="12" y="1254"/>
                </a:cxn>
                <a:cxn ang="0">
                  <a:pos x="0" y="1258"/>
                </a:cxn>
                <a:cxn ang="0">
                  <a:pos x="0" y="1616"/>
                </a:cxn>
                <a:cxn ang="0">
                  <a:pos x="1587" y="973"/>
                </a:cxn>
                <a:cxn ang="0">
                  <a:pos x="1587" y="644"/>
                </a:cxn>
                <a:cxn ang="0">
                  <a:pos x="0" y="0"/>
                </a:cxn>
              </a:cxnLst>
              <a:rect l="0" t="0" r="r" b="b"/>
              <a:pathLst>
                <a:path w="1587" h="1616">
                  <a:moveTo>
                    <a:pt x="0" y="0"/>
                  </a:moveTo>
                  <a:lnTo>
                    <a:pt x="0" y="52"/>
                  </a:lnTo>
                  <a:lnTo>
                    <a:pt x="0" y="359"/>
                  </a:lnTo>
                  <a:lnTo>
                    <a:pt x="12" y="364"/>
                  </a:lnTo>
                  <a:lnTo>
                    <a:pt x="44" y="376"/>
                  </a:lnTo>
                  <a:lnTo>
                    <a:pt x="95" y="396"/>
                  </a:lnTo>
                  <a:lnTo>
                    <a:pt x="162" y="421"/>
                  </a:lnTo>
                  <a:lnTo>
                    <a:pt x="241" y="452"/>
                  </a:lnTo>
                  <a:lnTo>
                    <a:pt x="330" y="486"/>
                  </a:lnTo>
                  <a:lnTo>
                    <a:pt x="427" y="524"/>
                  </a:lnTo>
                  <a:lnTo>
                    <a:pt x="529" y="563"/>
                  </a:lnTo>
                  <a:lnTo>
                    <a:pt x="631" y="603"/>
                  </a:lnTo>
                  <a:lnTo>
                    <a:pt x="733" y="642"/>
                  </a:lnTo>
                  <a:lnTo>
                    <a:pt x="832" y="680"/>
                  </a:lnTo>
                  <a:lnTo>
                    <a:pt x="923" y="715"/>
                  </a:lnTo>
                  <a:lnTo>
                    <a:pt x="1005" y="747"/>
                  </a:lnTo>
                  <a:lnTo>
                    <a:pt x="1074" y="773"/>
                  </a:lnTo>
                  <a:lnTo>
                    <a:pt x="1130" y="795"/>
                  </a:lnTo>
                  <a:lnTo>
                    <a:pt x="1167" y="809"/>
                  </a:lnTo>
                  <a:lnTo>
                    <a:pt x="1130" y="824"/>
                  </a:lnTo>
                  <a:lnTo>
                    <a:pt x="1074" y="845"/>
                  </a:lnTo>
                  <a:lnTo>
                    <a:pt x="1005" y="872"/>
                  </a:lnTo>
                  <a:lnTo>
                    <a:pt x="923" y="903"/>
                  </a:lnTo>
                  <a:lnTo>
                    <a:pt x="832" y="939"/>
                  </a:lnTo>
                  <a:lnTo>
                    <a:pt x="733" y="976"/>
                  </a:lnTo>
                  <a:lnTo>
                    <a:pt x="631" y="1016"/>
                  </a:lnTo>
                  <a:lnTo>
                    <a:pt x="529" y="1054"/>
                  </a:lnTo>
                  <a:lnTo>
                    <a:pt x="427" y="1093"/>
                  </a:lnTo>
                  <a:lnTo>
                    <a:pt x="330" y="1131"/>
                  </a:lnTo>
                  <a:lnTo>
                    <a:pt x="241" y="1165"/>
                  </a:lnTo>
                  <a:lnTo>
                    <a:pt x="162" y="1196"/>
                  </a:lnTo>
                  <a:lnTo>
                    <a:pt x="95" y="1221"/>
                  </a:lnTo>
                  <a:lnTo>
                    <a:pt x="44" y="1241"/>
                  </a:lnTo>
                  <a:lnTo>
                    <a:pt x="12" y="1254"/>
                  </a:lnTo>
                  <a:lnTo>
                    <a:pt x="0" y="1258"/>
                  </a:lnTo>
                  <a:lnTo>
                    <a:pt x="0" y="1616"/>
                  </a:lnTo>
                  <a:lnTo>
                    <a:pt x="1587" y="973"/>
                  </a:lnTo>
                  <a:lnTo>
                    <a:pt x="1587" y="644"/>
                  </a:lnTo>
                  <a:lnTo>
                    <a:pt x="0" y="0"/>
                  </a:lnTo>
                  <a:close/>
                </a:path>
              </a:pathLst>
            </a:custGeom>
            <a:solidFill>
              <a:srgbClr val="00BBEE"/>
            </a:solid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nvGrpSpPr>
            <p:cNvPr id="57" name="Group 56"/>
            <p:cNvGrpSpPr/>
            <p:nvPr userDrawn="1"/>
          </p:nvGrpSpPr>
          <p:grpSpPr>
            <a:xfrm>
              <a:off x="471488" y="605980"/>
              <a:ext cx="2232912" cy="822446"/>
              <a:chOff x="471488" y="605980"/>
              <a:chExt cx="2232912" cy="822446"/>
            </a:xfrm>
          </p:grpSpPr>
          <p:sp>
            <p:nvSpPr>
              <p:cNvPr id="58" name="Freeform 8"/>
              <p:cNvSpPr>
                <a:spLocks noEditPoints="1"/>
              </p:cNvSpPr>
              <p:nvPr userDrawn="1"/>
            </p:nvSpPr>
            <p:spPr bwMode="auto">
              <a:xfrm>
                <a:off x="483200" y="1226389"/>
                <a:ext cx="2221200" cy="202037"/>
              </a:xfrm>
              <a:custGeom>
                <a:avLst/>
                <a:gdLst/>
                <a:ahLst/>
                <a:cxnLst>
                  <a:cxn ang="0">
                    <a:pos x="13149" y="878"/>
                  </a:cxn>
                  <a:cxn ang="0">
                    <a:pos x="13235" y="367"/>
                  </a:cxn>
                  <a:cxn ang="0">
                    <a:pos x="12964" y="772"/>
                  </a:cxn>
                  <a:cxn ang="0">
                    <a:pos x="13323" y="363"/>
                  </a:cxn>
                  <a:cxn ang="0">
                    <a:pos x="12496" y="598"/>
                  </a:cxn>
                  <a:cxn ang="0">
                    <a:pos x="12646" y="959"/>
                  </a:cxn>
                  <a:cxn ang="0">
                    <a:pos x="12469" y="346"/>
                  </a:cxn>
                  <a:cxn ang="0">
                    <a:pos x="12040" y="947"/>
                  </a:cxn>
                  <a:cxn ang="0">
                    <a:pos x="12139" y="598"/>
                  </a:cxn>
                  <a:cxn ang="0">
                    <a:pos x="11567" y="727"/>
                  </a:cxn>
                  <a:cxn ang="0">
                    <a:pos x="11612" y="935"/>
                  </a:cxn>
                  <a:cxn ang="0">
                    <a:pos x="11573" y="307"/>
                  </a:cxn>
                  <a:cxn ang="0">
                    <a:pos x="11420" y="296"/>
                  </a:cxn>
                  <a:cxn ang="0">
                    <a:pos x="10152" y="380"/>
                  </a:cxn>
                  <a:cxn ang="0">
                    <a:pos x="10243" y="955"/>
                  </a:cxn>
                  <a:cxn ang="0">
                    <a:pos x="9857" y="437"/>
                  </a:cxn>
                  <a:cxn ang="0">
                    <a:pos x="10305" y="453"/>
                  </a:cxn>
                  <a:cxn ang="0">
                    <a:pos x="9631" y="498"/>
                  </a:cxn>
                  <a:cxn ang="0">
                    <a:pos x="9529" y="30"/>
                  </a:cxn>
                  <a:cxn ang="0">
                    <a:pos x="9627" y="860"/>
                  </a:cxn>
                  <a:cxn ang="0">
                    <a:pos x="8359" y="361"/>
                  </a:cxn>
                  <a:cxn ang="0">
                    <a:pos x="8418" y="962"/>
                  </a:cxn>
                  <a:cxn ang="0">
                    <a:pos x="8131" y="389"/>
                  </a:cxn>
                  <a:cxn ang="0">
                    <a:pos x="8564" y="560"/>
                  </a:cxn>
                  <a:cxn ang="0">
                    <a:pos x="7676" y="703"/>
                  </a:cxn>
                  <a:cxn ang="0">
                    <a:pos x="7759" y="943"/>
                  </a:cxn>
                  <a:cxn ang="0">
                    <a:pos x="7683" y="314"/>
                  </a:cxn>
                  <a:cxn ang="0">
                    <a:pos x="7330" y="422"/>
                  </a:cxn>
                  <a:cxn ang="0">
                    <a:pos x="7101" y="379"/>
                  </a:cxn>
                  <a:cxn ang="0">
                    <a:pos x="6529" y="690"/>
                  </a:cxn>
                  <a:cxn ang="0">
                    <a:pos x="6707" y="794"/>
                  </a:cxn>
                  <a:cxn ang="0">
                    <a:pos x="6363" y="801"/>
                  </a:cxn>
                  <a:cxn ang="0">
                    <a:pos x="6673" y="369"/>
                  </a:cxn>
                  <a:cxn ang="0">
                    <a:pos x="6590" y="282"/>
                  </a:cxn>
                  <a:cxn ang="0">
                    <a:pos x="6091" y="378"/>
                  </a:cxn>
                  <a:cxn ang="0">
                    <a:pos x="5748" y="380"/>
                  </a:cxn>
                  <a:cxn ang="0">
                    <a:pos x="5665" y="294"/>
                  </a:cxn>
                  <a:cxn ang="0">
                    <a:pos x="6153" y="294"/>
                  </a:cxn>
                  <a:cxn ang="0">
                    <a:pos x="5307" y="392"/>
                  </a:cxn>
                  <a:cxn ang="0">
                    <a:pos x="4526" y="581"/>
                  </a:cxn>
                  <a:cxn ang="0">
                    <a:pos x="4830" y="751"/>
                  </a:cxn>
                  <a:cxn ang="0">
                    <a:pos x="4502" y="891"/>
                  </a:cxn>
                  <a:cxn ang="0">
                    <a:pos x="4702" y="282"/>
                  </a:cxn>
                  <a:cxn ang="0">
                    <a:pos x="4846" y="911"/>
                  </a:cxn>
                  <a:cxn ang="0">
                    <a:pos x="4109" y="206"/>
                  </a:cxn>
                  <a:cxn ang="0">
                    <a:pos x="3748" y="360"/>
                  </a:cxn>
                  <a:cxn ang="0">
                    <a:pos x="3222" y="369"/>
                  </a:cxn>
                  <a:cxn ang="0">
                    <a:pos x="3209" y="823"/>
                  </a:cxn>
                  <a:cxn ang="0">
                    <a:pos x="3097" y="860"/>
                  </a:cxn>
                  <a:cxn ang="0">
                    <a:pos x="3277" y="281"/>
                  </a:cxn>
                  <a:cxn ang="0">
                    <a:pos x="2577" y="475"/>
                  </a:cxn>
                  <a:cxn ang="0">
                    <a:pos x="2827" y="752"/>
                  </a:cxn>
                  <a:cxn ang="0">
                    <a:pos x="2556" y="840"/>
                  </a:cxn>
                  <a:cxn ang="0">
                    <a:pos x="2934" y="471"/>
                  </a:cxn>
                  <a:cxn ang="0">
                    <a:pos x="1927" y="403"/>
                  </a:cxn>
                  <a:cxn ang="0">
                    <a:pos x="1720" y="364"/>
                  </a:cxn>
                  <a:cxn ang="0">
                    <a:pos x="1117" y="405"/>
                  </a:cxn>
                  <a:cxn ang="0">
                    <a:pos x="1286" y="827"/>
                  </a:cxn>
                  <a:cxn ang="0">
                    <a:pos x="994" y="1115"/>
                  </a:cxn>
                  <a:cxn ang="0">
                    <a:pos x="1262" y="928"/>
                  </a:cxn>
                  <a:cxn ang="0">
                    <a:pos x="1017" y="376"/>
                  </a:cxn>
                  <a:cxn ang="0">
                    <a:pos x="1421" y="1097"/>
                  </a:cxn>
                  <a:cxn ang="0">
                    <a:pos x="604" y="947"/>
                  </a:cxn>
                </a:cxnLst>
                <a:rect l="0" t="0" r="r" b="b"/>
                <a:pathLst>
                  <a:path w="13694" h="1240">
                    <a:moveTo>
                      <a:pt x="13557" y="947"/>
                    </a:moveTo>
                    <a:lnTo>
                      <a:pt x="13557" y="811"/>
                    </a:lnTo>
                    <a:lnTo>
                      <a:pt x="13694" y="811"/>
                    </a:lnTo>
                    <a:lnTo>
                      <a:pt x="13694" y="947"/>
                    </a:lnTo>
                    <a:lnTo>
                      <a:pt x="13557" y="947"/>
                    </a:lnTo>
                    <a:close/>
                    <a:moveTo>
                      <a:pt x="13193" y="359"/>
                    </a:moveTo>
                    <a:lnTo>
                      <a:pt x="13181" y="360"/>
                    </a:lnTo>
                    <a:lnTo>
                      <a:pt x="13170" y="361"/>
                    </a:lnTo>
                    <a:lnTo>
                      <a:pt x="13160" y="365"/>
                    </a:lnTo>
                    <a:lnTo>
                      <a:pt x="13150" y="368"/>
                    </a:lnTo>
                    <a:lnTo>
                      <a:pt x="13142" y="372"/>
                    </a:lnTo>
                    <a:lnTo>
                      <a:pt x="13133" y="378"/>
                    </a:lnTo>
                    <a:lnTo>
                      <a:pt x="13125" y="384"/>
                    </a:lnTo>
                    <a:lnTo>
                      <a:pt x="13118" y="391"/>
                    </a:lnTo>
                    <a:lnTo>
                      <a:pt x="13111" y="399"/>
                    </a:lnTo>
                    <a:lnTo>
                      <a:pt x="13105" y="407"/>
                    </a:lnTo>
                    <a:lnTo>
                      <a:pt x="13098" y="417"/>
                    </a:lnTo>
                    <a:lnTo>
                      <a:pt x="13093" y="426"/>
                    </a:lnTo>
                    <a:lnTo>
                      <a:pt x="13084" y="446"/>
                    </a:lnTo>
                    <a:lnTo>
                      <a:pt x="13076" y="468"/>
                    </a:lnTo>
                    <a:lnTo>
                      <a:pt x="13070" y="492"/>
                    </a:lnTo>
                    <a:lnTo>
                      <a:pt x="13064" y="515"/>
                    </a:lnTo>
                    <a:lnTo>
                      <a:pt x="13061" y="538"/>
                    </a:lnTo>
                    <a:lnTo>
                      <a:pt x="13058" y="562"/>
                    </a:lnTo>
                    <a:lnTo>
                      <a:pt x="13056" y="607"/>
                    </a:lnTo>
                    <a:lnTo>
                      <a:pt x="13055" y="645"/>
                    </a:lnTo>
                    <a:lnTo>
                      <a:pt x="13055" y="662"/>
                    </a:lnTo>
                    <a:lnTo>
                      <a:pt x="13056" y="681"/>
                    </a:lnTo>
                    <a:lnTo>
                      <a:pt x="13057" y="700"/>
                    </a:lnTo>
                    <a:lnTo>
                      <a:pt x="13059" y="721"/>
                    </a:lnTo>
                    <a:lnTo>
                      <a:pt x="13062" y="740"/>
                    </a:lnTo>
                    <a:lnTo>
                      <a:pt x="13066" y="760"/>
                    </a:lnTo>
                    <a:lnTo>
                      <a:pt x="13071" y="779"/>
                    </a:lnTo>
                    <a:lnTo>
                      <a:pt x="13078" y="799"/>
                    </a:lnTo>
                    <a:lnTo>
                      <a:pt x="13085" y="816"/>
                    </a:lnTo>
                    <a:lnTo>
                      <a:pt x="13094" y="833"/>
                    </a:lnTo>
                    <a:lnTo>
                      <a:pt x="13099" y="840"/>
                    </a:lnTo>
                    <a:lnTo>
                      <a:pt x="13106" y="847"/>
                    </a:lnTo>
                    <a:lnTo>
                      <a:pt x="13111" y="853"/>
                    </a:lnTo>
                    <a:lnTo>
                      <a:pt x="13118" y="860"/>
                    </a:lnTo>
                    <a:lnTo>
                      <a:pt x="13125" y="865"/>
                    </a:lnTo>
                    <a:lnTo>
                      <a:pt x="13133" y="870"/>
                    </a:lnTo>
                    <a:lnTo>
                      <a:pt x="13140" y="874"/>
                    </a:lnTo>
                    <a:lnTo>
                      <a:pt x="13149" y="878"/>
                    </a:lnTo>
                    <a:lnTo>
                      <a:pt x="13159" y="880"/>
                    </a:lnTo>
                    <a:lnTo>
                      <a:pt x="13169" y="883"/>
                    </a:lnTo>
                    <a:lnTo>
                      <a:pt x="13178" y="884"/>
                    </a:lnTo>
                    <a:lnTo>
                      <a:pt x="13190" y="885"/>
                    </a:lnTo>
                    <a:lnTo>
                      <a:pt x="13200" y="884"/>
                    </a:lnTo>
                    <a:lnTo>
                      <a:pt x="13211" y="883"/>
                    </a:lnTo>
                    <a:lnTo>
                      <a:pt x="13221" y="880"/>
                    </a:lnTo>
                    <a:lnTo>
                      <a:pt x="13229" y="877"/>
                    </a:lnTo>
                    <a:lnTo>
                      <a:pt x="13239" y="873"/>
                    </a:lnTo>
                    <a:lnTo>
                      <a:pt x="13247" y="869"/>
                    </a:lnTo>
                    <a:lnTo>
                      <a:pt x="13255" y="863"/>
                    </a:lnTo>
                    <a:lnTo>
                      <a:pt x="13263" y="857"/>
                    </a:lnTo>
                    <a:lnTo>
                      <a:pt x="13270" y="850"/>
                    </a:lnTo>
                    <a:lnTo>
                      <a:pt x="13277" y="842"/>
                    </a:lnTo>
                    <a:lnTo>
                      <a:pt x="13284" y="835"/>
                    </a:lnTo>
                    <a:lnTo>
                      <a:pt x="13289" y="826"/>
                    </a:lnTo>
                    <a:lnTo>
                      <a:pt x="13300" y="808"/>
                    </a:lnTo>
                    <a:lnTo>
                      <a:pt x="13310" y="788"/>
                    </a:lnTo>
                    <a:lnTo>
                      <a:pt x="13318" y="768"/>
                    </a:lnTo>
                    <a:lnTo>
                      <a:pt x="13325" y="747"/>
                    </a:lnTo>
                    <a:lnTo>
                      <a:pt x="13331" y="725"/>
                    </a:lnTo>
                    <a:lnTo>
                      <a:pt x="13336" y="703"/>
                    </a:lnTo>
                    <a:lnTo>
                      <a:pt x="13339" y="682"/>
                    </a:lnTo>
                    <a:lnTo>
                      <a:pt x="13341" y="661"/>
                    </a:lnTo>
                    <a:lnTo>
                      <a:pt x="13342" y="643"/>
                    </a:lnTo>
                    <a:lnTo>
                      <a:pt x="13343" y="624"/>
                    </a:lnTo>
                    <a:lnTo>
                      <a:pt x="13342" y="607"/>
                    </a:lnTo>
                    <a:lnTo>
                      <a:pt x="13341" y="587"/>
                    </a:lnTo>
                    <a:lnTo>
                      <a:pt x="13340" y="566"/>
                    </a:lnTo>
                    <a:lnTo>
                      <a:pt x="13337" y="545"/>
                    </a:lnTo>
                    <a:lnTo>
                      <a:pt x="13333" y="522"/>
                    </a:lnTo>
                    <a:lnTo>
                      <a:pt x="13328" y="500"/>
                    </a:lnTo>
                    <a:lnTo>
                      <a:pt x="13322" y="479"/>
                    </a:lnTo>
                    <a:lnTo>
                      <a:pt x="13314" y="458"/>
                    </a:lnTo>
                    <a:lnTo>
                      <a:pt x="13305" y="437"/>
                    </a:lnTo>
                    <a:lnTo>
                      <a:pt x="13295" y="419"/>
                    </a:lnTo>
                    <a:lnTo>
                      <a:pt x="13288" y="410"/>
                    </a:lnTo>
                    <a:lnTo>
                      <a:pt x="13283" y="403"/>
                    </a:lnTo>
                    <a:lnTo>
                      <a:pt x="13275" y="395"/>
                    </a:lnTo>
                    <a:lnTo>
                      <a:pt x="13268" y="388"/>
                    </a:lnTo>
                    <a:lnTo>
                      <a:pt x="13261" y="382"/>
                    </a:lnTo>
                    <a:lnTo>
                      <a:pt x="13252" y="376"/>
                    </a:lnTo>
                    <a:lnTo>
                      <a:pt x="13244" y="371"/>
                    </a:lnTo>
                    <a:lnTo>
                      <a:pt x="13235" y="367"/>
                    </a:lnTo>
                    <a:lnTo>
                      <a:pt x="13225" y="364"/>
                    </a:lnTo>
                    <a:lnTo>
                      <a:pt x="13214" y="361"/>
                    </a:lnTo>
                    <a:lnTo>
                      <a:pt x="13203" y="360"/>
                    </a:lnTo>
                    <a:lnTo>
                      <a:pt x="13193" y="359"/>
                    </a:lnTo>
                    <a:close/>
                    <a:moveTo>
                      <a:pt x="13344" y="947"/>
                    </a:moveTo>
                    <a:lnTo>
                      <a:pt x="13344" y="836"/>
                    </a:lnTo>
                    <a:lnTo>
                      <a:pt x="13341" y="836"/>
                    </a:lnTo>
                    <a:lnTo>
                      <a:pt x="13337" y="850"/>
                    </a:lnTo>
                    <a:lnTo>
                      <a:pt x="13331" y="863"/>
                    </a:lnTo>
                    <a:lnTo>
                      <a:pt x="13324" y="876"/>
                    </a:lnTo>
                    <a:lnTo>
                      <a:pt x="13316" y="888"/>
                    </a:lnTo>
                    <a:lnTo>
                      <a:pt x="13308" y="899"/>
                    </a:lnTo>
                    <a:lnTo>
                      <a:pt x="13299" y="910"/>
                    </a:lnTo>
                    <a:lnTo>
                      <a:pt x="13288" y="918"/>
                    </a:lnTo>
                    <a:lnTo>
                      <a:pt x="13277" y="927"/>
                    </a:lnTo>
                    <a:lnTo>
                      <a:pt x="13266" y="936"/>
                    </a:lnTo>
                    <a:lnTo>
                      <a:pt x="13254" y="942"/>
                    </a:lnTo>
                    <a:lnTo>
                      <a:pt x="13241" y="948"/>
                    </a:lnTo>
                    <a:lnTo>
                      <a:pt x="13228" y="953"/>
                    </a:lnTo>
                    <a:lnTo>
                      <a:pt x="13214" y="958"/>
                    </a:lnTo>
                    <a:lnTo>
                      <a:pt x="13200" y="960"/>
                    </a:lnTo>
                    <a:lnTo>
                      <a:pt x="13186" y="962"/>
                    </a:lnTo>
                    <a:lnTo>
                      <a:pt x="13172" y="962"/>
                    </a:lnTo>
                    <a:lnTo>
                      <a:pt x="13155" y="962"/>
                    </a:lnTo>
                    <a:lnTo>
                      <a:pt x="13138" y="960"/>
                    </a:lnTo>
                    <a:lnTo>
                      <a:pt x="13123" y="958"/>
                    </a:lnTo>
                    <a:lnTo>
                      <a:pt x="13109" y="954"/>
                    </a:lnTo>
                    <a:lnTo>
                      <a:pt x="13095" y="950"/>
                    </a:lnTo>
                    <a:lnTo>
                      <a:pt x="13082" y="945"/>
                    </a:lnTo>
                    <a:lnTo>
                      <a:pt x="13070" y="938"/>
                    </a:lnTo>
                    <a:lnTo>
                      <a:pt x="13058" y="931"/>
                    </a:lnTo>
                    <a:lnTo>
                      <a:pt x="13047" y="924"/>
                    </a:lnTo>
                    <a:lnTo>
                      <a:pt x="13037" y="915"/>
                    </a:lnTo>
                    <a:lnTo>
                      <a:pt x="13028" y="907"/>
                    </a:lnTo>
                    <a:lnTo>
                      <a:pt x="13019" y="897"/>
                    </a:lnTo>
                    <a:lnTo>
                      <a:pt x="13011" y="886"/>
                    </a:lnTo>
                    <a:lnTo>
                      <a:pt x="13004" y="875"/>
                    </a:lnTo>
                    <a:lnTo>
                      <a:pt x="12996" y="863"/>
                    </a:lnTo>
                    <a:lnTo>
                      <a:pt x="12991" y="851"/>
                    </a:lnTo>
                    <a:lnTo>
                      <a:pt x="12984" y="839"/>
                    </a:lnTo>
                    <a:lnTo>
                      <a:pt x="12979" y="826"/>
                    </a:lnTo>
                    <a:lnTo>
                      <a:pt x="12974" y="813"/>
                    </a:lnTo>
                    <a:lnTo>
                      <a:pt x="12970" y="800"/>
                    </a:lnTo>
                    <a:lnTo>
                      <a:pt x="12964" y="772"/>
                    </a:lnTo>
                    <a:lnTo>
                      <a:pt x="12958" y="744"/>
                    </a:lnTo>
                    <a:lnTo>
                      <a:pt x="12954" y="714"/>
                    </a:lnTo>
                    <a:lnTo>
                      <a:pt x="12951" y="685"/>
                    </a:lnTo>
                    <a:lnTo>
                      <a:pt x="12949" y="656"/>
                    </a:lnTo>
                    <a:lnTo>
                      <a:pt x="12949" y="627"/>
                    </a:lnTo>
                    <a:lnTo>
                      <a:pt x="12949" y="600"/>
                    </a:lnTo>
                    <a:lnTo>
                      <a:pt x="12952" y="572"/>
                    </a:lnTo>
                    <a:lnTo>
                      <a:pt x="12954" y="543"/>
                    </a:lnTo>
                    <a:lnTo>
                      <a:pt x="12959" y="513"/>
                    </a:lnTo>
                    <a:lnTo>
                      <a:pt x="12965" y="484"/>
                    </a:lnTo>
                    <a:lnTo>
                      <a:pt x="12972" y="456"/>
                    </a:lnTo>
                    <a:lnTo>
                      <a:pt x="12977" y="442"/>
                    </a:lnTo>
                    <a:lnTo>
                      <a:pt x="12982" y="428"/>
                    </a:lnTo>
                    <a:lnTo>
                      <a:pt x="12987" y="415"/>
                    </a:lnTo>
                    <a:lnTo>
                      <a:pt x="12993" y="402"/>
                    </a:lnTo>
                    <a:lnTo>
                      <a:pt x="12999" y="389"/>
                    </a:lnTo>
                    <a:lnTo>
                      <a:pt x="13007" y="377"/>
                    </a:lnTo>
                    <a:lnTo>
                      <a:pt x="13015" y="365"/>
                    </a:lnTo>
                    <a:lnTo>
                      <a:pt x="13022" y="354"/>
                    </a:lnTo>
                    <a:lnTo>
                      <a:pt x="13031" y="343"/>
                    </a:lnTo>
                    <a:lnTo>
                      <a:pt x="13041" y="333"/>
                    </a:lnTo>
                    <a:lnTo>
                      <a:pt x="13050" y="323"/>
                    </a:lnTo>
                    <a:lnTo>
                      <a:pt x="13061" y="316"/>
                    </a:lnTo>
                    <a:lnTo>
                      <a:pt x="13072" y="308"/>
                    </a:lnTo>
                    <a:lnTo>
                      <a:pt x="13084" y="301"/>
                    </a:lnTo>
                    <a:lnTo>
                      <a:pt x="13097" y="295"/>
                    </a:lnTo>
                    <a:lnTo>
                      <a:pt x="13110" y="290"/>
                    </a:lnTo>
                    <a:lnTo>
                      <a:pt x="13124" y="287"/>
                    </a:lnTo>
                    <a:lnTo>
                      <a:pt x="13138" y="283"/>
                    </a:lnTo>
                    <a:lnTo>
                      <a:pt x="13155" y="282"/>
                    </a:lnTo>
                    <a:lnTo>
                      <a:pt x="13171" y="281"/>
                    </a:lnTo>
                    <a:lnTo>
                      <a:pt x="13186" y="282"/>
                    </a:lnTo>
                    <a:lnTo>
                      <a:pt x="13201" y="283"/>
                    </a:lnTo>
                    <a:lnTo>
                      <a:pt x="13215" y="285"/>
                    </a:lnTo>
                    <a:lnTo>
                      <a:pt x="13229" y="289"/>
                    </a:lnTo>
                    <a:lnTo>
                      <a:pt x="13242" y="293"/>
                    </a:lnTo>
                    <a:lnTo>
                      <a:pt x="13254" y="298"/>
                    </a:lnTo>
                    <a:lnTo>
                      <a:pt x="13266" y="305"/>
                    </a:lnTo>
                    <a:lnTo>
                      <a:pt x="13277" y="313"/>
                    </a:lnTo>
                    <a:lnTo>
                      <a:pt x="13288" y="320"/>
                    </a:lnTo>
                    <a:lnTo>
                      <a:pt x="13298" y="330"/>
                    </a:lnTo>
                    <a:lnTo>
                      <a:pt x="13306" y="340"/>
                    </a:lnTo>
                    <a:lnTo>
                      <a:pt x="13315" y="351"/>
                    </a:lnTo>
                    <a:lnTo>
                      <a:pt x="13323" y="363"/>
                    </a:lnTo>
                    <a:lnTo>
                      <a:pt x="13329" y="376"/>
                    </a:lnTo>
                    <a:lnTo>
                      <a:pt x="13336" y="389"/>
                    </a:lnTo>
                    <a:lnTo>
                      <a:pt x="13341" y="403"/>
                    </a:lnTo>
                    <a:lnTo>
                      <a:pt x="13344" y="403"/>
                    </a:lnTo>
                    <a:lnTo>
                      <a:pt x="13344" y="4"/>
                    </a:lnTo>
                    <a:lnTo>
                      <a:pt x="13437" y="4"/>
                    </a:lnTo>
                    <a:lnTo>
                      <a:pt x="13437" y="947"/>
                    </a:lnTo>
                    <a:lnTo>
                      <a:pt x="13344" y="947"/>
                    </a:lnTo>
                    <a:close/>
                    <a:moveTo>
                      <a:pt x="12639" y="359"/>
                    </a:moveTo>
                    <a:lnTo>
                      <a:pt x="12625" y="360"/>
                    </a:lnTo>
                    <a:lnTo>
                      <a:pt x="12612" y="361"/>
                    </a:lnTo>
                    <a:lnTo>
                      <a:pt x="12599" y="365"/>
                    </a:lnTo>
                    <a:lnTo>
                      <a:pt x="12587" y="369"/>
                    </a:lnTo>
                    <a:lnTo>
                      <a:pt x="12576" y="373"/>
                    </a:lnTo>
                    <a:lnTo>
                      <a:pt x="12565" y="380"/>
                    </a:lnTo>
                    <a:lnTo>
                      <a:pt x="12557" y="386"/>
                    </a:lnTo>
                    <a:lnTo>
                      <a:pt x="12547" y="394"/>
                    </a:lnTo>
                    <a:lnTo>
                      <a:pt x="12539" y="403"/>
                    </a:lnTo>
                    <a:lnTo>
                      <a:pt x="12532" y="412"/>
                    </a:lnTo>
                    <a:lnTo>
                      <a:pt x="12525" y="422"/>
                    </a:lnTo>
                    <a:lnTo>
                      <a:pt x="12519" y="433"/>
                    </a:lnTo>
                    <a:lnTo>
                      <a:pt x="12513" y="445"/>
                    </a:lnTo>
                    <a:lnTo>
                      <a:pt x="12509" y="457"/>
                    </a:lnTo>
                    <a:lnTo>
                      <a:pt x="12506" y="469"/>
                    </a:lnTo>
                    <a:lnTo>
                      <a:pt x="12502" y="482"/>
                    </a:lnTo>
                    <a:lnTo>
                      <a:pt x="12764" y="482"/>
                    </a:lnTo>
                    <a:lnTo>
                      <a:pt x="12763" y="469"/>
                    </a:lnTo>
                    <a:lnTo>
                      <a:pt x="12761" y="457"/>
                    </a:lnTo>
                    <a:lnTo>
                      <a:pt x="12759" y="445"/>
                    </a:lnTo>
                    <a:lnTo>
                      <a:pt x="12754" y="433"/>
                    </a:lnTo>
                    <a:lnTo>
                      <a:pt x="12749" y="422"/>
                    </a:lnTo>
                    <a:lnTo>
                      <a:pt x="12743" y="412"/>
                    </a:lnTo>
                    <a:lnTo>
                      <a:pt x="12736" y="403"/>
                    </a:lnTo>
                    <a:lnTo>
                      <a:pt x="12728" y="394"/>
                    </a:lnTo>
                    <a:lnTo>
                      <a:pt x="12719" y="386"/>
                    </a:lnTo>
                    <a:lnTo>
                      <a:pt x="12710" y="380"/>
                    </a:lnTo>
                    <a:lnTo>
                      <a:pt x="12700" y="373"/>
                    </a:lnTo>
                    <a:lnTo>
                      <a:pt x="12688" y="369"/>
                    </a:lnTo>
                    <a:lnTo>
                      <a:pt x="12677" y="365"/>
                    </a:lnTo>
                    <a:lnTo>
                      <a:pt x="12665" y="361"/>
                    </a:lnTo>
                    <a:lnTo>
                      <a:pt x="12652" y="360"/>
                    </a:lnTo>
                    <a:lnTo>
                      <a:pt x="12639" y="359"/>
                    </a:lnTo>
                    <a:close/>
                    <a:moveTo>
                      <a:pt x="12496" y="560"/>
                    </a:moveTo>
                    <a:lnTo>
                      <a:pt x="12496" y="598"/>
                    </a:lnTo>
                    <a:lnTo>
                      <a:pt x="12496" y="625"/>
                    </a:lnTo>
                    <a:lnTo>
                      <a:pt x="12499" y="651"/>
                    </a:lnTo>
                    <a:lnTo>
                      <a:pt x="12504" y="677"/>
                    </a:lnTo>
                    <a:lnTo>
                      <a:pt x="12509" y="703"/>
                    </a:lnTo>
                    <a:lnTo>
                      <a:pt x="12517" y="727"/>
                    </a:lnTo>
                    <a:lnTo>
                      <a:pt x="12526" y="751"/>
                    </a:lnTo>
                    <a:lnTo>
                      <a:pt x="12532" y="763"/>
                    </a:lnTo>
                    <a:lnTo>
                      <a:pt x="12538" y="774"/>
                    </a:lnTo>
                    <a:lnTo>
                      <a:pt x="12545" y="785"/>
                    </a:lnTo>
                    <a:lnTo>
                      <a:pt x="12551" y="795"/>
                    </a:lnTo>
                    <a:lnTo>
                      <a:pt x="12559" y="804"/>
                    </a:lnTo>
                    <a:lnTo>
                      <a:pt x="12566" y="814"/>
                    </a:lnTo>
                    <a:lnTo>
                      <a:pt x="12574" y="823"/>
                    </a:lnTo>
                    <a:lnTo>
                      <a:pt x="12583" y="832"/>
                    </a:lnTo>
                    <a:lnTo>
                      <a:pt x="12592" y="839"/>
                    </a:lnTo>
                    <a:lnTo>
                      <a:pt x="12602" y="847"/>
                    </a:lnTo>
                    <a:lnTo>
                      <a:pt x="12612" y="853"/>
                    </a:lnTo>
                    <a:lnTo>
                      <a:pt x="12623" y="860"/>
                    </a:lnTo>
                    <a:lnTo>
                      <a:pt x="12634" y="865"/>
                    </a:lnTo>
                    <a:lnTo>
                      <a:pt x="12646" y="871"/>
                    </a:lnTo>
                    <a:lnTo>
                      <a:pt x="12658" y="874"/>
                    </a:lnTo>
                    <a:lnTo>
                      <a:pt x="12671" y="878"/>
                    </a:lnTo>
                    <a:lnTo>
                      <a:pt x="12684" y="880"/>
                    </a:lnTo>
                    <a:lnTo>
                      <a:pt x="12698" y="883"/>
                    </a:lnTo>
                    <a:lnTo>
                      <a:pt x="12712" y="884"/>
                    </a:lnTo>
                    <a:lnTo>
                      <a:pt x="12727" y="885"/>
                    </a:lnTo>
                    <a:lnTo>
                      <a:pt x="12743" y="884"/>
                    </a:lnTo>
                    <a:lnTo>
                      <a:pt x="12760" y="883"/>
                    </a:lnTo>
                    <a:lnTo>
                      <a:pt x="12776" y="882"/>
                    </a:lnTo>
                    <a:lnTo>
                      <a:pt x="12791" y="879"/>
                    </a:lnTo>
                    <a:lnTo>
                      <a:pt x="12823" y="874"/>
                    </a:lnTo>
                    <a:lnTo>
                      <a:pt x="12855" y="866"/>
                    </a:lnTo>
                    <a:lnTo>
                      <a:pt x="12855" y="943"/>
                    </a:lnTo>
                    <a:lnTo>
                      <a:pt x="12837" y="948"/>
                    </a:lnTo>
                    <a:lnTo>
                      <a:pt x="12818" y="952"/>
                    </a:lnTo>
                    <a:lnTo>
                      <a:pt x="12800" y="955"/>
                    </a:lnTo>
                    <a:lnTo>
                      <a:pt x="12781" y="959"/>
                    </a:lnTo>
                    <a:lnTo>
                      <a:pt x="12763" y="960"/>
                    </a:lnTo>
                    <a:lnTo>
                      <a:pt x="12744" y="962"/>
                    </a:lnTo>
                    <a:lnTo>
                      <a:pt x="12725" y="962"/>
                    </a:lnTo>
                    <a:lnTo>
                      <a:pt x="12706" y="962"/>
                    </a:lnTo>
                    <a:lnTo>
                      <a:pt x="12686" y="962"/>
                    </a:lnTo>
                    <a:lnTo>
                      <a:pt x="12665" y="961"/>
                    </a:lnTo>
                    <a:lnTo>
                      <a:pt x="12646" y="959"/>
                    </a:lnTo>
                    <a:lnTo>
                      <a:pt x="12627" y="955"/>
                    </a:lnTo>
                    <a:lnTo>
                      <a:pt x="12610" y="951"/>
                    </a:lnTo>
                    <a:lnTo>
                      <a:pt x="12592" y="947"/>
                    </a:lnTo>
                    <a:lnTo>
                      <a:pt x="12577" y="941"/>
                    </a:lnTo>
                    <a:lnTo>
                      <a:pt x="12561" y="935"/>
                    </a:lnTo>
                    <a:lnTo>
                      <a:pt x="12547" y="928"/>
                    </a:lnTo>
                    <a:lnTo>
                      <a:pt x="12533" y="921"/>
                    </a:lnTo>
                    <a:lnTo>
                      <a:pt x="12519" y="912"/>
                    </a:lnTo>
                    <a:lnTo>
                      <a:pt x="12507" y="903"/>
                    </a:lnTo>
                    <a:lnTo>
                      <a:pt x="12495" y="893"/>
                    </a:lnTo>
                    <a:lnTo>
                      <a:pt x="12483" y="883"/>
                    </a:lnTo>
                    <a:lnTo>
                      <a:pt x="12473" y="872"/>
                    </a:lnTo>
                    <a:lnTo>
                      <a:pt x="12463" y="860"/>
                    </a:lnTo>
                    <a:lnTo>
                      <a:pt x="12454" y="848"/>
                    </a:lnTo>
                    <a:lnTo>
                      <a:pt x="12445" y="835"/>
                    </a:lnTo>
                    <a:lnTo>
                      <a:pt x="12437" y="821"/>
                    </a:lnTo>
                    <a:lnTo>
                      <a:pt x="12430" y="807"/>
                    </a:lnTo>
                    <a:lnTo>
                      <a:pt x="12423" y="793"/>
                    </a:lnTo>
                    <a:lnTo>
                      <a:pt x="12417" y="777"/>
                    </a:lnTo>
                    <a:lnTo>
                      <a:pt x="12411" y="762"/>
                    </a:lnTo>
                    <a:lnTo>
                      <a:pt x="12407" y="746"/>
                    </a:lnTo>
                    <a:lnTo>
                      <a:pt x="12403" y="728"/>
                    </a:lnTo>
                    <a:lnTo>
                      <a:pt x="12399" y="711"/>
                    </a:lnTo>
                    <a:lnTo>
                      <a:pt x="12396" y="694"/>
                    </a:lnTo>
                    <a:lnTo>
                      <a:pt x="12393" y="676"/>
                    </a:lnTo>
                    <a:lnTo>
                      <a:pt x="12392" y="658"/>
                    </a:lnTo>
                    <a:lnTo>
                      <a:pt x="12390" y="638"/>
                    </a:lnTo>
                    <a:lnTo>
                      <a:pt x="12390" y="620"/>
                    </a:lnTo>
                    <a:lnTo>
                      <a:pt x="12389" y="600"/>
                    </a:lnTo>
                    <a:lnTo>
                      <a:pt x="12390" y="569"/>
                    </a:lnTo>
                    <a:lnTo>
                      <a:pt x="12392" y="537"/>
                    </a:lnTo>
                    <a:lnTo>
                      <a:pt x="12396" y="508"/>
                    </a:lnTo>
                    <a:lnTo>
                      <a:pt x="12402" y="479"/>
                    </a:lnTo>
                    <a:lnTo>
                      <a:pt x="12405" y="465"/>
                    </a:lnTo>
                    <a:lnTo>
                      <a:pt x="12409" y="450"/>
                    </a:lnTo>
                    <a:lnTo>
                      <a:pt x="12413" y="437"/>
                    </a:lnTo>
                    <a:lnTo>
                      <a:pt x="12419" y="424"/>
                    </a:lnTo>
                    <a:lnTo>
                      <a:pt x="12424" y="412"/>
                    </a:lnTo>
                    <a:lnTo>
                      <a:pt x="12431" y="399"/>
                    </a:lnTo>
                    <a:lnTo>
                      <a:pt x="12437" y="389"/>
                    </a:lnTo>
                    <a:lnTo>
                      <a:pt x="12444" y="377"/>
                    </a:lnTo>
                    <a:lnTo>
                      <a:pt x="12453" y="366"/>
                    </a:lnTo>
                    <a:lnTo>
                      <a:pt x="12460" y="356"/>
                    </a:lnTo>
                    <a:lnTo>
                      <a:pt x="12469" y="346"/>
                    </a:lnTo>
                    <a:lnTo>
                      <a:pt x="12479" y="338"/>
                    </a:lnTo>
                    <a:lnTo>
                      <a:pt x="12488" y="329"/>
                    </a:lnTo>
                    <a:lnTo>
                      <a:pt x="12499" y="321"/>
                    </a:lnTo>
                    <a:lnTo>
                      <a:pt x="12511" y="314"/>
                    </a:lnTo>
                    <a:lnTo>
                      <a:pt x="12523" y="307"/>
                    </a:lnTo>
                    <a:lnTo>
                      <a:pt x="12535" y="302"/>
                    </a:lnTo>
                    <a:lnTo>
                      <a:pt x="12549" y="296"/>
                    </a:lnTo>
                    <a:lnTo>
                      <a:pt x="12562" y="292"/>
                    </a:lnTo>
                    <a:lnTo>
                      <a:pt x="12577" y="288"/>
                    </a:lnTo>
                    <a:lnTo>
                      <a:pt x="12592" y="285"/>
                    </a:lnTo>
                    <a:lnTo>
                      <a:pt x="12609" y="283"/>
                    </a:lnTo>
                    <a:lnTo>
                      <a:pt x="12626" y="282"/>
                    </a:lnTo>
                    <a:lnTo>
                      <a:pt x="12643" y="281"/>
                    </a:lnTo>
                    <a:lnTo>
                      <a:pt x="12658" y="281"/>
                    </a:lnTo>
                    <a:lnTo>
                      <a:pt x="12671" y="282"/>
                    </a:lnTo>
                    <a:lnTo>
                      <a:pt x="12684" y="284"/>
                    </a:lnTo>
                    <a:lnTo>
                      <a:pt x="12697" y="285"/>
                    </a:lnTo>
                    <a:lnTo>
                      <a:pt x="12709" y="289"/>
                    </a:lnTo>
                    <a:lnTo>
                      <a:pt x="12721" y="292"/>
                    </a:lnTo>
                    <a:lnTo>
                      <a:pt x="12731" y="295"/>
                    </a:lnTo>
                    <a:lnTo>
                      <a:pt x="12742" y="300"/>
                    </a:lnTo>
                    <a:lnTo>
                      <a:pt x="12753" y="305"/>
                    </a:lnTo>
                    <a:lnTo>
                      <a:pt x="12763" y="309"/>
                    </a:lnTo>
                    <a:lnTo>
                      <a:pt x="12773" y="316"/>
                    </a:lnTo>
                    <a:lnTo>
                      <a:pt x="12781" y="321"/>
                    </a:lnTo>
                    <a:lnTo>
                      <a:pt x="12790" y="329"/>
                    </a:lnTo>
                    <a:lnTo>
                      <a:pt x="12799" y="335"/>
                    </a:lnTo>
                    <a:lnTo>
                      <a:pt x="12806" y="343"/>
                    </a:lnTo>
                    <a:lnTo>
                      <a:pt x="12814" y="352"/>
                    </a:lnTo>
                    <a:lnTo>
                      <a:pt x="12820" y="359"/>
                    </a:lnTo>
                    <a:lnTo>
                      <a:pt x="12827" y="368"/>
                    </a:lnTo>
                    <a:lnTo>
                      <a:pt x="12832" y="378"/>
                    </a:lnTo>
                    <a:lnTo>
                      <a:pt x="12838" y="388"/>
                    </a:lnTo>
                    <a:lnTo>
                      <a:pt x="12847" y="408"/>
                    </a:lnTo>
                    <a:lnTo>
                      <a:pt x="12856" y="430"/>
                    </a:lnTo>
                    <a:lnTo>
                      <a:pt x="12862" y="453"/>
                    </a:lnTo>
                    <a:lnTo>
                      <a:pt x="12866" y="477"/>
                    </a:lnTo>
                    <a:lnTo>
                      <a:pt x="12869" y="503"/>
                    </a:lnTo>
                    <a:lnTo>
                      <a:pt x="12870" y="529"/>
                    </a:lnTo>
                    <a:lnTo>
                      <a:pt x="12870" y="560"/>
                    </a:lnTo>
                    <a:lnTo>
                      <a:pt x="12496" y="560"/>
                    </a:lnTo>
                    <a:close/>
                    <a:moveTo>
                      <a:pt x="12132" y="677"/>
                    </a:moveTo>
                    <a:lnTo>
                      <a:pt x="12132" y="947"/>
                    </a:lnTo>
                    <a:lnTo>
                      <a:pt x="12040" y="947"/>
                    </a:lnTo>
                    <a:lnTo>
                      <a:pt x="12040" y="296"/>
                    </a:lnTo>
                    <a:lnTo>
                      <a:pt x="12132" y="296"/>
                    </a:lnTo>
                    <a:lnTo>
                      <a:pt x="12132" y="422"/>
                    </a:lnTo>
                    <a:lnTo>
                      <a:pt x="12136" y="422"/>
                    </a:lnTo>
                    <a:lnTo>
                      <a:pt x="12143" y="405"/>
                    </a:lnTo>
                    <a:lnTo>
                      <a:pt x="12152" y="389"/>
                    </a:lnTo>
                    <a:lnTo>
                      <a:pt x="12162" y="374"/>
                    </a:lnTo>
                    <a:lnTo>
                      <a:pt x="12171" y="360"/>
                    </a:lnTo>
                    <a:lnTo>
                      <a:pt x="12183" y="347"/>
                    </a:lnTo>
                    <a:lnTo>
                      <a:pt x="12194" y="336"/>
                    </a:lnTo>
                    <a:lnTo>
                      <a:pt x="12207" y="326"/>
                    </a:lnTo>
                    <a:lnTo>
                      <a:pt x="12220" y="316"/>
                    </a:lnTo>
                    <a:lnTo>
                      <a:pt x="12234" y="308"/>
                    </a:lnTo>
                    <a:lnTo>
                      <a:pt x="12249" y="301"/>
                    </a:lnTo>
                    <a:lnTo>
                      <a:pt x="12265" y="295"/>
                    </a:lnTo>
                    <a:lnTo>
                      <a:pt x="12281" y="290"/>
                    </a:lnTo>
                    <a:lnTo>
                      <a:pt x="12297" y="287"/>
                    </a:lnTo>
                    <a:lnTo>
                      <a:pt x="12315" y="283"/>
                    </a:lnTo>
                    <a:lnTo>
                      <a:pt x="12333" y="282"/>
                    </a:lnTo>
                    <a:lnTo>
                      <a:pt x="12353" y="281"/>
                    </a:lnTo>
                    <a:lnTo>
                      <a:pt x="12353" y="381"/>
                    </a:lnTo>
                    <a:lnTo>
                      <a:pt x="12338" y="382"/>
                    </a:lnTo>
                    <a:lnTo>
                      <a:pt x="12322" y="383"/>
                    </a:lnTo>
                    <a:lnTo>
                      <a:pt x="12308" y="385"/>
                    </a:lnTo>
                    <a:lnTo>
                      <a:pt x="12295" y="389"/>
                    </a:lnTo>
                    <a:lnTo>
                      <a:pt x="12282" y="392"/>
                    </a:lnTo>
                    <a:lnTo>
                      <a:pt x="12270" y="396"/>
                    </a:lnTo>
                    <a:lnTo>
                      <a:pt x="12258" y="402"/>
                    </a:lnTo>
                    <a:lnTo>
                      <a:pt x="12247" y="407"/>
                    </a:lnTo>
                    <a:lnTo>
                      <a:pt x="12237" y="415"/>
                    </a:lnTo>
                    <a:lnTo>
                      <a:pt x="12227" y="421"/>
                    </a:lnTo>
                    <a:lnTo>
                      <a:pt x="12218" y="429"/>
                    </a:lnTo>
                    <a:lnTo>
                      <a:pt x="12209" y="437"/>
                    </a:lnTo>
                    <a:lnTo>
                      <a:pt x="12201" y="446"/>
                    </a:lnTo>
                    <a:lnTo>
                      <a:pt x="12193" y="456"/>
                    </a:lnTo>
                    <a:lnTo>
                      <a:pt x="12187" y="466"/>
                    </a:lnTo>
                    <a:lnTo>
                      <a:pt x="12179" y="477"/>
                    </a:lnTo>
                    <a:lnTo>
                      <a:pt x="12174" y="487"/>
                    </a:lnTo>
                    <a:lnTo>
                      <a:pt x="12168" y="498"/>
                    </a:lnTo>
                    <a:lnTo>
                      <a:pt x="12163" y="510"/>
                    </a:lnTo>
                    <a:lnTo>
                      <a:pt x="12157" y="521"/>
                    </a:lnTo>
                    <a:lnTo>
                      <a:pt x="12150" y="546"/>
                    </a:lnTo>
                    <a:lnTo>
                      <a:pt x="12143" y="571"/>
                    </a:lnTo>
                    <a:lnTo>
                      <a:pt x="12139" y="598"/>
                    </a:lnTo>
                    <a:lnTo>
                      <a:pt x="12136" y="624"/>
                    </a:lnTo>
                    <a:lnTo>
                      <a:pt x="12134" y="651"/>
                    </a:lnTo>
                    <a:lnTo>
                      <a:pt x="12132" y="677"/>
                    </a:lnTo>
                    <a:close/>
                    <a:moveTo>
                      <a:pt x="11690" y="359"/>
                    </a:moveTo>
                    <a:lnTo>
                      <a:pt x="11676" y="360"/>
                    </a:lnTo>
                    <a:lnTo>
                      <a:pt x="11663" y="361"/>
                    </a:lnTo>
                    <a:lnTo>
                      <a:pt x="11650" y="365"/>
                    </a:lnTo>
                    <a:lnTo>
                      <a:pt x="11638" y="369"/>
                    </a:lnTo>
                    <a:lnTo>
                      <a:pt x="11627" y="373"/>
                    </a:lnTo>
                    <a:lnTo>
                      <a:pt x="11616" y="380"/>
                    </a:lnTo>
                    <a:lnTo>
                      <a:pt x="11606" y="386"/>
                    </a:lnTo>
                    <a:lnTo>
                      <a:pt x="11597" y="394"/>
                    </a:lnTo>
                    <a:lnTo>
                      <a:pt x="11589" y="403"/>
                    </a:lnTo>
                    <a:lnTo>
                      <a:pt x="11582" y="412"/>
                    </a:lnTo>
                    <a:lnTo>
                      <a:pt x="11575" y="422"/>
                    </a:lnTo>
                    <a:lnTo>
                      <a:pt x="11569" y="433"/>
                    </a:lnTo>
                    <a:lnTo>
                      <a:pt x="11564" y="445"/>
                    </a:lnTo>
                    <a:lnTo>
                      <a:pt x="11560" y="457"/>
                    </a:lnTo>
                    <a:lnTo>
                      <a:pt x="11555" y="469"/>
                    </a:lnTo>
                    <a:lnTo>
                      <a:pt x="11553" y="482"/>
                    </a:lnTo>
                    <a:lnTo>
                      <a:pt x="11813" y="482"/>
                    </a:lnTo>
                    <a:lnTo>
                      <a:pt x="11813" y="469"/>
                    </a:lnTo>
                    <a:lnTo>
                      <a:pt x="11811" y="457"/>
                    </a:lnTo>
                    <a:lnTo>
                      <a:pt x="11808" y="445"/>
                    </a:lnTo>
                    <a:lnTo>
                      <a:pt x="11805" y="433"/>
                    </a:lnTo>
                    <a:lnTo>
                      <a:pt x="11799" y="422"/>
                    </a:lnTo>
                    <a:lnTo>
                      <a:pt x="11793" y="412"/>
                    </a:lnTo>
                    <a:lnTo>
                      <a:pt x="11786" y="403"/>
                    </a:lnTo>
                    <a:lnTo>
                      <a:pt x="11779" y="394"/>
                    </a:lnTo>
                    <a:lnTo>
                      <a:pt x="11770" y="386"/>
                    </a:lnTo>
                    <a:lnTo>
                      <a:pt x="11760" y="380"/>
                    </a:lnTo>
                    <a:lnTo>
                      <a:pt x="11749" y="373"/>
                    </a:lnTo>
                    <a:lnTo>
                      <a:pt x="11739" y="369"/>
                    </a:lnTo>
                    <a:lnTo>
                      <a:pt x="11728" y="365"/>
                    </a:lnTo>
                    <a:lnTo>
                      <a:pt x="11715" y="361"/>
                    </a:lnTo>
                    <a:lnTo>
                      <a:pt x="11703" y="360"/>
                    </a:lnTo>
                    <a:lnTo>
                      <a:pt x="11690" y="359"/>
                    </a:lnTo>
                    <a:close/>
                    <a:moveTo>
                      <a:pt x="11545" y="560"/>
                    </a:moveTo>
                    <a:lnTo>
                      <a:pt x="11545" y="598"/>
                    </a:lnTo>
                    <a:lnTo>
                      <a:pt x="11546" y="625"/>
                    </a:lnTo>
                    <a:lnTo>
                      <a:pt x="11550" y="651"/>
                    </a:lnTo>
                    <a:lnTo>
                      <a:pt x="11553" y="677"/>
                    </a:lnTo>
                    <a:lnTo>
                      <a:pt x="11560" y="703"/>
                    </a:lnTo>
                    <a:lnTo>
                      <a:pt x="11567" y="727"/>
                    </a:lnTo>
                    <a:lnTo>
                      <a:pt x="11577" y="751"/>
                    </a:lnTo>
                    <a:lnTo>
                      <a:pt x="11582" y="763"/>
                    </a:lnTo>
                    <a:lnTo>
                      <a:pt x="11588" y="774"/>
                    </a:lnTo>
                    <a:lnTo>
                      <a:pt x="11594" y="785"/>
                    </a:lnTo>
                    <a:lnTo>
                      <a:pt x="11602" y="795"/>
                    </a:lnTo>
                    <a:lnTo>
                      <a:pt x="11608" y="804"/>
                    </a:lnTo>
                    <a:lnTo>
                      <a:pt x="11617" y="814"/>
                    </a:lnTo>
                    <a:lnTo>
                      <a:pt x="11625" y="823"/>
                    </a:lnTo>
                    <a:lnTo>
                      <a:pt x="11633" y="832"/>
                    </a:lnTo>
                    <a:lnTo>
                      <a:pt x="11643" y="839"/>
                    </a:lnTo>
                    <a:lnTo>
                      <a:pt x="11653" y="847"/>
                    </a:lnTo>
                    <a:lnTo>
                      <a:pt x="11663" y="853"/>
                    </a:lnTo>
                    <a:lnTo>
                      <a:pt x="11673" y="860"/>
                    </a:lnTo>
                    <a:lnTo>
                      <a:pt x="11684" y="865"/>
                    </a:lnTo>
                    <a:lnTo>
                      <a:pt x="11696" y="871"/>
                    </a:lnTo>
                    <a:lnTo>
                      <a:pt x="11708" y="874"/>
                    </a:lnTo>
                    <a:lnTo>
                      <a:pt x="11721" y="878"/>
                    </a:lnTo>
                    <a:lnTo>
                      <a:pt x="11734" y="880"/>
                    </a:lnTo>
                    <a:lnTo>
                      <a:pt x="11748" y="883"/>
                    </a:lnTo>
                    <a:lnTo>
                      <a:pt x="11762" y="884"/>
                    </a:lnTo>
                    <a:lnTo>
                      <a:pt x="11777" y="885"/>
                    </a:lnTo>
                    <a:lnTo>
                      <a:pt x="11794" y="884"/>
                    </a:lnTo>
                    <a:lnTo>
                      <a:pt x="11810" y="883"/>
                    </a:lnTo>
                    <a:lnTo>
                      <a:pt x="11825" y="882"/>
                    </a:lnTo>
                    <a:lnTo>
                      <a:pt x="11842" y="879"/>
                    </a:lnTo>
                    <a:lnTo>
                      <a:pt x="11873" y="874"/>
                    </a:lnTo>
                    <a:lnTo>
                      <a:pt x="11906" y="866"/>
                    </a:lnTo>
                    <a:lnTo>
                      <a:pt x="11906" y="943"/>
                    </a:lnTo>
                    <a:lnTo>
                      <a:pt x="11887" y="948"/>
                    </a:lnTo>
                    <a:lnTo>
                      <a:pt x="11869" y="952"/>
                    </a:lnTo>
                    <a:lnTo>
                      <a:pt x="11850" y="955"/>
                    </a:lnTo>
                    <a:lnTo>
                      <a:pt x="11832" y="959"/>
                    </a:lnTo>
                    <a:lnTo>
                      <a:pt x="11813" y="960"/>
                    </a:lnTo>
                    <a:lnTo>
                      <a:pt x="11794" y="962"/>
                    </a:lnTo>
                    <a:lnTo>
                      <a:pt x="11775" y="962"/>
                    </a:lnTo>
                    <a:lnTo>
                      <a:pt x="11756" y="962"/>
                    </a:lnTo>
                    <a:lnTo>
                      <a:pt x="11735" y="962"/>
                    </a:lnTo>
                    <a:lnTo>
                      <a:pt x="11716" y="961"/>
                    </a:lnTo>
                    <a:lnTo>
                      <a:pt x="11696" y="959"/>
                    </a:lnTo>
                    <a:lnTo>
                      <a:pt x="11678" y="955"/>
                    </a:lnTo>
                    <a:lnTo>
                      <a:pt x="11660" y="951"/>
                    </a:lnTo>
                    <a:lnTo>
                      <a:pt x="11643" y="947"/>
                    </a:lnTo>
                    <a:lnTo>
                      <a:pt x="11627" y="941"/>
                    </a:lnTo>
                    <a:lnTo>
                      <a:pt x="11612" y="935"/>
                    </a:lnTo>
                    <a:lnTo>
                      <a:pt x="11597" y="928"/>
                    </a:lnTo>
                    <a:lnTo>
                      <a:pt x="11583" y="921"/>
                    </a:lnTo>
                    <a:lnTo>
                      <a:pt x="11569" y="912"/>
                    </a:lnTo>
                    <a:lnTo>
                      <a:pt x="11557" y="903"/>
                    </a:lnTo>
                    <a:lnTo>
                      <a:pt x="11545" y="893"/>
                    </a:lnTo>
                    <a:lnTo>
                      <a:pt x="11533" y="883"/>
                    </a:lnTo>
                    <a:lnTo>
                      <a:pt x="11524" y="872"/>
                    </a:lnTo>
                    <a:lnTo>
                      <a:pt x="11513" y="860"/>
                    </a:lnTo>
                    <a:lnTo>
                      <a:pt x="11504" y="848"/>
                    </a:lnTo>
                    <a:lnTo>
                      <a:pt x="11495" y="835"/>
                    </a:lnTo>
                    <a:lnTo>
                      <a:pt x="11488" y="821"/>
                    </a:lnTo>
                    <a:lnTo>
                      <a:pt x="11480" y="807"/>
                    </a:lnTo>
                    <a:lnTo>
                      <a:pt x="11474" y="793"/>
                    </a:lnTo>
                    <a:lnTo>
                      <a:pt x="11467" y="777"/>
                    </a:lnTo>
                    <a:lnTo>
                      <a:pt x="11462" y="762"/>
                    </a:lnTo>
                    <a:lnTo>
                      <a:pt x="11458" y="746"/>
                    </a:lnTo>
                    <a:lnTo>
                      <a:pt x="11453" y="728"/>
                    </a:lnTo>
                    <a:lnTo>
                      <a:pt x="11449" y="711"/>
                    </a:lnTo>
                    <a:lnTo>
                      <a:pt x="11447" y="694"/>
                    </a:lnTo>
                    <a:lnTo>
                      <a:pt x="11443" y="676"/>
                    </a:lnTo>
                    <a:lnTo>
                      <a:pt x="11442" y="658"/>
                    </a:lnTo>
                    <a:lnTo>
                      <a:pt x="11440" y="638"/>
                    </a:lnTo>
                    <a:lnTo>
                      <a:pt x="11440" y="620"/>
                    </a:lnTo>
                    <a:lnTo>
                      <a:pt x="11439" y="600"/>
                    </a:lnTo>
                    <a:lnTo>
                      <a:pt x="11440" y="569"/>
                    </a:lnTo>
                    <a:lnTo>
                      <a:pt x="11442" y="537"/>
                    </a:lnTo>
                    <a:lnTo>
                      <a:pt x="11447" y="508"/>
                    </a:lnTo>
                    <a:lnTo>
                      <a:pt x="11452" y="479"/>
                    </a:lnTo>
                    <a:lnTo>
                      <a:pt x="11455" y="465"/>
                    </a:lnTo>
                    <a:lnTo>
                      <a:pt x="11460" y="450"/>
                    </a:lnTo>
                    <a:lnTo>
                      <a:pt x="11464" y="437"/>
                    </a:lnTo>
                    <a:lnTo>
                      <a:pt x="11469" y="424"/>
                    </a:lnTo>
                    <a:lnTo>
                      <a:pt x="11475" y="412"/>
                    </a:lnTo>
                    <a:lnTo>
                      <a:pt x="11481" y="399"/>
                    </a:lnTo>
                    <a:lnTo>
                      <a:pt x="11488" y="389"/>
                    </a:lnTo>
                    <a:lnTo>
                      <a:pt x="11494" y="377"/>
                    </a:lnTo>
                    <a:lnTo>
                      <a:pt x="11502" y="366"/>
                    </a:lnTo>
                    <a:lnTo>
                      <a:pt x="11511" y="356"/>
                    </a:lnTo>
                    <a:lnTo>
                      <a:pt x="11519" y="346"/>
                    </a:lnTo>
                    <a:lnTo>
                      <a:pt x="11529" y="338"/>
                    </a:lnTo>
                    <a:lnTo>
                      <a:pt x="11539" y="329"/>
                    </a:lnTo>
                    <a:lnTo>
                      <a:pt x="11550" y="321"/>
                    </a:lnTo>
                    <a:lnTo>
                      <a:pt x="11561" y="314"/>
                    </a:lnTo>
                    <a:lnTo>
                      <a:pt x="11573" y="307"/>
                    </a:lnTo>
                    <a:lnTo>
                      <a:pt x="11586" y="302"/>
                    </a:lnTo>
                    <a:lnTo>
                      <a:pt x="11599" y="296"/>
                    </a:lnTo>
                    <a:lnTo>
                      <a:pt x="11613" y="292"/>
                    </a:lnTo>
                    <a:lnTo>
                      <a:pt x="11628" y="288"/>
                    </a:lnTo>
                    <a:lnTo>
                      <a:pt x="11643" y="285"/>
                    </a:lnTo>
                    <a:lnTo>
                      <a:pt x="11659" y="283"/>
                    </a:lnTo>
                    <a:lnTo>
                      <a:pt x="11676" y="282"/>
                    </a:lnTo>
                    <a:lnTo>
                      <a:pt x="11693" y="281"/>
                    </a:lnTo>
                    <a:lnTo>
                      <a:pt x="11707" y="281"/>
                    </a:lnTo>
                    <a:lnTo>
                      <a:pt x="11721" y="282"/>
                    </a:lnTo>
                    <a:lnTo>
                      <a:pt x="11734" y="284"/>
                    </a:lnTo>
                    <a:lnTo>
                      <a:pt x="11747" y="285"/>
                    </a:lnTo>
                    <a:lnTo>
                      <a:pt x="11759" y="289"/>
                    </a:lnTo>
                    <a:lnTo>
                      <a:pt x="11771" y="292"/>
                    </a:lnTo>
                    <a:lnTo>
                      <a:pt x="11782" y="295"/>
                    </a:lnTo>
                    <a:lnTo>
                      <a:pt x="11793" y="300"/>
                    </a:lnTo>
                    <a:lnTo>
                      <a:pt x="11804" y="305"/>
                    </a:lnTo>
                    <a:lnTo>
                      <a:pt x="11813" y="309"/>
                    </a:lnTo>
                    <a:lnTo>
                      <a:pt x="11823" y="316"/>
                    </a:lnTo>
                    <a:lnTo>
                      <a:pt x="11832" y="321"/>
                    </a:lnTo>
                    <a:lnTo>
                      <a:pt x="11841" y="329"/>
                    </a:lnTo>
                    <a:lnTo>
                      <a:pt x="11849" y="335"/>
                    </a:lnTo>
                    <a:lnTo>
                      <a:pt x="11857" y="343"/>
                    </a:lnTo>
                    <a:lnTo>
                      <a:pt x="11863" y="352"/>
                    </a:lnTo>
                    <a:lnTo>
                      <a:pt x="11871" y="359"/>
                    </a:lnTo>
                    <a:lnTo>
                      <a:pt x="11877" y="368"/>
                    </a:lnTo>
                    <a:lnTo>
                      <a:pt x="11883" y="378"/>
                    </a:lnTo>
                    <a:lnTo>
                      <a:pt x="11888" y="388"/>
                    </a:lnTo>
                    <a:lnTo>
                      <a:pt x="11898" y="408"/>
                    </a:lnTo>
                    <a:lnTo>
                      <a:pt x="11907" y="430"/>
                    </a:lnTo>
                    <a:lnTo>
                      <a:pt x="11912" y="453"/>
                    </a:lnTo>
                    <a:lnTo>
                      <a:pt x="11917" y="477"/>
                    </a:lnTo>
                    <a:lnTo>
                      <a:pt x="11920" y="503"/>
                    </a:lnTo>
                    <a:lnTo>
                      <a:pt x="11921" y="529"/>
                    </a:lnTo>
                    <a:lnTo>
                      <a:pt x="11921" y="560"/>
                    </a:lnTo>
                    <a:lnTo>
                      <a:pt x="11545" y="560"/>
                    </a:lnTo>
                    <a:close/>
                    <a:moveTo>
                      <a:pt x="11199" y="947"/>
                    </a:moveTo>
                    <a:lnTo>
                      <a:pt x="11105" y="947"/>
                    </a:lnTo>
                    <a:lnTo>
                      <a:pt x="10859" y="296"/>
                    </a:lnTo>
                    <a:lnTo>
                      <a:pt x="10958" y="296"/>
                    </a:lnTo>
                    <a:lnTo>
                      <a:pt x="11150" y="811"/>
                    </a:lnTo>
                    <a:lnTo>
                      <a:pt x="11153" y="811"/>
                    </a:lnTo>
                    <a:lnTo>
                      <a:pt x="11320" y="296"/>
                    </a:lnTo>
                    <a:lnTo>
                      <a:pt x="11420" y="296"/>
                    </a:lnTo>
                    <a:lnTo>
                      <a:pt x="11199" y="947"/>
                    </a:lnTo>
                    <a:close/>
                    <a:moveTo>
                      <a:pt x="10693" y="947"/>
                    </a:moveTo>
                    <a:lnTo>
                      <a:pt x="10693" y="296"/>
                    </a:lnTo>
                    <a:lnTo>
                      <a:pt x="10785" y="296"/>
                    </a:lnTo>
                    <a:lnTo>
                      <a:pt x="10785" y="947"/>
                    </a:lnTo>
                    <a:lnTo>
                      <a:pt x="10693" y="947"/>
                    </a:lnTo>
                    <a:close/>
                    <a:moveTo>
                      <a:pt x="10677" y="127"/>
                    </a:moveTo>
                    <a:lnTo>
                      <a:pt x="10677" y="4"/>
                    </a:lnTo>
                    <a:lnTo>
                      <a:pt x="10800" y="4"/>
                    </a:lnTo>
                    <a:lnTo>
                      <a:pt x="10800" y="127"/>
                    </a:lnTo>
                    <a:lnTo>
                      <a:pt x="10677" y="127"/>
                    </a:lnTo>
                    <a:close/>
                    <a:moveTo>
                      <a:pt x="10434" y="947"/>
                    </a:moveTo>
                    <a:lnTo>
                      <a:pt x="10434" y="4"/>
                    </a:lnTo>
                    <a:lnTo>
                      <a:pt x="10527" y="4"/>
                    </a:lnTo>
                    <a:lnTo>
                      <a:pt x="10527" y="947"/>
                    </a:lnTo>
                    <a:lnTo>
                      <a:pt x="10434" y="947"/>
                    </a:lnTo>
                    <a:close/>
                    <a:moveTo>
                      <a:pt x="10082" y="359"/>
                    </a:moveTo>
                    <a:lnTo>
                      <a:pt x="10068" y="360"/>
                    </a:lnTo>
                    <a:lnTo>
                      <a:pt x="10055" y="361"/>
                    </a:lnTo>
                    <a:lnTo>
                      <a:pt x="10043" y="365"/>
                    </a:lnTo>
                    <a:lnTo>
                      <a:pt x="10031" y="369"/>
                    </a:lnTo>
                    <a:lnTo>
                      <a:pt x="10019" y="373"/>
                    </a:lnTo>
                    <a:lnTo>
                      <a:pt x="10009" y="380"/>
                    </a:lnTo>
                    <a:lnTo>
                      <a:pt x="9999" y="386"/>
                    </a:lnTo>
                    <a:lnTo>
                      <a:pt x="9991" y="394"/>
                    </a:lnTo>
                    <a:lnTo>
                      <a:pt x="9982" y="403"/>
                    </a:lnTo>
                    <a:lnTo>
                      <a:pt x="9974" y="412"/>
                    </a:lnTo>
                    <a:lnTo>
                      <a:pt x="9968" y="422"/>
                    </a:lnTo>
                    <a:lnTo>
                      <a:pt x="9961" y="433"/>
                    </a:lnTo>
                    <a:lnTo>
                      <a:pt x="9957" y="445"/>
                    </a:lnTo>
                    <a:lnTo>
                      <a:pt x="9951" y="457"/>
                    </a:lnTo>
                    <a:lnTo>
                      <a:pt x="9948" y="469"/>
                    </a:lnTo>
                    <a:lnTo>
                      <a:pt x="9945" y="482"/>
                    </a:lnTo>
                    <a:lnTo>
                      <a:pt x="10206" y="482"/>
                    </a:lnTo>
                    <a:lnTo>
                      <a:pt x="10205" y="469"/>
                    </a:lnTo>
                    <a:lnTo>
                      <a:pt x="10204" y="457"/>
                    </a:lnTo>
                    <a:lnTo>
                      <a:pt x="10201" y="445"/>
                    </a:lnTo>
                    <a:lnTo>
                      <a:pt x="10197" y="433"/>
                    </a:lnTo>
                    <a:lnTo>
                      <a:pt x="10192" y="422"/>
                    </a:lnTo>
                    <a:lnTo>
                      <a:pt x="10186" y="412"/>
                    </a:lnTo>
                    <a:lnTo>
                      <a:pt x="10178" y="403"/>
                    </a:lnTo>
                    <a:lnTo>
                      <a:pt x="10171" y="394"/>
                    </a:lnTo>
                    <a:lnTo>
                      <a:pt x="10162" y="386"/>
                    </a:lnTo>
                    <a:lnTo>
                      <a:pt x="10152" y="380"/>
                    </a:lnTo>
                    <a:lnTo>
                      <a:pt x="10142" y="373"/>
                    </a:lnTo>
                    <a:lnTo>
                      <a:pt x="10132" y="369"/>
                    </a:lnTo>
                    <a:lnTo>
                      <a:pt x="10120" y="365"/>
                    </a:lnTo>
                    <a:lnTo>
                      <a:pt x="10108" y="361"/>
                    </a:lnTo>
                    <a:lnTo>
                      <a:pt x="10095" y="360"/>
                    </a:lnTo>
                    <a:lnTo>
                      <a:pt x="10082" y="359"/>
                    </a:lnTo>
                    <a:close/>
                    <a:moveTo>
                      <a:pt x="9938" y="560"/>
                    </a:moveTo>
                    <a:lnTo>
                      <a:pt x="9938" y="598"/>
                    </a:lnTo>
                    <a:lnTo>
                      <a:pt x="9940" y="625"/>
                    </a:lnTo>
                    <a:lnTo>
                      <a:pt x="9942" y="651"/>
                    </a:lnTo>
                    <a:lnTo>
                      <a:pt x="9946" y="677"/>
                    </a:lnTo>
                    <a:lnTo>
                      <a:pt x="9953" y="703"/>
                    </a:lnTo>
                    <a:lnTo>
                      <a:pt x="9960" y="727"/>
                    </a:lnTo>
                    <a:lnTo>
                      <a:pt x="9970" y="751"/>
                    </a:lnTo>
                    <a:lnTo>
                      <a:pt x="9975" y="763"/>
                    </a:lnTo>
                    <a:lnTo>
                      <a:pt x="9981" y="774"/>
                    </a:lnTo>
                    <a:lnTo>
                      <a:pt x="9987" y="785"/>
                    </a:lnTo>
                    <a:lnTo>
                      <a:pt x="9994" y="795"/>
                    </a:lnTo>
                    <a:lnTo>
                      <a:pt x="10001" y="804"/>
                    </a:lnTo>
                    <a:lnTo>
                      <a:pt x="10009" y="814"/>
                    </a:lnTo>
                    <a:lnTo>
                      <a:pt x="10018" y="823"/>
                    </a:lnTo>
                    <a:lnTo>
                      <a:pt x="10026" y="832"/>
                    </a:lnTo>
                    <a:lnTo>
                      <a:pt x="10035" y="839"/>
                    </a:lnTo>
                    <a:lnTo>
                      <a:pt x="10045" y="847"/>
                    </a:lnTo>
                    <a:lnTo>
                      <a:pt x="10056" y="853"/>
                    </a:lnTo>
                    <a:lnTo>
                      <a:pt x="10066" y="860"/>
                    </a:lnTo>
                    <a:lnTo>
                      <a:pt x="10077" y="865"/>
                    </a:lnTo>
                    <a:lnTo>
                      <a:pt x="10089" y="871"/>
                    </a:lnTo>
                    <a:lnTo>
                      <a:pt x="10101" y="874"/>
                    </a:lnTo>
                    <a:lnTo>
                      <a:pt x="10114" y="878"/>
                    </a:lnTo>
                    <a:lnTo>
                      <a:pt x="10127" y="880"/>
                    </a:lnTo>
                    <a:lnTo>
                      <a:pt x="10140" y="883"/>
                    </a:lnTo>
                    <a:lnTo>
                      <a:pt x="10154" y="884"/>
                    </a:lnTo>
                    <a:lnTo>
                      <a:pt x="10170" y="885"/>
                    </a:lnTo>
                    <a:lnTo>
                      <a:pt x="10186" y="884"/>
                    </a:lnTo>
                    <a:lnTo>
                      <a:pt x="10202" y="883"/>
                    </a:lnTo>
                    <a:lnTo>
                      <a:pt x="10218" y="882"/>
                    </a:lnTo>
                    <a:lnTo>
                      <a:pt x="10235" y="879"/>
                    </a:lnTo>
                    <a:lnTo>
                      <a:pt x="10266" y="874"/>
                    </a:lnTo>
                    <a:lnTo>
                      <a:pt x="10298" y="866"/>
                    </a:lnTo>
                    <a:lnTo>
                      <a:pt x="10298" y="943"/>
                    </a:lnTo>
                    <a:lnTo>
                      <a:pt x="10280" y="948"/>
                    </a:lnTo>
                    <a:lnTo>
                      <a:pt x="10262" y="952"/>
                    </a:lnTo>
                    <a:lnTo>
                      <a:pt x="10243" y="955"/>
                    </a:lnTo>
                    <a:lnTo>
                      <a:pt x="10225" y="959"/>
                    </a:lnTo>
                    <a:lnTo>
                      <a:pt x="10205" y="960"/>
                    </a:lnTo>
                    <a:lnTo>
                      <a:pt x="10187" y="962"/>
                    </a:lnTo>
                    <a:lnTo>
                      <a:pt x="10167" y="962"/>
                    </a:lnTo>
                    <a:lnTo>
                      <a:pt x="10149" y="962"/>
                    </a:lnTo>
                    <a:lnTo>
                      <a:pt x="10128" y="962"/>
                    </a:lnTo>
                    <a:lnTo>
                      <a:pt x="10108" y="961"/>
                    </a:lnTo>
                    <a:lnTo>
                      <a:pt x="10089" y="959"/>
                    </a:lnTo>
                    <a:lnTo>
                      <a:pt x="10071" y="955"/>
                    </a:lnTo>
                    <a:lnTo>
                      <a:pt x="10052" y="951"/>
                    </a:lnTo>
                    <a:lnTo>
                      <a:pt x="10036" y="947"/>
                    </a:lnTo>
                    <a:lnTo>
                      <a:pt x="10020" y="941"/>
                    </a:lnTo>
                    <a:lnTo>
                      <a:pt x="10005" y="935"/>
                    </a:lnTo>
                    <a:lnTo>
                      <a:pt x="9989" y="928"/>
                    </a:lnTo>
                    <a:lnTo>
                      <a:pt x="9975" y="921"/>
                    </a:lnTo>
                    <a:lnTo>
                      <a:pt x="9962" y="912"/>
                    </a:lnTo>
                    <a:lnTo>
                      <a:pt x="9949" y="903"/>
                    </a:lnTo>
                    <a:lnTo>
                      <a:pt x="9937" y="893"/>
                    </a:lnTo>
                    <a:lnTo>
                      <a:pt x="9926" y="883"/>
                    </a:lnTo>
                    <a:lnTo>
                      <a:pt x="9916" y="872"/>
                    </a:lnTo>
                    <a:lnTo>
                      <a:pt x="9906" y="860"/>
                    </a:lnTo>
                    <a:lnTo>
                      <a:pt x="9896" y="848"/>
                    </a:lnTo>
                    <a:lnTo>
                      <a:pt x="9889" y="835"/>
                    </a:lnTo>
                    <a:lnTo>
                      <a:pt x="9880" y="821"/>
                    </a:lnTo>
                    <a:lnTo>
                      <a:pt x="9872" y="807"/>
                    </a:lnTo>
                    <a:lnTo>
                      <a:pt x="9866" y="793"/>
                    </a:lnTo>
                    <a:lnTo>
                      <a:pt x="9860" y="777"/>
                    </a:lnTo>
                    <a:lnTo>
                      <a:pt x="9855" y="762"/>
                    </a:lnTo>
                    <a:lnTo>
                      <a:pt x="9849" y="746"/>
                    </a:lnTo>
                    <a:lnTo>
                      <a:pt x="9845" y="728"/>
                    </a:lnTo>
                    <a:lnTo>
                      <a:pt x="9842" y="711"/>
                    </a:lnTo>
                    <a:lnTo>
                      <a:pt x="9839" y="694"/>
                    </a:lnTo>
                    <a:lnTo>
                      <a:pt x="9836" y="676"/>
                    </a:lnTo>
                    <a:lnTo>
                      <a:pt x="9834" y="658"/>
                    </a:lnTo>
                    <a:lnTo>
                      <a:pt x="9833" y="638"/>
                    </a:lnTo>
                    <a:lnTo>
                      <a:pt x="9832" y="620"/>
                    </a:lnTo>
                    <a:lnTo>
                      <a:pt x="9832" y="600"/>
                    </a:lnTo>
                    <a:lnTo>
                      <a:pt x="9832" y="569"/>
                    </a:lnTo>
                    <a:lnTo>
                      <a:pt x="9835" y="537"/>
                    </a:lnTo>
                    <a:lnTo>
                      <a:pt x="9839" y="508"/>
                    </a:lnTo>
                    <a:lnTo>
                      <a:pt x="9845" y="479"/>
                    </a:lnTo>
                    <a:lnTo>
                      <a:pt x="9848" y="465"/>
                    </a:lnTo>
                    <a:lnTo>
                      <a:pt x="9853" y="450"/>
                    </a:lnTo>
                    <a:lnTo>
                      <a:pt x="9857" y="437"/>
                    </a:lnTo>
                    <a:lnTo>
                      <a:pt x="9861" y="424"/>
                    </a:lnTo>
                    <a:lnTo>
                      <a:pt x="9868" y="412"/>
                    </a:lnTo>
                    <a:lnTo>
                      <a:pt x="9873" y="399"/>
                    </a:lnTo>
                    <a:lnTo>
                      <a:pt x="9880" y="389"/>
                    </a:lnTo>
                    <a:lnTo>
                      <a:pt x="9887" y="377"/>
                    </a:lnTo>
                    <a:lnTo>
                      <a:pt x="9895" y="366"/>
                    </a:lnTo>
                    <a:lnTo>
                      <a:pt x="9904" y="356"/>
                    </a:lnTo>
                    <a:lnTo>
                      <a:pt x="9912" y="346"/>
                    </a:lnTo>
                    <a:lnTo>
                      <a:pt x="9921" y="338"/>
                    </a:lnTo>
                    <a:lnTo>
                      <a:pt x="9932" y="329"/>
                    </a:lnTo>
                    <a:lnTo>
                      <a:pt x="9943" y="321"/>
                    </a:lnTo>
                    <a:lnTo>
                      <a:pt x="9954" y="314"/>
                    </a:lnTo>
                    <a:lnTo>
                      <a:pt x="9966" y="307"/>
                    </a:lnTo>
                    <a:lnTo>
                      <a:pt x="9979" y="302"/>
                    </a:lnTo>
                    <a:lnTo>
                      <a:pt x="9992" y="296"/>
                    </a:lnTo>
                    <a:lnTo>
                      <a:pt x="10006" y="292"/>
                    </a:lnTo>
                    <a:lnTo>
                      <a:pt x="10020" y="288"/>
                    </a:lnTo>
                    <a:lnTo>
                      <a:pt x="10036" y="285"/>
                    </a:lnTo>
                    <a:lnTo>
                      <a:pt x="10051" y="283"/>
                    </a:lnTo>
                    <a:lnTo>
                      <a:pt x="10069" y="282"/>
                    </a:lnTo>
                    <a:lnTo>
                      <a:pt x="10086" y="281"/>
                    </a:lnTo>
                    <a:lnTo>
                      <a:pt x="10100" y="281"/>
                    </a:lnTo>
                    <a:lnTo>
                      <a:pt x="10113" y="282"/>
                    </a:lnTo>
                    <a:lnTo>
                      <a:pt x="10127" y="284"/>
                    </a:lnTo>
                    <a:lnTo>
                      <a:pt x="10139" y="285"/>
                    </a:lnTo>
                    <a:lnTo>
                      <a:pt x="10151" y="289"/>
                    </a:lnTo>
                    <a:lnTo>
                      <a:pt x="10163" y="292"/>
                    </a:lnTo>
                    <a:lnTo>
                      <a:pt x="10175" y="295"/>
                    </a:lnTo>
                    <a:lnTo>
                      <a:pt x="10186" y="300"/>
                    </a:lnTo>
                    <a:lnTo>
                      <a:pt x="10196" y="305"/>
                    </a:lnTo>
                    <a:lnTo>
                      <a:pt x="10205" y="309"/>
                    </a:lnTo>
                    <a:lnTo>
                      <a:pt x="10215" y="316"/>
                    </a:lnTo>
                    <a:lnTo>
                      <a:pt x="10225" y="321"/>
                    </a:lnTo>
                    <a:lnTo>
                      <a:pt x="10234" y="329"/>
                    </a:lnTo>
                    <a:lnTo>
                      <a:pt x="10241" y="335"/>
                    </a:lnTo>
                    <a:lnTo>
                      <a:pt x="10249" y="343"/>
                    </a:lnTo>
                    <a:lnTo>
                      <a:pt x="10256" y="352"/>
                    </a:lnTo>
                    <a:lnTo>
                      <a:pt x="10263" y="359"/>
                    </a:lnTo>
                    <a:lnTo>
                      <a:pt x="10269" y="368"/>
                    </a:lnTo>
                    <a:lnTo>
                      <a:pt x="10276" y="378"/>
                    </a:lnTo>
                    <a:lnTo>
                      <a:pt x="10281" y="388"/>
                    </a:lnTo>
                    <a:lnTo>
                      <a:pt x="10291" y="408"/>
                    </a:lnTo>
                    <a:lnTo>
                      <a:pt x="10299" y="430"/>
                    </a:lnTo>
                    <a:lnTo>
                      <a:pt x="10305" y="453"/>
                    </a:lnTo>
                    <a:lnTo>
                      <a:pt x="10310" y="477"/>
                    </a:lnTo>
                    <a:lnTo>
                      <a:pt x="10312" y="503"/>
                    </a:lnTo>
                    <a:lnTo>
                      <a:pt x="10313" y="529"/>
                    </a:lnTo>
                    <a:lnTo>
                      <a:pt x="10313" y="560"/>
                    </a:lnTo>
                    <a:lnTo>
                      <a:pt x="9938" y="560"/>
                    </a:lnTo>
                    <a:close/>
                    <a:moveTo>
                      <a:pt x="9470" y="113"/>
                    </a:moveTo>
                    <a:lnTo>
                      <a:pt x="9451" y="107"/>
                    </a:lnTo>
                    <a:lnTo>
                      <a:pt x="9433" y="102"/>
                    </a:lnTo>
                    <a:lnTo>
                      <a:pt x="9413" y="99"/>
                    </a:lnTo>
                    <a:lnTo>
                      <a:pt x="9394" y="97"/>
                    </a:lnTo>
                    <a:lnTo>
                      <a:pt x="9355" y="93"/>
                    </a:lnTo>
                    <a:lnTo>
                      <a:pt x="9316" y="92"/>
                    </a:lnTo>
                    <a:lnTo>
                      <a:pt x="9255" y="92"/>
                    </a:lnTo>
                    <a:lnTo>
                      <a:pt x="9255" y="859"/>
                    </a:lnTo>
                    <a:lnTo>
                      <a:pt x="9328" y="859"/>
                    </a:lnTo>
                    <a:lnTo>
                      <a:pt x="9348" y="858"/>
                    </a:lnTo>
                    <a:lnTo>
                      <a:pt x="9369" y="858"/>
                    </a:lnTo>
                    <a:lnTo>
                      <a:pt x="9388" y="855"/>
                    </a:lnTo>
                    <a:lnTo>
                      <a:pt x="9409" y="853"/>
                    </a:lnTo>
                    <a:lnTo>
                      <a:pt x="9430" y="850"/>
                    </a:lnTo>
                    <a:lnTo>
                      <a:pt x="9449" y="846"/>
                    </a:lnTo>
                    <a:lnTo>
                      <a:pt x="9469" y="840"/>
                    </a:lnTo>
                    <a:lnTo>
                      <a:pt x="9488" y="833"/>
                    </a:lnTo>
                    <a:lnTo>
                      <a:pt x="9500" y="826"/>
                    </a:lnTo>
                    <a:lnTo>
                      <a:pt x="9511" y="820"/>
                    </a:lnTo>
                    <a:lnTo>
                      <a:pt x="9522" y="813"/>
                    </a:lnTo>
                    <a:lnTo>
                      <a:pt x="9532" y="804"/>
                    </a:lnTo>
                    <a:lnTo>
                      <a:pt x="9541" y="797"/>
                    </a:lnTo>
                    <a:lnTo>
                      <a:pt x="9550" y="788"/>
                    </a:lnTo>
                    <a:lnTo>
                      <a:pt x="9558" y="778"/>
                    </a:lnTo>
                    <a:lnTo>
                      <a:pt x="9565" y="769"/>
                    </a:lnTo>
                    <a:lnTo>
                      <a:pt x="9573" y="759"/>
                    </a:lnTo>
                    <a:lnTo>
                      <a:pt x="9579" y="748"/>
                    </a:lnTo>
                    <a:lnTo>
                      <a:pt x="9585" y="737"/>
                    </a:lnTo>
                    <a:lnTo>
                      <a:pt x="9591" y="725"/>
                    </a:lnTo>
                    <a:lnTo>
                      <a:pt x="9601" y="702"/>
                    </a:lnTo>
                    <a:lnTo>
                      <a:pt x="9609" y="677"/>
                    </a:lnTo>
                    <a:lnTo>
                      <a:pt x="9615" y="652"/>
                    </a:lnTo>
                    <a:lnTo>
                      <a:pt x="9621" y="626"/>
                    </a:lnTo>
                    <a:lnTo>
                      <a:pt x="9624" y="600"/>
                    </a:lnTo>
                    <a:lnTo>
                      <a:pt x="9627" y="574"/>
                    </a:lnTo>
                    <a:lnTo>
                      <a:pt x="9629" y="548"/>
                    </a:lnTo>
                    <a:lnTo>
                      <a:pt x="9630" y="523"/>
                    </a:lnTo>
                    <a:lnTo>
                      <a:pt x="9631" y="498"/>
                    </a:lnTo>
                    <a:lnTo>
                      <a:pt x="9631" y="474"/>
                    </a:lnTo>
                    <a:lnTo>
                      <a:pt x="9631" y="448"/>
                    </a:lnTo>
                    <a:lnTo>
                      <a:pt x="9630" y="422"/>
                    </a:lnTo>
                    <a:lnTo>
                      <a:pt x="9629" y="396"/>
                    </a:lnTo>
                    <a:lnTo>
                      <a:pt x="9627" y="369"/>
                    </a:lnTo>
                    <a:lnTo>
                      <a:pt x="9624" y="342"/>
                    </a:lnTo>
                    <a:lnTo>
                      <a:pt x="9619" y="315"/>
                    </a:lnTo>
                    <a:lnTo>
                      <a:pt x="9613" y="289"/>
                    </a:lnTo>
                    <a:lnTo>
                      <a:pt x="9605" y="264"/>
                    </a:lnTo>
                    <a:lnTo>
                      <a:pt x="9601" y="251"/>
                    </a:lnTo>
                    <a:lnTo>
                      <a:pt x="9597" y="239"/>
                    </a:lnTo>
                    <a:lnTo>
                      <a:pt x="9591" y="227"/>
                    </a:lnTo>
                    <a:lnTo>
                      <a:pt x="9586" y="215"/>
                    </a:lnTo>
                    <a:lnTo>
                      <a:pt x="9579" y="204"/>
                    </a:lnTo>
                    <a:lnTo>
                      <a:pt x="9573" y="193"/>
                    </a:lnTo>
                    <a:lnTo>
                      <a:pt x="9565" y="182"/>
                    </a:lnTo>
                    <a:lnTo>
                      <a:pt x="9558" y="173"/>
                    </a:lnTo>
                    <a:lnTo>
                      <a:pt x="9549" y="163"/>
                    </a:lnTo>
                    <a:lnTo>
                      <a:pt x="9539" y="154"/>
                    </a:lnTo>
                    <a:lnTo>
                      <a:pt x="9529" y="145"/>
                    </a:lnTo>
                    <a:lnTo>
                      <a:pt x="9520" y="138"/>
                    </a:lnTo>
                    <a:lnTo>
                      <a:pt x="9508" y="131"/>
                    </a:lnTo>
                    <a:lnTo>
                      <a:pt x="9496" y="125"/>
                    </a:lnTo>
                    <a:lnTo>
                      <a:pt x="9484" y="118"/>
                    </a:lnTo>
                    <a:lnTo>
                      <a:pt x="9470" y="113"/>
                    </a:lnTo>
                    <a:close/>
                    <a:moveTo>
                      <a:pt x="9523" y="922"/>
                    </a:moveTo>
                    <a:lnTo>
                      <a:pt x="9499" y="928"/>
                    </a:lnTo>
                    <a:lnTo>
                      <a:pt x="9475" y="935"/>
                    </a:lnTo>
                    <a:lnTo>
                      <a:pt x="9450" y="939"/>
                    </a:lnTo>
                    <a:lnTo>
                      <a:pt x="9426" y="942"/>
                    </a:lnTo>
                    <a:lnTo>
                      <a:pt x="9401" y="945"/>
                    </a:lnTo>
                    <a:lnTo>
                      <a:pt x="9376" y="947"/>
                    </a:lnTo>
                    <a:lnTo>
                      <a:pt x="9351" y="947"/>
                    </a:lnTo>
                    <a:lnTo>
                      <a:pt x="9326" y="947"/>
                    </a:lnTo>
                    <a:lnTo>
                      <a:pt x="9149" y="947"/>
                    </a:lnTo>
                    <a:lnTo>
                      <a:pt x="9149" y="4"/>
                    </a:lnTo>
                    <a:lnTo>
                      <a:pt x="9360" y="4"/>
                    </a:lnTo>
                    <a:lnTo>
                      <a:pt x="9388" y="4"/>
                    </a:lnTo>
                    <a:lnTo>
                      <a:pt x="9414" y="6"/>
                    </a:lnTo>
                    <a:lnTo>
                      <a:pt x="9440" y="9"/>
                    </a:lnTo>
                    <a:lnTo>
                      <a:pt x="9464" y="13"/>
                    </a:lnTo>
                    <a:lnTo>
                      <a:pt x="9487" y="17"/>
                    </a:lnTo>
                    <a:lnTo>
                      <a:pt x="9509" y="24"/>
                    </a:lnTo>
                    <a:lnTo>
                      <a:pt x="9529" y="30"/>
                    </a:lnTo>
                    <a:lnTo>
                      <a:pt x="9549" y="39"/>
                    </a:lnTo>
                    <a:lnTo>
                      <a:pt x="9567" y="48"/>
                    </a:lnTo>
                    <a:lnTo>
                      <a:pt x="9585" y="57"/>
                    </a:lnTo>
                    <a:lnTo>
                      <a:pt x="9601" y="68"/>
                    </a:lnTo>
                    <a:lnTo>
                      <a:pt x="9616" y="80"/>
                    </a:lnTo>
                    <a:lnTo>
                      <a:pt x="9630" y="93"/>
                    </a:lnTo>
                    <a:lnTo>
                      <a:pt x="9643" y="106"/>
                    </a:lnTo>
                    <a:lnTo>
                      <a:pt x="9656" y="121"/>
                    </a:lnTo>
                    <a:lnTo>
                      <a:pt x="9667" y="136"/>
                    </a:lnTo>
                    <a:lnTo>
                      <a:pt x="9678" y="152"/>
                    </a:lnTo>
                    <a:lnTo>
                      <a:pt x="9688" y="169"/>
                    </a:lnTo>
                    <a:lnTo>
                      <a:pt x="9696" y="187"/>
                    </a:lnTo>
                    <a:lnTo>
                      <a:pt x="9705" y="205"/>
                    </a:lnTo>
                    <a:lnTo>
                      <a:pt x="9712" y="224"/>
                    </a:lnTo>
                    <a:lnTo>
                      <a:pt x="9718" y="243"/>
                    </a:lnTo>
                    <a:lnTo>
                      <a:pt x="9725" y="264"/>
                    </a:lnTo>
                    <a:lnTo>
                      <a:pt x="9729" y="284"/>
                    </a:lnTo>
                    <a:lnTo>
                      <a:pt x="9733" y="306"/>
                    </a:lnTo>
                    <a:lnTo>
                      <a:pt x="9738" y="329"/>
                    </a:lnTo>
                    <a:lnTo>
                      <a:pt x="9741" y="351"/>
                    </a:lnTo>
                    <a:lnTo>
                      <a:pt x="9743" y="374"/>
                    </a:lnTo>
                    <a:lnTo>
                      <a:pt x="9745" y="398"/>
                    </a:lnTo>
                    <a:lnTo>
                      <a:pt x="9746" y="422"/>
                    </a:lnTo>
                    <a:lnTo>
                      <a:pt x="9747" y="447"/>
                    </a:lnTo>
                    <a:lnTo>
                      <a:pt x="9747" y="472"/>
                    </a:lnTo>
                    <a:lnTo>
                      <a:pt x="9746" y="507"/>
                    </a:lnTo>
                    <a:lnTo>
                      <a:pt x="9745" y="541"/>
                    </a:lnTo>
                    <a:lnTo>
                      <a:pt x="9743" y="575"/>
                    </a:lnTo>
                    <a:lnTo>
                      <a:pt x="9739" y="609"/>
                    </a:lnTo>
                    <a:lnTo>
                      <a:pt x="9733" y="643"/>
                    </a:lnTo>
                    <a:lnTo>
                      <a:pt x="9727" y="676"/>
                    </a:lnTo>
                    <a:lnTo>
                      <a:pt x="9723" y="693"/>
                    </a:lnTo>
                    <a:lnTo>
                      <a:pt x="9718" y="709"/>
                    </a:lnTo>
                    <a:lnTo>
                      <a:pt x="9713" y="724"/>
                    </a:lnTo>
                    <a:lnTo>
                      <a:pt x="9707" y="739"/>
                    </a:lnTo>
                    <a:lnTo>
                      <a:pt x="9701" y="755"/>
                    </a:lnTo>
                    <a:lnTo>
                      <a:pt x="9693" y="770"/>
                    </a:lnTo>
                    <a:lnTo>
                      <a:pt x="9687" y="784"/>
                    </a:lnTo>
                    <a:lnTo>
                      <a:pt x="9678" y="798"/>
                    </a:lnTo>
                    <a:lnTo>
                      <a:pt x="9669" y="811"/>
                    </a:lnTo>
                    <a:lnTo>
                      <a:pt x="9660" y="824"/>
                    </a:lnTo>
                    <a:lnTo>
                      <a:pt x="9650" y="837"/>
                    </a:lnTo>
                    <a:lnTo>
                      <a:pt x="9639" y="849"/>
                    </a:lnTo>
                    <a:lnTo>
                      <a:pt x="9627" y="860"/>
                    </a:lnTo>
                    <a:lnTo>
                      <a:pt x="9615" y="871"/>
                    </a:lnTo>
                    <a:lnTo>
                      <a:pt x="9602" y="882"/>
                    </a:lnTo>
                    <a:lnTo>
                      <a:pt x="9588" y="890"/>
                    </a:lnTo>
                    <a:lnTo>
                      <a:pt x="9573" y="899"/>
                    </a:lnTo>
                    <a:lnTo>
                      <a:pt x="9558" y="908"/>
                    </a:lnTo>
                    <a:lnTo>
                      <a:pt x="9540" y="915"/>
                    </a:lnTo>
                    <a:lnTo>
                      <a:pt x="9523" y="922"/>
                    </a:lnTo>
                    <a:close/>
                    <a:moveTo>
                      <a:pt x="8639" y="947"/>
                    </a:moveTo>
                    <a:lnTo>
                      <a:pt x="8639" y="811"/>
                    </a:lnTo>
                    <a:lnTo>
                      <a:pt x="8775" y="811"/>
                    </a:lnTo>
                    <a:lnTo>
                      <a:pt x="8775" y="947"/>
                    </a:lnTo>
                    <a:lnTo>
                      <a:pt x="8639" y="947"/>
                    </a:lnTo>
                    <a:close/>
                    <a:moveTo>
                      <a:pt x="8333" y="359"/>
                    </a:moveTo>
                    <a:lnTo>
                      <a:pt x="8318" y="360"/>
                    </a:lnTo>
                    <a:lnTo>
                      <a:pt x="8305" y="361"/>
                    </a:lnTo>
                    <a:lnTo>
                      <a:pt x="8292" y="365"/>
                    </a:lnTo>
                    <a:lnTo>
                      <a:pt x="8282" y="369"/>
                    </a:lnTo>
                    <a:lnTo>
                      <a:pt x="8270" y="373"/>
                    </a:lnTo>
                    <a:lnTo>
                      <a:pt x="8260" y="380"/>
                    </a:lnTo>
                    <a:lnTo>
                      <a:pt x="8250" y="386"/>
                    </a:lnTo>
                    <a:lnTo>
                      <a:pt x="8241" y="394"/>
                    </a:lnTo>
                    <a:lnTo>
                      <a:pt x="8233" y="403"/>
                    </a:lnTo>
                    <a:lnTo>
                      <a:pt x="8225" y="412"/>
                    </a:lnTo>
                    <a:lnTo>
                      <a:pt x="8219" y="422"/>
                    </a:lnTo>
                    <a:lnTo>
                      <a:pt x="8212" y="433"/>
                    </a:lnTo>
                    <a:lnTo>
                      <a:pt x="8207" y="445"/>
                    </a:lnTo>
                    <a:lnTo>
                      <a:pt x="8202" y="457"/>
                    </a:lnTo>
                    <a:lnTo>
                      <a:pt x="8199" y="469"/>
                    </a:lnTo>
                    <a:lnTo>
                      <a:pt x="8196" y="482"/>
                    </a:lnTo>
                    <a:lnTo>
                      <a:pt x="8457" y="482"/>
                    </a:lnTo>
                    <a:lnTo>
                      <a:pt x="8456" y="469"/>
                    </a:lnTo>
                    <a:lnTo>
                      <a:pt x="8455" y="457"/>
                    </a:lnTo>
                    <a:lnTo>
                      <a:pt x="8452" y="445"/>
                    </a:lnTo>
                    <a:lnTo>
                      <a:pt x="8448" y="433"/>
                    </a:lnTo>
                    <a:lnTo>
                      <a:pt x="8442" y="422"/>
                    </a:lnTo>
                    <a:lnTo>
                      <a:pt x="8437" y="412"/>
                    </a:lnTo>
                    <a:lnTo>
                      <a:pt x="8429" y="403"/>
                    </a:lnTo>
                    <a:lnTo>
                      <a:pt x="8422" y="394"/>
                    </a:lnTo>
                    <a:lnTo>
                      <a:pt x="8413" y="386"/>
                    </a:lnTo>
                    <a:lnTo>
                      <a:pt x="8403" y="380"/>
                    </a:lnTo>
                    <a:lnTo>
                      <a:pt x="8393" y="373"/>
                    </a:lnTo>
                    <a:lnTo>
                      <a:pt x="8382" y="369"/>
                    </a:lnTo>
                    <a:lnTo>
                      <a:pt x="8371" y="365"/>
                    </a:lnTo>
                    <a:lnTo>
                      <a:pt x="8359" y="361"/>
                    </a:lnTo>
                    <a:lnTo>
                      <a:pt x="8346" y="360"/>
                    </a:lnTo>
                    <a:lnTo>
                      <a:pt x="8333" y="359"/>
                    </a:lnTo>
                    <a:close/>
                    <a:moveTo>
                      <a:pt x="8189" y="560"/>
                    </a:moveTo>
                    <a:lnTo>
                      <a:pt x="8189" y="598"/>
                    </a:lnTo>
                    <a:lnTo>
                      <a:pt x="8190" y="625"/>
                    </a:lnTo>
                    <a:lnTo>
                      <a:pt x="8193" y="651"/>
                    </a:lnTo>
                    <a:lnTo>
                      <a:pt x="8197" y="677"/>
                    </a:lnTo>
                    <a:lnTo>
                      <a:pt x="8202" y="703"/>
                    </a:lnTo>
                    <a:lnTo>
                      <a:pt x="8211" y="727"/>
                    </a:lnTo>
                    <a:lnTo>
                      <a:pt x="8220" y="751"/>
                    </a:lnTo>
                    <a:lnTo>
                      <a:pt x="8225" y="763"/>
                    </a:lnTo>
                    <a:lnTo>
                      <a:pt x="8232" y="774"/>
                    </a:lnTo>
                    <a:lnTo>
                      <a:pt x="8238" y="785"/>
                    </a:lnTo>
                    <a:lnTo>
                      <a:pt x="8245" y="795"/>
                    </a:lnTo>
                    <a:lnTo>
                      <a:pt x="8252" y="804"/>
                    </a:lnTo>
                    <a:lnTo>
                      <a:pt x="8260" y="814"/>
                    </a:lnTo>
                    <a:lnTo>
                      <a:pt x="8269" y="823"/>
                    </a:lnTo>
                    <a:lnTo>
                      <a:pt x="8277" y="832"/>
                    </a:lnTo>
                    <a:lnTo>
                      <a:pt x="8286" y="839"/>
                    </a:lnTo>
                    <a:lnTo>
                      <a:pt x="8296" y="847"/>
                    </a:lnTo>
                    <a:lnTo>
                      <a:pt x="8306" y="853"/>
                    </a:lnTo>
                    <a:lnTo>
                      <a:pt x="8316" y="860"/>
                    </a:lnTo>
                    <a:lnTo>
                      <a:pt x="8328" y="865"/>
                    </a:lnTo>
                    <a:lnTo>
                      <a:pt x="8339" y="871"/>
                    </a:lnTo>
                    <a:lnTo>
                      <a:pt x="8352" y="874"/>
                    </a:lnTo>
                    <a:lnTo>
                      <a:pt x="8364" y="878"/>
                    </a:lnTo>
                    <a:lnTo>
                      <a:pt x="8378" y="880"/>
                    </a:lnTo>
                    <a:lnTo>
                      <a:pt x="8391" y="883"/>
                    </a:lnTo>
                    <a:lnTo>
                      <a:pt x="8405" y="884"/>
                    </a:lnTo>
                    <a:lnTo>
                      <a:pt x="8420" y="885"/>
                    </a:lnTo>
                    <a:lnTo>
                      <a:pt x="8437" y="884"/>
                    </a:lnTo>
                    <a:lnTo>
                      <a:pt x="8453" y="883"/>
                    </a:lnTo>
                    <a:lnTo>
                      <a:pt x="8469" y="882"/>
                    </a:lnTo>
                    <a:lnTo>
                      <a:pt x="8486" y="879"/>
                    </a:lnTo>
                    <a:lnTo>
                      <a:pt x="8517" y="874"/>
                    </a:lnTo>
                    <a:lnTo>
                      <a:pt x="8548" y="866"/>
                    </a:lnTo>
                    <a:lnTo>
                      <a:pt x="8548" y="943"/>
                    </a:lnTo>
                    <a:lnTo>
                      <a:pt x="8531" y="948"/>
                    </a:lnTo>
                    <a:lnTo>
                      <a:pt x="8513" y="952"/>
                    </a:lnTo>
                    <a:lnTo>
                      <a:pt x="8494" y="955"/>
                    </a:lnTo>
                    <a:lnTo>
                      <a:pt x="8475" y="959"/>
                    </a:lnTo>
                    <a:lnTo>
                      <a:pt x="8456" y="960"/>
                    </a:lnTo>
                    <a:lnTo>
                      <a:pt x="8438" y="962"/>
                    </a:lnTo>
                    <a:lnTo>
                      <a:pt x="8418" y="962"/>
                    </a:lnTo>
                    <a:lnTo>
                      <a:pt x="8400" y="962"/>
                    </a:lnTo>
                    <a:lnTo>
                      <a:pt x="8379" y="962"/>
                    </a:lnTo>
                    <a:lnTo>
                      <a:pt x="8359" y="961"/>
                    </a:lnTo>
                    <a:lnTo>
                      <a:pt x="8340" y="959"/>
                    </a:lnTo>
                    <a:lnTo>
                      <a:pt x="8322" y="955"/>
                    </a:lnTo>
                    <a:lnTo>
                      <a:pt x="8303" y="951"/>
                    </a:lnTo>
                    <a:lnTo>
                      <a:pt x="8287" y="947"/>
                    </a:lnTo>
                    <a:lnTo>
                      <a:pt x="8271" y="941"/>
                    </a:lnTo>
                    <a:lnTo>
                      <a:pt x="8256" y="935"/>
                    </a:lnTo>
                    <a:lnTo>
                      <a:pt x="8240" y="928"/>
                    </a:lnTo>
                    <a:lnTo>
                      <a:pt x="8226" y="921"/>
                    </a:lnTo>
                    <a:lnTo>
                      <a:pt x="8213" y="912"/>
                    </a:lnTo>
                    <a:lnTo>
                      <a:pt x="8200" y="903"/>
                    </a:lnTo>
                    <a:lnTo>
                      <a:pt x="8188" y="893"/>
                    </a:lnTo>
                    <a:lnTo>
                      <a:pt x="8177" y="883"/>
                    </a:lnTo>
                    <a:lnTo>
                      <a:pt x="8167" y="872"/>
                    </a:lnTo>
                    <a:lnTo>
                      <a:pt x="8157" y="860"/>
                    </a:lnTo>
                    <a:lnTo>
                      <a:pt x="8147" y="848"/>
                    </a:lnTo>
                    <a:lnTo>
                      <a:pt x="8138" y="835"/>
                    </a:lnTo>
                    <a:lnTo>
                      <a:pt x="8131" y="821"/>
                    </a:lnTo>
                    <a:lnTo>
                      <a:pt x="8123" y="807"/>
                    </a:lnTo>
                    <a:lnTo>
                      <a:pt x="8117" y="793"/>
                    </a:lnTo>
                    <a:lnTo>
                      <a:pt x="8111" y="777"/>
                    </a:lnTo>
                    <a:lnTo>
                      <a:pt x="8106" y="762"/>
                    </a:lnTo>
                    <a:lnTo>
                      <a:pt x="8100" y="746"/>
                    </a:lnTo>
                    <a:lnTo>
                      <a:pt x="8096" y="728"/>
                    </a:lnTo>
                    <a:lnTo>
                      <a:pt x="8093" y="711"/>
                    </a:lnTo>
                    <a:lnTo>
                      <a:pt x="8089" y="694"/>
                    </a:lnTo>
                    <a:lnTo>
                      <a:pt x="8087" y="676"/>
                    </a:lnTo>
                    <a:lnTo>
                      <a:pt x="8085" y="658"/>
                    </a:lnTo>
                    <a:lnTo>
                      <a:pt x="8084" y="638"/>
                    </a:lnTo>
                    <a:lnTo>
                      <a:pt x="8083" y="620"/>
                    </a:lnTo>
                    <a:lnTo>
                      <a:pt x="8083" y="600"/>
                    </a:lnTo>
                    <a:lnTo>
                      <a:pt x="8083" y="569"/>
                    </a:lnTo>
                    <a:lnTo>
                      <a:pt x="8086" y="537"/>
                    </a:lnTo>
                    <a:lnTo>
                      <a:pt x="8089" y="508"/>
                    </a:lnTo>
                    <a:lnTo>
                      <a:pt x="8096" y="479"/>
                    </a:lnTo>
                    <a:lnTo>
                      <a:pt x="8099" y="465"/>
                    </a:lnTo>
                    <a:lnTo>
                      <a:pt x="8104" y="450"/>
                    </a:lnTo>
                    <a:lnTo>
                      <a:pt x="8108" y="437"/>
                    </a:lnTo>
                    <a:lnTo>
                      <a:pt x="8112" y="424"/>
                    </a:lnTo>
                    <a:lnTo>
                      <a:pt x="8118" y="412"/>
                    </a:lnTo>
                    <a:lnTo>
                      <a:pt x="8124" y="399"/>
                    </a:lnTo>
                    <a:lnTo>
                      <a:pt x="8131" y="389"/>
                    </a:lnTo>
                    <a:lnTo>
                      <a:pt x="8138" y="377"/>
                    </a:lnTo>
                    <a:lnTo>
                      <a:pt x="8146" y="366"/>
                    </a:lnTo>
                    <a:lnTo>
                      <a:pt x="8154" y="356"/>
                    </a:lnTo>
                    <a:lnTo>
                      <a:pt x="8163" y="346"/>
                    </a:lnTo>
                    <a:lnTo>
                      <a:pt x="8172" y="338"/>
                    </a:lnTo>
                    <a:lnTo>
                      <a:pt x="8183" y="329"/>
                    </a:lnTo>
                    <a:lnTo>
                      <a:pt x="8193" y="321"/>
                    </a:lnTo>
                    <a:lnTo>
                      <a:pt x="8205" y="314"/>
                    </a:lnTo>
                    <a:lnTo>
                      <a:pt x="8216" y="307"/>
                    </a:lnTo>
                    <a:lnTo>
                      <a:pt x="8229" y="302"/>
                    </a:lnTo>
                    <a:lnTo>
                      <a:pt x="8242" y="296"/>
                    </a:lnTo>
                    <a:lnTo>
                      <a:pt x="8257" y="292"/>
                    </a:lnTo>
                    <a:lnTo>
                      <a:pt x="8271" y="288"/>
                    </a:lnTo>
                    <a:lnTo>
                      <a:pt x="8286" y="285"/>
                    </a:lnTo>
                    <a:lnTo>
                      <a:pt x="8302" y="283"/>
                    </a:lnTo>
                    <a:lnTo>
                      <a:pt x="8320" y="282"/>
                    </a:lnTo>
                    <a:lnTo>
                      <a:pt x="8337" y="281"/>
                    </a:lnTo>
                    <a:lnTo>
                      <a:pt x="8351" y="281"/>
                    </a:lnTo>
                    <a:lnTo>
                      <a:pt x="8364" y="282"/>
                    </a:lnTo>
                    <a:lnTo>
                      <a:pt x="8377" y="284"/>
                    </a:lnTo>
                    <a:lnTo>
                      <a:pt x="8390" y="285"/>
                    </a:lnTo>
                    <a:lnTo>
                      <a:pt x="8402" y="289"/>
                    </a:lnTo>
                    <a:lnTo>
                      <a:pt x="8414" y="292"/>
                    </a:lnTo>
                    <a:lnTo>
                      <a:pt x="8426" y="295"/>
                    </a:lnTo>
                    <a:lnTo>
                      <a:pt x="8437" y="300"/>
                    </a:lnTo>
                    <a:lnTo>
                      <a:pt x="8446" y="305"/>
                    </a:lnTo>
                    <a:lnTo>
                      <a:pt x="8456" y="309"/>
                    </a:lnTo>
                    <a:lnTo>
                      <a:pt x="8466" y="316"/>
                    </a:lnTo>
                    <a:lnTo>
                      <a:pt x="8476" y="321"/>
                    </a:lnTo>
                    <a:lnTo>
                      <a:pt x="8484" y="329"/>
                    </a:lnTo>
                    <a:lnTo>
                      <a:pt x="8492" y="335"/>
                    </a:lnTo>
                    <a:lnTo>
                      <a:pt x="8500" y="343"/>
                    </a:lnTo>
                    <a:lnTo>
                      <a:pt x="8507" y="352"/>
                    </a:lnTo>
                    <a:lnTo>
                      <a:pt x="8514" y="359"/>
                    </a:lnTo>
                    <a:lnTo>
                      <a:pt x="8520" y="368"/>
                    </a:lnTo>
                    <a:lnTo>
                      <a:pt x="8527" y="378"/>
                    </a:lnTo>
                    <a:lnTo>
                      <a:pt x="8532" y="388"/>
                    </a:lnTo>
                    <a:lnTo>
                      <a:pt x="8542" y="408"/>
                    </a:lnTo>
                    <a:lnTo>
                      <a:pt x="8550" y="430"/>
                    </a:lnTo>
                    <a:lnTo>
                      <a:pt x="8556" y="453"/>
                    </a:lnTo>
                    <a:lnTo>
                      <a:pt x="8560" y="477"/>
                    </a:lnTo>
                    <a:lnTo>
                      <a:pt x="8563" y="503"/>
                    </a:lnTo>
                    <a:lnTo>
                      <a:pt x="8564" y="529"/>
                    </a:lnTo>
                    <a:lnTo>
                      <a:pt x="8564" y="560"/>
                    </a:lnTo>
                    <a:lnTo>
                      <a:pt x="8189" y="560"/>
                    </a:lnTo>
                    <a:close/>
                    <a:moveTo>
                      <a:pt x="7932" y="495"/>
                    </a:moveTo>
                    <a:lnTo>
                      <a:pt x="7932" y="481"/>
                    </a:lnTo>
                    <a:lnTo>
                      <a:pt x="7931" y="467"/>
                    </a:lnTo>
                    <a:lnTo>
                      <a:pt x="7929" y="454"/>
                    </a:lnTo>
                    <a:lnTo>
                      <a:pt x="7926" y="442"/>
                    </a:lnTo>
                    <a:lnTo>
                      <a:pt x="7922" y="430"/>
                    </a:lnTo>
                    <a:lnTo>
                      <a:pt x="7917" y="419"/>
                    </a:lnTo>
                    <a:lnTo>
                      <a:pt x="7912" y="408"/>
                    </a:lnTo>
                    <a:lnTo>
                      <a:pt x="7905" y="398"/>
                    </a:lnTo>
                    <a:lnTo>
                      <a:pt x="7897" y="390"/>
                    </a:lnTo>
                    <a:lnTo>
                      <a:pt x="7890" y="382"/>
                    </a:lnTo>
                    <a:lnTo>
                      <a:pt x="7880" y="376"/>
                    </a:lnTo>
                    <a:lnTo>
                      <a:pt x="7869" y="370"/>
                    </a:lnTo>
                    <a:lnTo>
                      <a:pt x="7857" y="366"/>
                    </a:lnTo>
                    <a:lnTo>
                      <a:pt x="7845" y="363"/>
                    </a:lnTo>
                    <a:lnTo>
                      <a:pt x="7831" y="360"/>
                    </a:lnTo>
                    <a:lnTo>
                      <a:pt x="7816" y="359"/>
                    </a:lnTo>
                    <a:lnTo>
                      <a:pt x="7805" y="359"/>
                    </a:lnTo>
                    <a:lnTo>
                      <a:pt x="7794" y="360"/>
                    </a:lnTo>
                    <a:lnTo>
                      <a:pt x="7785" y="363"/>
                    </a:lnTo>
                    <a:lnTo>
                      <a:pt x="7775" y="365"/>
                    </a:lnTo>
                    <a:lnTo>
                      <a:pt x="7766" y="368"/>
                    </a:lnTo>
                    <a:lnTo>
                      <a:pt x="7757" y="372"/>
                    </a:lnTo>
                    <a:lnTo>
                      <a:pt x="7750" y="377"/>
                    </a:lnTo>
                    <a:lnTo>
                      <a:pt x="7742" y="381"/>
                    </a:lnTo>
                    <a:lnTo>
                      <a:pt x="7735" y="386"/>
                    </a:lnTo>
                    <a:lnTo>
                      <a:pt x="7727" y="393"/>
                    </a:lnTo>
                    <a:lnTo>
                      <a:pt x="7721" y="398"/>
                    </a:lnTo>
                    <a:lnTo>
                      <a:pt x="7715" y="406"/>
                    </a:lnTo>
                    <a:lnTo>
                      <a:pt x="7704" y="420"/>
                    </a:lnTo>
                    <a:lnTo>
                      <a:pt x="7695" y="436"/>
                    </a:lnTo>
                    <a:lnTo>
                      <a:pt x="7686" y="454"/>
                    </a:lnTo>
                    <a:lnTo>
                      <a:pt x="7679" y="472"/>
                    </a:lnTo>
                    <a:lnTo>
                      <a:pt x="7674" y="491"/>
                    </a:lnTo>
                    <a:lnTo>
                      <a:pt x="7670" y="510"/>
                    </a:lnTo>
                    <a:lnTo>
                      <a:pt x="7666" y="530"/>
                    </a:lnTo>
                    <a:lnTo>
                      <a:pt x="7663" y="548"/>
                    </a:lnTo>
                    <a:lnTo>
                      <a:pt x="7662" y="568"/>
                    </a:lnTo>
                    <a:lnTo>
                      <a:pt x="7662" y="586"/>
                    </a:lnTo>
                    <a:lnTo>
                      <a:pt x="7663" y="618"/>
                    </a:lnTo>
                    <a:lnTo>
                      <a:pt x="7665" y="647"/>
                    </a:lnTo>
                    <a:lnTo>
                      <a:pt x="7670" y="676"/>
                    </a:lnTo>
                    <a:lnTo>
                      <a:pt x="7676" y="703"/>
                    </a:lnTo>
                    <a:lnTo>
                      <a:pt x="7680" y="718"/>
                    </a:lnTo>
                    <a:lnTo>
                      <a:pt x="7685" y="730"/>
                    </a:lnTo>
                    <a:lnTo>
                      <a:pt x="7689" y="743"/>
                    </a:lnTo>
                    <a:lnTo>
                      <a:pt x="7695" y="755"/>
                    </a:lnTo>
                    <a:lnTo>
                      <a:pt x="7701" y="766"/>
                    </a:lnTo>
                    <a:lnTo>
                      <a:pt x="7708" y="777"/>
                    </a:lnTo>
                    <a:lnTo>
                      <a:pt x="7714" y="788"/>
                    </a:lnTo>
                    <a:lnTo>
                      <a:pt x="7722" y="798"/>
                    </a:lnTo>
                    <a:lnTo>
                      <a:pt x="7729" y="808"/>
                    </a:lnTo>
                    <a:lnTo>
                      <a:pt x="7738" y="817"/>
                    </a:lnTo>
                    <a:lnTo>
                      <a:pt x="7748" y="826"/>
                    </a:lnTo>
                    <a:lnTo>
                      <a:pt x="7757" y="835"/>
                    </a:lnTo>
                    <a:lnTo>
                      <a:pt x="7767" y="842"/>
                    </a:lnTo>
                    <a:lnTo>
                      <a:pt x="7778" y="849"/>
                    </a:lnTo>
                    <a:lnTo>
                      <a:pt x="7790" y="855"/>
                    </a:lnTo>
                    <a:lnTo>
                      <a:pt x="7802" y="861"/>
                    </a:lnTo>
                    <a:lnTo>
                      <a:pt x="7814" y="866"/>
                    </a:lnTo>
                    <a:lnTo>
                      <a:pt x="7828" y="872"/>
                    </a:lnTo>
                    <a:lnTo>
                      <a:pt x="7841" y="875"/>
                    </a:lnTo>
                    <a:lnTo>
                      <a:pt x="7856" y="878"/>
                    </a:lnTo>
                    <a:lnTo>
                      <a:pt x="7871" y="882"/>
                    </a:lnTo>
                    <a:lnTo>
                      <a:pt x="7887" y="883"/>
                    </a:lnTo>
                    <a:lnTo>
                      <a:pt x="7903" y="884"/>
                    </a:lnTo>
                    <a:lnTo>
                      <a:pt x="7920" y="885"/>
                    </a:lnTo>
                    <a:lnTo>
                      <a:pt x="7946" y="884"/>
                    </a:lnTo>
                    <a:lnTo>
                      <a:pt x="7973" y="882"/>
                    </a:lnTo>
                    <a:lnTo>
                      <a:pt x="7986" y="879"/>
                    </a:lnTo>
                    <a:lnTo>
                      <a:pt x="7999" y="877"/>
                    </a:lnTo>
                    <a:lnTo>
                      <a:pt x="8012" y="874"/>
                    </a:lnTo>
                    <a:lnTo>
                      <a:pt x="8025" y="871"/>
                    </a:lnTo>
                    <a:lnTo>
                      <a:pt x="8025" y="945"/>
                    </a:lnTo>
                    <a:lnTo>
                      <a:pt x="8008" y="949"/>
                    </a:lnTo>
                    <a:lnTo>
                      <a:pt x="7992" y="953"/>
                    </a:lnTo>
                    <a:lnTo>
                      <a:pt x="7976" y="956"/>
                    </a:lnTo>
                    <a:lnTo>
                      <a:pt x="7958" y="959"/>
                    </a:lnTo>
                    <a:lnTo>
                      <a:pt x="7925" y="962"/>
                    </a:lnTo>
                    <a:lnTo>
                      <a:pt x="7890" y="962"/>
                    </a:lnTo>
                    <a:lnTo>
                      <a:pt x="7869" y="962"/>
                    </a:lnTo>
                    <a:lnTo>
                      <a:pt x="7849" y="961"/>
                    </a:lnTo>
                    <a:lnTo>
                      <a:pt x="7830" y="959"/>
                    </a:lnTo>
                    <a:lnTo>
                      <a:pt x="7811" y="955"/>
                    </a:lnTo>
                    <a:lnTo>
                      <a:pt x="7793" y="952"/>
                    </a:lnTo>
                    <a:lnTo>
                      <a:pt x="7776" y="948"/>
                    </a:lnTo>
                    <a:lnTo>
                      <a:pt x="7759" y="943"/>
                    </a:lnTo>
                    <a:lnTo>
                      <a:pt x="7743" y="937"/>
                    </a:lnTo>
                    <a:lnTo>
                      <a:pt x="7727" y="930"/>
                    </a:lnTo>
                    <a:lnTo>
                      <a:pt x="7713" y="924"/>
                    </a:lnTo>
                    <a:lnTo>
                      <a:pt x="7699" y="915"/>
                    </a:lnTo>
                    <a:lnTo>
                      <a:pt x="7686" y="908"/>
                    </a:lnTo>
                    <a:lnTo>
                      <a:pt x="7673" y="898"/>
                    </a:lnTo>
                    <a:lnTo>
                      <a:pt x="7661" y="888"/>
                    </a:lnTo>
                    <a:lnTo>
                      <a:pt x="7649" y="877"/>
                    </a:lnTo>
                    <a:lnTo>
                      <a:pt x="7638" y="866"/>
                    </a:lnTo>
                    <a:lnTo>
                      <a:pt x="7628" y="854"/>
                    </a:lnTo>
                    <a:lnTo>
                      <a:pt x="7619" y="841"/>
                    </a:lnTo>
                    <a:lnTo>
                      <a:pt x="7610" y="828"/>
                    </a:lnTo>
                    <a:lnTo>
                      <a:pt x="7602" y="815"/>
                    </a:lnTo>
                    <a:lnTo>
                      <a:pt x="7595" y="800"/>
                    </a:lnTo>
                    <a:lnTo>
                      <a:pt x="7587" y="786"/>
                    </a:lnTo>
                    <a:lnTo>
                      <a:pt x="7582" y="770"/>
                    </a:lnTo>
                    <a:lnTo>
                      <a:pt x="7576" y="755"/>
                    </a:lnTo>
                    <a:lnTo>
                      <a:pt x="7571" y="737"/>
                    </a:lnTo>
                    <a:lnTo>
                      <a:pt x="7566" y="721"/>
                    </a:lnTo>
                    <a:lnTo>
                      <a:pt x="7563" y="702"/>
                    </a:lnTo>
                    <a:lnTo>
                      <a:pt x="7560" y="685"/>
                    </a:lnTo>
                    <a:lnTo>
                      <a:pt x="7558" y="665"/>
                    </a:lnTo>
                    <a:lnTo>
                      <a:pt x="7557" y="647"/>
                    </a:lnTo>
                    <a:lnTo>
                      <a:pt x="7556" y="627"/>
                    </a:lnTo>
                    <a:lnTo>
                      <a:pt x="7555" y="607"/>
                    </a:lnTo>
                    <a:lnTo>
                      <a:pt x="7556" y="574"/>
                    </a:lnTo>
                    <a:lnTo>
                      <a:pt x="7558" y="542"/>
                    </a:lnTo>
                    <a:lnTo>
                      <a:pt x="7562" y="510"/>
                    </a:lnTo>
                    <a:lnTo>
                      <a:pt x="7569" y="481"/>
                    </a:lnTo>
                    <a:lnTo>
                      <a:pt x="7572" y="467"/>
                    </a:lnTo>
                    <a:lnTo>
                      <a:pt x="7576" y="453"/>
                    </a:lnTo>
                    <a:lnTo>
                      <a:pt x="7581" y="439"/>
                    </a:lnTo>
                    <a:lnTo>
                      <a:pt x="7586" y="426"/>
                    </a:lnTo>
                    <a:lnTo>
                      <a:pt x="7593" y="412"/>
                    </a:lnTo>
                    <a:lnTo>
                      <a:pt x="7598" y="401"/>
                    </a:lnTo>
                    <a:lnTo>
                      <a:pt x="7606" y="389"/>
                    </a:lnTo>
                    <a:lnTo>
                      <a:pt x="7613" y="378"/>
                    </a:lnTo>
                    <a:lnTo>
                      <a:pt x="7621" y="367"/>
                    </a:lnTo>
                    <a:lnTo>
                      <a:pt x="7629" y="356"/>
                    </a:lnTo>
                    <a:lnTo>
                      <a:pt x="7639" y="346"/>
                    </a:lnTo>
                    <a:lnTo>
                      <a:pt x="7649" y="338"/>
                    </a:lnTo>
                    <a:lnTo>
                      <a:pt x="7659" y="329"/>
                    </a:lnTo>
                    <a:lnTo>
                      <a:pt x="7671" y="321"/>
                    </a:lnTo>
                    <a:lnTo>
                      <a:pt x="7683" y="314"/>
                    </a:lnTo>
                    <a:lnTo>
                      <a:pt x="7695" y="307"/>
                    </a:lnTo>
                    <a:lnTo>
                      <a:pt x="7708" y="302"/>
                    </a:lnTo>
                    <a:lnTo>
                      <a:pt x="7722" y="296"/>
                    </a:lnTo>
                    <a:lnTo>
                      <a:pt x="7736" y="292"/>
                    </a:lnTo>
                    <a:lnTo>
                      <a:pt x="7752" y="288"/>
                    </a:lnTo>
                    <a:lnTo>
                      <a:pt x="7767" y="285"/>
                    </a:lnTo>
                    <a:lnTo>
                      <a:pt x="7785" y="283"/>
                    </a:lnTo>
                    <a:lnTo>
                      <a:pt x="7802" y="282"/>
                    </a:lnTo>
                    <a:lnTo>
                      <a:pt x="7820" y="281"/>
                    </a:lnTo>
                    <a:lnTo>
                      <a:pt x="7845" y="282"/>
                    </a:lnTo>
                    <a:lnTo>
                      <a:pt x="7869" y="284"/>
                    </a:lnTo>
                    <a:lnTo>
                      <a:pt x="7892" y="289"/>
                    </a:lnTo>
                    <a:lnTo>
                      <a:pt x="7914" y="295"/>
                    </a:lnTo>
                    <a:lnTo>
                      <a:pt x="7933" y="303"/>
                    </a:lnTo>
                    <a:lnTo>
                      <a:pt x="7952" y="312"/>
                    </a:lnTo>
                    <a:lnTo>
                      <a:pt x="7960" y="317"/>
                    </a:lnTo>
                    <a:lnTo>
                      <a:pt x="7968" y="322"/>
                    </a:lnTo>
                    <a:lnTo>
                      <a:pt x="7976" y="329"/>
                    </a:lnTo>
                    <a:lnTo>
                      <a:pt x="7983" y="335"/>
                    </a:lnTo>
                    <a:lnTo>
                      <a:pt x="7991" y="342"/>
                    </a:lnTo>
                    <a:lnTo>
                      <a:pt x="7997" y="350"/>
                    </a:lnTo>
                    <a:lnTo>
                      <a:pt x="8003" y="357"/>
                    </a:lnTo>
                    <a:lnTo>
                      <a:pt x="8009" y="365"/>
                    </a:lnTo>
                    <a:lnTo>
                      <a:pt x="8015" y="373"/>
                    </a:lnTo>
                    <a:lnTo>
                      <a:pt x="8019" y="383"/>
                    </a:lnTo>
                    <a:lnTo>
                      <a:pt x="8023" y="392"/>
                    </a:lnTo>
                    <a:lnTo>
                      <a:pt x="8028" y="402"/>
                    </a:lnTo>
                    <a:lnTo>
                      <a:pt x="8031" y="412"/>
                    </a:lnTo>
                    <a:lnTo>
                      <a:pt x="8034" y="422"/>
                    </a:lnTo>
                    <a:lnTo>
                      <a:pt x="8036" y="434"/>
                    </a:lnTo>
                    <a:lnTo>
                      <a:pt x="8038" y="445"/>
                    </a:lnTo>
                    <a:lnTo>
                      <a:pt x="8042" y="469"/>
                    </a:lnTo>
                    <a:lnTo>
                      <a:pt x="8043" y="495"/>
                    </a:lnTo>
                    <a:lnTo>
                      <a:pt x="7932" y="495"/>
                    </a:lnTo>
                    <a:close/>
                    <a:moveTo>
                      <a:pt x="7349" y="947"/>
                    </a:moveTo>
                    <a:lnTo>
                      <a:pt x="7349" y="586"/>
                    </a:lnTo>
                    <a:lnTo>
                      <a:pt x="7349" y="556"/>
                    </a:lnTo>
                    <a:lnTo>
                      <a:pt x="7349" y="522"/>
                    </a:lnTo>
                    <a:lnTo>
                      <a:pt x="7348" y="505"/>
                    </a:lnTo>
                    <a:lnTo>
                      <a:pt x="7347" y="486"/>
                    </a:lnTo>
                    <a:lnTo>
                      <a:pt x="7344" y="469"/>
                    </a:lnTo>
                    <a:lnTo>
                      <a:pt x="7341" y="453"/>
                    </a:lnTo>
                    <a:lnTo>
                      <a:pt x="7336" y="436"/>
                    </a:lnTo>
                    <a:lnTo>
                      <a:pt x="7330" y="422"/>
                    </a:lnTo>
                    <a:lnTo>
                      <a:pt x="7327" y="415"/>
                    </a:lnTo>
                    <a:lnTo>
                      <a:pt x="7322" y="408"/>
                    </a:lnTo>
                    <a:lnTo>
                      <a:pt x="7318" y="403"/>
                    </a:lnTo>
                    <a:lnTo>
                      <a:pt x="7314" y="397"/>
                    </a:lnTo>
                    <a:lnTo>
                      <a:pt x="7308" y="392"/>
                    </a:lnTo>
                    <a:lnTo>
                      <a:pt x="7302" y="388"/>
                    </a:lnTo>
                    <a:lnTo>
                      <a:pt x="7295" y="383"/>
                    </a:lnTo>
                    <a:lnTo>
                      <a:pt x="7288" y="380"/>
                    </a:lnTo>
                    <a:lnTo>
                      <a:pt x="7280" y="378"/>
                    </a:lnTo>
                    <a:lnTo>
                      <a:pt x="7272" y="376"/>
                    </a:lnTo>
                    <a:lnTo>
                      <a:pt x="7263" y="374"/>
                    </a:lnTo>
                    <a:lnTo>
                      <a:pt x="7253" y="374"/>
                    </a:lnTo>
                    <a:lnTo>
                      <a:pt x="7241" y="374"/>
                    </a:lnTo>
                    <a:lnTo>
                      <a:pt x="7230" y="377"/>
                    </a:lnTo>
                    <a:lnTo>
                      <a:pt x="7219" y="379"/>
                    </a:lnTo>
                    <a:lnTo>
                      <a:pt x="7208" y="383"/>
                    </a:lnTo>
                    <a:lnTo>
                      <a:pt x="7198" y="388"/>
                    </a:lnTo>
                    <a:lnTo>
                      <a:pt x="7188" y="394"/>
                    </a:lnTo>
                    <a:lnTo>
                      <a:pt x="7179" y="401"/>
                    </a:lnTo>
                    <a:lnTo>
                      <a:pt x="7169" y="407"/>
                    </a:lnTo>
                    <a:lnTo>
                      <a:pt x="7161" y="416"/>
                    </a:lnTo>
                    <a:lnTo>
                      <a:pt x="7153" y="424"/>
                    </a:lnTo>
                    <a:lnTo>
                      <a:pt x="7145" y="434"/>
                    </a:lnTo>
                    <a:lnTo>
                      <a:pt x="7138" y="444"/>
                    </a:lnTo>
                    <a:lnTo>
                      <a:pt x="7125" y="466"/>
                    </a:lnTo>
                    <a:lnTo>
                      <a:pt x="7113" y="488"/>
                    </a:lnTo>
                    <a:lnTo>
                      <a:pt x="7102" y="512"/>
                    </a:lnTo>
                    <a:lnTo>
                      <a:pt x="7093" y="537"/>
                    </a:lnTo>
                    <a:lnTo>
                      <a:pt x="7086" y="563"/>
                    </a:lnTo>
                    <a:lnTo>
                      <a:pt x="7079" y="588"/>
                    </a:lnTo>
                    <a:lnTo>
                      <a:pt x="7075" y="613"/>
                    </a:lnTo>
                    <a:lnTo>
                      <a:pt x="7072" y="636"/>
                    </a:lnTo>
                    <a:lnTo>
                      <a:pt x="7070" y="659"/>
                    </a:lnTo>
                    <a:lnTo>
                      <a:pt x="7068" y="680"/>
                    </a:lnTo>
                    <a:lnTo>
                      <a:pt x="7068" y="947"/>
                    </a:lnTo>
                    <a:lnTo>
                      <a:pt x="6976" y="947"/>
                    </a:lnTo>
                    <a:lnTo>
                      <a:pt x="6976" y="296"/>
                    </a:lnTo>
                    <a:lnTo>
                      <a:pt x="7068" y="296"/>
                    </a:lnTo>
                    <a:lnTo>
                      <a:pt x="7068" y="447"/>
                    </a:lnTo>
                    <a:lnTo>
                      <a:pt x="7072" y="447"/>
                    </a:lnTo>
                    <a:lnTo>
                      <a:pt x="7078" y="429"/>
                    </a:lnTo>
                    <a:lnTo>
                      <a:pt x="7085" y="411"/>
                    </a:lnTo>
                    <a:lnTo>
                      <a:pt x="7092" y="394"/>
                    </a:lnTo>
                    <a:lnTo>
                      <a:pt x="7101" y="379"/>
                    </a:lnTo>
                    <a:lnTo>
                      <a:pt x="7111" y="364"/>
                    </a:lnTo>
                    <a:lnTo>
                      <a:pt x="7121" y="351"/>
                    </a:lnTo>
                    <a:lnTo>
                      <a:pt x="7131" y="338"/>
                    </a:lnTo>
                    <a:lnTo>
                      <a:pt x="7143" y="327"/>
                    </a:lnTo>
                    <a:lnTo>
                      <a:pt x="7156" y="316"/>
                    </a:lnTo>
                    <a:lnTo>
                      <a:pt x="7169" y="307"/>
                    </a:lnTo>
                    <a:lnTo>
                      <a:pt x="7185" y="300"/>
                    </a:lnTo>
                    <a:lnTo>
                      <a:pt x="7200" y="293"/>
                    </a:lnTo>
                    <a:lnTo>
                      <a:pt x="7217" y="288"/>
                    </a:lnTo>
                    <a:lnTo>
                      <a:pt x="7236" y="284"/>
                    </a:lnTo>
                    <a:lnTo>
                      <a:pt x="7255" y="282"/>
                    </a:lnTo>
                    <a:lnTo>
                      <a:pt x="7276" y="281"/>
                    </a:lnTo>
                    <a:lnTo>
                      <a:pt x="7285" y="281"/>
                    </a:lnTo>
                    <a:lnTo>
                      <a:pt x="7296" y="282"/>
                    </a:lnTo>
                    <a:lnTo>
                      <a:pt x="7306" y="283"/>
                    </a:lnTo>
                    <a:lnTo>
                      <a:pt x="7315" y="285"/>
                    </a:lnTo>
                    <a:lnTo>
                      <a:pt x="7325" y="288"/>
                    </a:lnTo>
                    <a:lnTo>
                      <a:pt x="7333" y="291"/>
                    </a:lnTo>
                    <a:lnTo>
                      <a:pt x="7342" y="294"/>
                    </a:lnTo>
                    <a:lnTo>
                      <a:pt x="7349" y="298"/>
                    </a:lnTo>
                    <a:lnTo>
                      <a:pt x="7365" y="307"/>
                    </a:lnTo>
                    <a:lnTo>
                      <a:pt x="7379" y="318"/>
                    </a:lnTo>
                    <a:lnTo>
                      <a:pt x="7391" y="330"/>
                    </a:lnTo>
                    <a:lnTo>
                      <a:pt x="7402" y="343"/>
                    </a:lnTo>
                    <a:lnTo>
                      <a:pt x="7411" y="358"/>
                    </a:lnTo>
                    <a:lnTo>
                      <a:pt x="7419" y="373"/>
                    </a:lnTo>
                    <a:lnTo>
                      <a:pt x="7427" y="391"/>
                    </a:lnTo>
                    <a:lnTo>
                      <a:pt x="7432" y="408"/>
                    </a:lnTo>
                    <a:lnTo>
                      <a:pt x="7436" y="426"/>
                    </a:lnTo>
                    <a:lnTo>
                      <a:pt x="7440" y="444"/>
                    </a:lnTo>
                    <a:lnTo>
                      <a:pt x="7442" y="464"/>
                    </a:lnTo>
                    <a:lnTo>
                      <a:pt x="7442" y="482"/>
                    </a:lnTo>
                    <a:lnTo>
                      <a:pt x="7442" y="947"/>
                    </a:lnTo>
                    <a:lnTo>
                      <a:pt x="7349" y="947"/>
                    </a:lnTo>
                    <a:close/>
                    <a:moveTo>
                      <a:pt x="6682" y="652"/>
                    </a:moveTo>
                    <a:lnTo>
                      <a:pt x="6666" y="652"/>
                    </a:lnTo>
                    <a:lnTo>
                      <a:pt x="6650" y="654"/>
                    </a:lnTo>
                    <a:lnTo>
                      <a:pt x="6632" y="656"/>
                    </a:lnTo>
                    <a:lnTo>
                      <a:pt x="6614" y="659"/>
                    </a:lnTo>
                    <a:lnTo>
                      <a:pt x="6596" y="663"/>
                    </a:lnTo>
                    <a:lnTo>
                      <a:pt x="6578" y="669"/>
                    </a:lnTo>
                    <a:lnTo>
                      <a:pt x="6561" y="674"/>
                    </a:lnTo>
                    <a:lnTo>
                      <a:pt x="6544" y="682"/>
                    </a:lnTo>
                    <a:lnTo>
                      <a:pt x="6529" y="690"/>
                    </a:lnTo>
                    <a:lnTo>
                      <a:pt x="6515" y="700"/>
                    </a:lnTo>
                    <a:lnTo>
                      <a:pt x="6507" y="706"/>
                    </a:lnTo>
                    <a:lnTo>
                      <a:pt x="6502" y="712"/>
                    </a:lnTo>
                    <a:lnTo>
                      <a:pt x="6496" y="718"/>
                    </a:lnTo>
                    <a:lnTo>
                      <a:pt x="6491" y="724"/>
                    </a:lnTo>
                    <a:lnTo>
                      <a:pt x="6486" y="732"/>
                    </a:lnTo>
                    <a:lnTo>
                      <a:pt x="6481" y="738"/>
                    </a:lnTo>
                    <a:lnTo>
                      <a:pt x="6478" y="746"/>
                    </a:lnTo>
                    <a:lnTo>
                      <a:pt x="6475" y="755"/>
                    </a:lnTo>
                    <a:lnTo>
                      <a:pt x="6473" y="763"/>
                    </a:lnTo>
                    <a:lnTo>
                      <a:pt x="6471" y="772"/>
                    </a:lnTo>
                    <a:lnTo>
                      <a:pt x="6469" y="781"/>
                    </a:lnTo>
                    <a:lnTo>
                      <a:pt x="6469" y="790"/>
                    </a:lnTo>
                    <a:lnTo>
                      <a:pt x="6469" y="800"/>
                    </a:lnTo>
                    <a:lnTo>
                      <a:pt x="6471" y="810"/>
                    </a:lnTo>
                    <a:lnTo>
                      <a:pt x="6473" y="819"/>
                    </a:lnTo>
                    <a:lnTo>
                      <a:pt x="6476" y="828"/>
                    </a:lnTo>
                    <a:lnTo>
                      <a:pt x="6479" y="836"/>
                    </a:lnTo>
                    <a:lnTo>
                      <a:pt x="6484" y="844"/>
                    </a:lnTo>
                    <a:lnTo>
                      <a:pt x="6489" y="851"/>
                    </a:lnTo>
                    <a:lnTo>
                      <a:pt x="6494" y="858"/>
                    </a:lnTo>
                    <a:lnTo>
                      <a:pt x="6501" y="864"/>
                    </a:lnTo>
                    <a:lnTo>
                      <a:pt x="6507" y="869"/>
                    </a:lnTo>
                    <a:lnTo>
                      <a:pt x="6515" y="874"/>
                    </a:lnTo>
                    <a:lnTo>
                      <a:pt x="6524" y="877"/>
                    </a:lnTo>
                    <a:lnTo>
                      <a:pt x="6531" y="880"/>
                    </a:lnTo>
                    <a:lnTo>
                      <a:pt x="6541" y="883"/>
                    </a:lnTo>
                    <a:lnTo>
                      <a:pt x="6551" y="884"/>
                    </a:lnTo>
                    <a:lnTo>
                      <a:pt x="6561" y="885"/>
                    </a:lnTo>
                    <a:lnTo>
                      <a:pt x="6573" y="884"/>
                    </a:lnTo>
                    <a:lnTo>
                      <a:pt x="6585" y="883"/>
                    </a:lnTo>
                    <a:lnTo>
                      <a:pt x="6596" y="880"/>
                    </a:lnTo>
                    <a:lnTo>
                      <a:pt x="6608" y="877"/>
                    </a:lnTo>
                    <a:lnTo>
                      <a:pt x="6619" y="873"/>
                    </a:lnTo>
                    <a:lnTo>
                      <a:pt x="6630" y="867"/>
                    </a:lnTo>
                    <a:lnTo>
                      <a:pt x="6641" y="862"/>
                    </a:lnTo>
                    <a:lnTo>
                      <a:pt x="6651" y="855"/>
                    </a:lnTo>
                    <a:lnTo>
                      <a:pt x="6660" y="849"/>
                    </a:lnTo>
                    <a:lnTo>
                      <a:pt x="6669" y="841"/>
                    </a:lnTo>
                    <a:lnTo>
                      <a:pt x="6678" y="833"/>
                    </a:lnTo>
                    <a:lnTo>
                      <a:pt x="6687" y="824"/>
                    </a:lnTo>
                    <a:lnTo>
                      <a:pt x="6694" y="814"/>
                    </a:lnTo>
                    <a:lnTo>
                      <a:pt x="6701" y="804"/>
                    </a:lnTo>
                    <a:lnTo>
                      <a:pt x="6707" y="794"/>
                    </a:lnTo>
                    <a:lnTo>
                      <a:pt x="6713" y="783"/>
                    </a:lnTo>
                    <a:lnTo>
                      <a:pt x="6720" y="765"/>
                    </a:lnTo>
                    <a:lnTo>
                      <a:pt x="6726" y="749"/>
                    </a:lnTo>
                    <a:lnTo>
                      <a:pt x="6730" y="734"/>
                    </a:lnTo>
                    <a:lnTo>
                      <a:pt x="6733" y="720"/>
                    </a:lnTo>
                    <a:lnTo>
                      <a:pt x="6735" y="705"/>
                    </a:lnTo>
                    <a:lnTo>
                      <a:pt x="6736" y="688"/>
                    </a:lnTo>
                    <a:lnTo>
                      <a:pt x="6736" y="671"/>
                    </a:lnTo>
                    <a:lnTo>
                      <a:pt x="6737" y="652"/>
                    </a:lnTo>
                    <a:lnTo>
                      <a:pt x="6682" y="652"/>
                    </a:lnTo>
                    <a:close/>
                    <a:moveTo>
                      <a:pt x="6740" y="947"/>
                    </a:moveTo>
                    <a:lnTo>
                      <a:pt x="6740" y="861"/>
                    </a:lnTo>
                    <a:lnTo>
                      <a:pt x="6737" y="861"/>
                    </a:lnTo>
                    <a:lnTo>
                      <a:pt x="6730" y="874"/>
                    </a:lnTo>
                    <a:lnTo>
                      <a:pt x="6721" y="885"/>
                    </a:lnTo>
                    <a:lnTo>
                      <a:pt x="6711" y="896"/>
                    </a:lnTo>
                    <a:lnTo>
                      <a:pt x="6701" y="905"/>
                    </a:lnTo>
                    <a:lnTo>
                      <a:pt x="6690" y="915"/>
                    </a:lnTo>
                    <a:lnTo>
                      <a:pt x="6677" y="923"/>
                    </a:lnTo>
                    <a:lnTo>
                      <a:pt x="6665" y="930"/>
                    </a:lnTo>
                    <a:lnTo>
                      <a:pt x="6651" y="937"/>
                    </a:lnTo>
                    <a:lnTo>
                      <a:pt x="6638" y="943"/>
                    </a:lnTo>
                    <a:lnTo>
                      <a:pt x="6622" y="948"/>
                    </a:lnTo>
                    <a:lnTo>
                      <a:pt x="6608" y="952"/>
                    </a:lnTo>
                    <a:lnTo>
                      <a:pt x="6594" y="956"/>
                    </a:lnTo>
                    <a:lnTo>
                      <a:pt x="6580" y="959"/>
                    </a:lnTo>
                    <a:lnTo>
                      <a:pt x="6565" y="961"/>
                    </a:lnTo>
                    <a:lnTo>
                      <a:pt x="6551" y="962"/>
                    </a:lnTo>
                    <a:lnTo>
                      <a:pt x="6538" y="962"/>
                    </a:lnTo>
                    <a:lnTo>
                      <a:pt x="6517" y="962"/>
                    </a:lnTo>
                    <a:lnTo>
                      <a:pt x="6498" y="959"/>
                    </a:lnTo>
                    <a:lnTo>
                      <a:pt x="6479" y="955"/>
                    </a:lnTo>
                    <a:lnTo>
                      <a:pt x="6463" y="950"/>
                    </a:lnTo>
                    <a:lnTo>
                      <a:pt x="6447" y="942"/>
                    </a:lnTo>
                    <a:lnTo>
                      <a:pt x="6433" y="934"/>
                    </a:lnTo>
                    <a:lnTo>
                      <a:pt x="6420" y="924"/>
                    </a:lnTo>
                    <a:lnTo>
                      <a:pt x="6408" y="913"/>
                    </a:lnTo>
                    <a:lnTo>
                      <a:pt x="6398" y="900"/>
                    </a:lnTo>
                    <a:lnTo>
                      <a:pt x="6388" y="887"/>
                    </a:lnTo>
                    <a:lnTo>
                      <a:pt x="6381" y="872"/>
                    </a:lnTo>
                    <a:lnTo>
                      <a:pt x="6374" y="855"/>
                    </a:lnTo>
                    <a:lnTo>
                      <a:pt x="6369" y="838"/>
                    </a:lnTo>
                    <a:lnTo>
                      <a:pt x="6365" y="820"/>
                    </a:lnTo>
                    <a:lnTo>
                      <a:pt x="6363" y="801"/>
                    </a:lnTo>
                    <a:lnTo>
                      <a:pt x="6362" y="781"/>
                    </a:lnTo>
                    <a:lnTo>
                      <a:pt x="6363" y="766"/>
                    </a:lnTo>
                    <a:lnTo>
                      <a:pt x="6364" y="753"/>
                    </a:lnTo>
                    <a:lnTo>
                      <a:pt x="6367" y="741"/>
                    </a:lnTo>
                    <a:lnTo>
                      <a:pt x="6371" y="728"/>
                    </a:lnTo>
                    <a:lnTo>
                      <a:pt x="6375" y="718"/>
                    </a:lnTo>
                    <a:lnTo>
                      <a:pt x="6381" y="707"/>
                    </a:lnTo>
                    <a:lnTo>
                      <a:pt x="6387" y="696"/>
                    </a:lnTo>
                    <a:lnTo>
                      <a:pt x="6394" y="686"/>
                    </a:lnTo>
                    <a:lnTo>
                      <a:pt x="6402" y="676"/>
                    </a:lnTo>
                    <a:lnTo>
                      <a:pt x="6410" y="668"/>
                    </a:lnTo>
                    <a:lnTo>
                      <a:pt x="6420" y="659"/>
                    </a:lnTo>
                    <a:lnTo>
                      <a:pt x="6429" y="651"/>
                    </a:lnTo>
                    <a:lnTo>
                      <a:pt x="6439" y="644"/>
                    </a:lnTo>
                    <a:lnTo>
                      <a:pt x="6450" y="636"/>
                    </a:lnTo>
                    <a:lnTo>
                      <a:pt x="6461" y="630"/>
                    </a:lnTo>
                    <a:lnTo>
                      <a:pt x="6473" y="623"/>
                    </a:lnTo>
                    <a:lnTo>
                      <a:pt x="6497" y="612"/>
                    </a:lnTo>
                    <a:lnTo>
                      <a:pt x="6522" y="602"/>
                    </a:lnTo>
                    <a:lnTo>
                      <a:pt x="6548" y="595"/>
                    </a:lnTo>
                    <a:lnTo>
                      <a:pt x="6574" y="588"/>
                    </a:lnTo>
                    <a:lnTo>
                      <a:pt x="6600" y="584"/>
                    </a:lnTo>
                    <a:lnTo>
                      <a:pt x="6625" y="581"/>
                    </a:lnTo>
                    <a:lnTo>
                      <a:pt x="6650" y="579"/>
                    </a:lnTo>
                    <a:lnTo>
                      <a:pt x="6672" y="578"/>
                    </a:lnTo>
                    <a:lnTo>
                      <a:pt x="6689" y="578"/>
                    </a:lnTo>
                    <a:lnTo>
                      <a:pt x="6705" y="578"/>
                    </a:lnTo>
                    <a:lnTo>
                      <a:pt x="6721" y="576"/>
                    </a:lnTo>
                    <a:lnTo>
                      <a:pt x="6737" y="574"/>
                    </a:lnTo>
                    <a:lnTo>
                      <a:pt x="6737" y="560"/>
                    </a:lnTo>
                    <a:lnTo>
                      <a:pt x="6737" y="523"/>
                    </a:lnTo>
                    <a:lnTo>
                      <a:pt x="6736" y="487"/>
                    </a:lnTo>
                    <a:lnTo>
                      <a:pt x="6734" y="471"/>
                    </a:lnTo>
                    <a:lnTo>
                      <a:pt x="6732" y="454"/>
                    </a:lnTo>
                    <a:lnTo>
                      <a:pt x="6729" y="439"/>
                    </a:lnTo>
                    <a:lnTo>
                      <a:pt x="6724" y="423"/>
                    </a:lnTo>
                    <a:lnTo>
                      <a:pt x="6718" y="409"/>
                    </a:lnTo>
                    <a:lnTo>
                      <a:pt x="6710" y="397"/>
                    </a:lnTo>
                    <a:lnTo>
                      <a:pt x="6705" y="392"/>
                    </a:lnTo>
                    <a:lnTo>
                      <a:pt x="6700" y="386"/>
                    </a:lnTo>
                    <a:lnTo>
                      <a:pt x="6694" y="381"/>
                    </a:lnTo>
                    <a:lnTo>
                      <a:pt x="6688" y="377"/>
                    </a:lnTo>
                    <a:lnTo>
                      <a:pt x="6681" y="373"/>
                    </a:lnTo>
                    <a:lnTo>
                      <a:pt x="6673" y="369"/>
                    </a:lnTo>
                    <a:lnTo>
                      <a:pt x="6666" y="367"/>
                    </a:lnTo>
                    <a:lnTo>
                      <a:pt x="6656" y="364"/>
                    </a:lnTo>
                    <a:lnTo>
                      <a:pt x="6647" y="363"/>
                    </a:lnTo>
                    <a:lnTo>
                      <a:pt x="6637" y="360"/>
                    </a:lnTo>
                    <a:lnTo>
                      <a:pt x="6626" y="359"/>
                    </a:lnTo>
                    <a:lnTo>
                      <a:pt x="6614" y="359"/>
                    </a:lnTo>
                    <a:lnTo>
                      <a:pt x="6600" y="359"/>
                    </a:lnTo>
                    <a:lnTo>
                      <a:pt x="6587" y="360"/>
                    </a:lnTo>
                    <a:lnTo>
                      <a:pt x="6574" y="363"/>
                    </a:lnTo>
                    <a:lnTo>
                      <a:pt x="6563" y="365"/>
                    </a:lnTo>
                    <a:lnTo>
                      <a:pt x="6551" y="368"/>
                    </a:lnTo>
                    <a:lnTo>
                      <a:pt x="6541" y="371"/>
                    </a:lnTo>
                    <a:lnTo>
                      <a:pt x="6531" y="377"/>
                    </a:lnTo>
                    <a:lnTo>
                      <a:pt x="6523" y="382"/>
                    </a:lnTo>
                    <a:lnTo>
                      <a:pt x="6515" y="389"/>
                    </a:lnTo>
                    <a:lnTo>
                      <a:pt x="6507" y="396"/>
                    </a:lnTo>
                    <a:lnTo>
                      <a:pt x="6501" y="405"/>
                    </a:lnTo>
                    <a:lnTo>
                      <a:pt x="6496" y="414"/>
                    </a:lnTo>
                    <a:lnTo>
                      <a:pt x="6490" y="424"/>
                    </a:lnTo>
                    <a:lnTo>
                      <a:pt x="6487" y="436"/>
                    </a:lnTo>
                    <a:lnTo>
                      <a:pt x="6484" y="449"/>
                    </a:lnTo>
                    <a:lnTo>
                      <a:pt x="6481" y="464"/>
                    </a:lnTo>
                    <a:lnTo>
                      <a:pt x="6377" y="464"/>
                    </a:lnTo>
                    <a:lnTo>
                      <a:pt x="6378" y="452"/>
                    </a:lnTo>
                    <a:lnTo>
                      <a:pt x="6379" y="440"/>
                    </a:lnTo>
                    <a:lnTo>
                      <a:pt x="6382" y="429"/>
                    </a:lnTo>
                    <a:lnTo>
                      <a:pt x="6384" y="418"/>
                    </a:lnTo>
                    <a:lnTo>
                      <a:pt x="6387" y="407"/>
                    </a:lnTo>
                    <a:lnTo>
                      <a:pt x="6390" y="397"/>
                    </a:lnTo>
                    <a:lnTo>
                      <a:pt x="6395" y="389"/>
                    </a:lnTo>
                    <a:lnTo>
                      <a:pt x="6399" y="379"/>
                    </a:lnTo>
                    <a:lnTo>
                      <a:pt x="6404" y="371"/>
                    </a:lnTo>
                    <a:lnTo>
                      <a:pt x="6410" y="363"/>
                    </a:lnTo>
                    <a:lnTo>
                      <a:pt x="6415" y="355"/>
                    </a:lnTo>
                    <a:lnTo>
                      <a:pt x="6422" y="348"/>
                    </a:lnTo>
                    <a:lnTo>
                      <a:pt x="6436" y="334"/>
                    </a:lnTo>
                    <a:lnTo>
                      <a:pt x="6452" y="323"/>
                    </a:lnTo>
                    <a:lnTo>
                      <a:pt x="6468" y="313"/>
                    </a:lnTo>
                    <a:lnTo>
                      <a:pt x="6487" y="304"/>
                    </a:lnTo>
                    <a:lnTo>
                      <a:pt x="6506" y="297"/>
                    </a:lnTo>
                    <a:lnTo>
                      <a:pt x="6526" y="291"/>
                    </a:lnTo>
                    <a:lnTo>
                      <a:pt x="6547" y="287"/>
                    </a:lnTo>
                    <a:lnTo>
                      <a:pt x="6568" y="283"/>
                    </a:lnTo>
                    <a:lnTo>
                      <a:pt x="6590" y="282"/>
                    </a:lnTo>
                    <a:lnTo>
                      <a:pt x="6612" y="281"/>
                    </a:lnTo>
                    <a:lnTo>
                      <a:pt x="6638" y="282"/>
                    </a:lnTo>
                    <a:lnTo>
                      <a:pt x="6663" y="284"/>
                    </a:lnTo>
                    <a:lnTo>
                      <a:pt x="6687" y="288"/>
                    </a:lnTo>
                    <a:lnTo>
                      <a:pt x="6707" y="293"/>
                    </a:lnTo>
                    <a:lnTo>
                      <a:pt x="6728" y="301"/>
                    </a:lnTo>
                    <a:lnTo>
                      <a:pt x="6745" y="309"/>
                    </a:lnTo>
                    <a:lnTo>
                      <a:pt x="6754" y="314"/>
                    </a:lnTo>
                    <a:lnTo>
                      <a:pt x="6761" y="319"/>
                    </a:lnTo>
                    <a:lnTo>
                      <a:pt x="6769" y="326"/>
                    </a:lnTo>
                    <a:lnTo>
                      <a:pt x="6775" y="331"/>
                    </a:lnTo>
                    <a:lnTo>
                      <a:pt x="6782" y="339"/>
                    </a:lnTo>
                    <a:lnTo>
                      <a:pt x="6788" y="345"/>
                    </a:lnTo>
                    <a:lnTo>
                      <a:pt x="6794" y="353"/>
                    </a:lnTo>
                    <a:lnTo>
                      <a:pt x="6799" y="360"/>
                    </a:lnTo>
                    <a:lnTo>
                      <a:pt x="6805" y="369"/>
                    </a:lnTo>
                    <a:lnTo>
                      <a:pt x="6809" y="378"/>
                    </a:lnTo>
                    <a:lnTo>
                      <a:pt x="6812" y="386"/>
                    </a:lnTo>
                    <a:lnTo>
                      <a:pt x="6817" y="396"/>
                    </a:lnTo>
                    <a:lnTo>
                      <a:pt x="6822" y="417"/>
                    </a:lnTo>
                    <a:lnTo>
                      <a:pt x="6826" y="440"/>
                    </a:lnTo>
                    <a:lnTo>
                      <a:pt x="6829" y="465"/>
                    </a:lnTo>
                    <a:lnTo>
                      <a:pt x="6830" y="491"/>
                    </a:lnTo>
                    <a:lnTo>
                      <a:pt x="6830" y="947"/>
                    </a:lnTo>
                    <a:lnTo>
                      <a:pt x="6740" y="947"/>
                    </a:lnTo>
                    <a:close/>
                    <a:moveTo>
                      <a:pt x="6160" y="947"/>
                    </a:moveTo>
                    <a:lnTo>
                      <a:pt x="6160" y="586"/>
                    </a:lnTo>
                    <a:lnTo>
                      <a:pt x="6160" y="556"/>
                    </a:lnTo>
                    <a:lnTo>
                      <a:pt x="6160" y="522"/>
                    </a:lnTo>
                    <a:lnTo>
                      <a:pt x="6159" y="505"/>
                    </a:lnTo>
                    <a:lnTo>
                      <a:pt x="6158" y="486"/>
                    </a:lnTo>
                    <a:lnTo>
                      <a:pt x="6156" y="469"/>
                    </a:lnTo>
                    <a:lnTo>
                      <a:pt x="6153" y="453"/>
                    </a:lnTo>
                    <a:lnTo>
                      <a:pt x="6147" y="436"/>
                    </a:lnTo>
                    <a:lnTo>
                      <a:pt x="6142" y="422"/>
                    </a:lnTo>
                    <a:lnTo>
                      <a:pt x="6137" y="415"/>
                    </a:lnTo>
                    <a:lnTo>
                      <a:pt x="6134" y="408"/>
                    </a:lnTo>
                    <a:lnTo>
                      <a:pt x="6129" y="403"/>
                    </a:lnTo>
                    <a:lnTo>
                      <a:pt x="6124" y="397"/>
                    </a:lnTo>
                    <a:lnTo>
                      <a:pt x="6119" y="392"/>
                    </a:lnTo>
                    <a:lnTo>
                      <a:pt x="6113" y="388"/>
                    </a:lnTo>
                    <a:lnTo>
                      <a:pt x="6106" y="383"/>
                    </a:lnTo>
                    <a:lnTo>
                      <a:pt x="6099" y="380"/>
                    </a:lnTo>
                    <a:lnTo>
                      <a:pt x="6091" y="378"/>
                    </a:lnTo>
                    <a:lnTo>
                      <a:pt x="6083" y="376"/>
                    </a:lnTo>
                    <a:lnTo>
                      <a:pt x="6073" y="374"/>
                    </a:lnTo>
                    <a:lnTo>
                      <a:pt x="6065" y="374"/>
                    </a:lnTo>
                    <a:lnTo>
                      <a:pt x="6053" y="374"/>
                    </a:lnTo>
                    <a:lnTo>
                      <a:pt x="6043" y="377"/>
                    </a:lnTo>
                    <a:lnTo>
                      <a:pt x="6032" y="380"/>
                    </a:lnTo>
                    <a:lnTo>
                      <a:pt x="6022" y="383"/>
                    </a:lnTo>
                    <a:lnTo>
                      <a:pt x="6014" y="389"/>
                    </a:lnTo>
                    <a:lnTo>
                      <a:pt x="6005" y="395"/>
                    </a:lnTo>
                    <a:lnTo>
                      <a:pt x="5996" y="402"/>
                    </a:lnTo>
                    <a:lnTo>
                      <a:pt x="5988" y="409"/>
                    </a:lnTo>
                    <a:lnTo>
                      <a:pt x="5980" y="418"/>
                    </a:lnTo>
                    <a:lnTo>
                      <a:pt x="5974" y="427"/>
                    </a:lnTo>
                    <a:lnTo>
                      <a:pt x="5966" y="436"/>
                    </a:lnTo>
                    <a:lnTo>
                      <a:pt x="5960" y="447"/>
                    </a:lnTo>
                    <a:lnTo>
                      <a:pt x="5949" y="469"/>
                    </a:lnTo>
                    <a:lnTo>
                      <a:pt x="5938" y="493"/>
                    </a:lnTo>
                    <a:lnTo>
                      <a:pt x="5929" y="518"/>
                    </a:lnTo>
                    <a:lnTo>
                      <a:pt x="5922" y="543"/>
                    </a:lnTo>
                    <a:lnTo>
                      <a:pt x="5915" y="569"/>
                    </a:lnTo>
                    <a:lnTo>
                      <a:pt x="5911" y="594"/>
                    </a:lnTo>
                    <a:lnTo>
                      <a:pt x="5906" y="618"/>
                    </a:lnTo>
                    <a:lnTo>
                      <a:pt x="5904" y="640"/>
                    </a:lnTo>
                    <a:lnTo>
                      <a:pt x="5902" y="661"/>
                    </a:lnTo>
                    <a:lnTo>
                      <a:pt x="5902" y="680"/>
                    </a:lnTo>
                    <a:lnTo>
                      <a:pt x="5902" y="947"/>
                    </a:lnTo>
                    <a:lnTo>
                      <a:pt x="5809" y="947"/>
                    </a:lnTo>
                    <a:lnTo>
                      <a:pt x="5809" y="586"/>
                    </a:lnTo>
                    <a:lnTo>
                      <a:pt x="5809" y="556"/>
                    </a:lnTo>
                    <a:lnTo>
                      <a:pt x="5809" y="522"/>
                    </a:lnTo>
                    <a:lnTo>
                      <a:pt x="5808" y="505"/>
                    </a:lnTo>
                    <a:lnTo>
                      <a:pt x="5807" y="486"/>
                    </a:lnTo>
                    <a:lnTo>
                      <a:pt x="5804" y="469"/>
                    </a:lnTo>
                    <a:lnTo>
                      <a:pt x="5801" y="453"/>
                    </a:lnTo>
                    <a:lnTo>
                      <a:pt x="5797" y="436"/>
                    </a:lnTo>
                    <a:lnTo>
                      <a:pt x="5790" y="422"/>
                    </a:lnTo>
                    <a:lnTo>
                      <a:pt x="5787" y="415"/>
                    </a:lnTo>
                    <a:lnTo>
                      <a:pt x="5783" y="408"/>
                    </a:lnTo>
                    <a:lnTo>
                      <a:pt x="5778" y="403"/>
                    </a:lnTo>
                    <a:lnTo>
                      <a:pt x="5773" y="397"/>
                    </a:lnTo>
                    <a:lnTo>
                      <a:pt x="5767" y="392"/>
                    </a:lnTo>
                    <a:lnTo>
                      <a:pt x="5762" y="388"/>
                    </a:lnTo>
                    <a:lnTo>
                      <a:pt x="5756" y="383"/>
                    </a:lnTo>
                    <a:lnTo>
                      <a:pt x="5748" y="380"/>
                    </a:lnTo>
                    <a:lnTo>
                      <a:pt x="5740" y="378"/>
                    </a:lnTo>
                    <a:lnTo>
                      <a:pt x="5732" y="376"/>
                    </a:lnTo>
                    <a:lnTo>
                      <a:pt x="5723" y="374"/>
                    </a:lnTo>
                    <a:lnTo>
                      <a:pt x="5713" y="374"/>
                    </a:lnTo>
                    <a:lnTo>
                      <a:pt x="5702" y="374"/>
                    </a:lnTo>
                    <a:lnTo>
                      <a:pt x="5691" y="377"/>
                    </a:lnTo>
                    <a:lnTo>
                      <a:pt x="5682" y="380"/>
                    </a:lnTo>
                    <a:lnTo>
                      <a:pt x="5672" y="383"/>
                    </a:lnTo>
                    <a:lnTo>
                      <a:pt x="5663" y="389"/>
                    </a:lnTo>
                    <a:lnTo>
                      <a:pt x="5654" y="395"/>
                    </a:lnTo>
                    <a:lnTo>
                      <a:pt x="5646" y="402"/>
                    </a:lnTo>
                    <a:lnTo>
                      <a:pt x="5637" y="409"/>
                    </a:lnTo>
                    <a:lnTo>
                      <a:pt x="5630" y="418"/>
                    </a:lnTo>
                    <a:lnTo>
                      <a:pt x="5623" y="427"/>
                    </a:lnTo>
                    <a:lnTo>
                      <a:pt x="5616" y="436"/>
                    </a:lnTo>
                    <a:lnTo>
                      <a:pt x="5609" y="447"/>
                    </a:lnTo>
                    <a:lnTo>
                      <a:pt x="5597" y="469"/>
                    </a:lnTo>
                    <a:lnTo>
                      <a:pt x="5587" y="493"/>
                    </a:lnTo>
                    <a:lnTo>
                      <a:pt x="5579" y="518"/>
                    </a:lnTo>
                    <a:lnTo>
                      <a:pt x="5571" y="543"/>
                    </a:lnTo>
                    <a:lnTo>
                      <a:pt x="5565" y="569"/>
                    </a:lnTo>
                    <a:lnTo>
                      <a:pt x="5559" y="594"/>
                    </a:lnTo>
                    <a:lnTo>
                      <a:pt x="5555" y="618"/>
                    </a:lnTo>
                    <a:lnTo>
                      <a:pt x="5553" y="640"/>
                    </a:lnTo>
                    <a:lnTo>
                      <a:pt x="5552" y="661"/>
                    </a:lnTo>
                    <a:lnTo>
                      <a:pt x="5550" y="680"/>
                    </a:lnTo>
                    <a:lnTo>
                      <a:pt x="5550" y="947"/>
                    </a:lnTo>
                    <a:lnTo>
                      <a:pt x="5457" y="947"/>
                    </a:lnTo>
                    <a:lnTo>
                      <a:pt x="5457" y="296"/>
                    </a:lnTo>
                    <a:lnTo>
                      <a:pt x="5550" y="296"/>
                    </a:lnTo>
                    <a:lnTo>
                      <a:pt x="5550" y="447"/>
                    </a:lnTo>
                    <a:lnTo>
                      <a:pt x="5554" y="447"/>
                    </a:lnTo>
                    <a:lnTo>
                      <a:pt x="5558" y="430"/>
                    </a:lnTo>
                    <a:lnTo>
                      <a:pt x="5565" y="412"/>
                    </a:lnTo>
                    <a:lnTo>
                      <a:pt x="5571" y="397"/>
                    </a:lnTo>
                    <a:lnTo>
                      <a:pt x="5578" y="382"/>
                    </a:lnTo>
                    <a:lnTo>
                      <a:pt x="5585" y="367"/>
                    </a:lnTo>
                    <a:lnTo>
                      <a:pt x="5594" y="354"/>
                    </a:lnTo>
                    <a:lnTo>
                      <a:pt x="5604" y="341"/>
                    </a:lnTo>
                    <a:lnTo>
                      <a:pt x="5614" y="329"/>
                    </a:lnTo>
                    <a:lnTo>
                      <a:pt x="5625" y="318"/>
                    </a:lnTo>
                    <a:lnTo>
                      <a:pt x="5637" y="309"/>
                    </a:lnTo>
                    <a:lnTo>
                      <a:pt x="5651" y="301"/>
                    </a:lnTo>
                    <a:lnTo>
                      <a:pt x="5665" y="294"/>
                    </a:lnTo>
                    <a:lnTo>
                      <a:pt x="5681" y="289"/>
                    </a:lnTo>
                    <a:lnTo>
                      <a:pt x="5698" y="284"/>
                    </a:lnTo>
                    <a:lnTo>
                      <a:pt x="5715" y="282"/>
                    </a:lnTo>
                    <a:lnTo>
                      <a:pt x="5735" y="281"/>
                    </a:lnTo>
                    <a:lnTo>
                      <a:pt x="5752" y="282"/>
                    </a:lnTo>
                    <a:lnTo>
                      <a:pt x="5770" y="283"/>
                    </a:lnTo>
                    <a:lnTo>
                      <a:pt x="5786" y="287"/>
                    </a:lnTo>
                    <a:lnTo>
                      <a:pt x="5801" y="291"/>
                    </a:lnTo>
                    <a:lnTo>
                      <a:pt x="5814" y="296"/>
                    </a:lnTo>
                    <a:lnTo>
                      <a:pt x="5828" y="303"/>
                    </a:lnTo>
                    <a:lnTo>
                      <a:pt x="5840" y="310"/>
                    </a:lnTo>
                    <a:lnTo>
                      <a:pt x="5851" y="319"/>
                    </a:lnTo>
                    <a:lnTo>
                      <a:pt x="5861" y="329"/>
                    </a:lnTo>
                    <a:lnTo>
                      <a:pt x="5869" y="341"/>
                    </a:lnTo>
                    <a:lnTo>
                      <a:pt x="5877" y="353"/>
                    </a:lnTo>
                    <a:lnTo>
                      <a:pt x="5885" y="366"/>
                    </a:lnTo>
                    <a:lnTo>
                      <a:pt x="5890" y="381"/>
                    </a:lnTo>
                    <a:lnTo>
                      <a:pt x="5894" y="396"/>
                    </a:lnTo>
                    <a:lnTo>
                      <a:pt x="5898" y="412"/>
                    </a:lnTo>
                    <a:lnTo>
                      <a:pt x="5899" y="430"/>
                    </a:lnTo>
                    <a:lnTo>
                      <a:pt x="5902" y="430"/>
                    </a:lnTo>
                    <a:lnTo>
                      <a:pt x="5907" y="415"/>
                    </a:lnTo>
                    <a:lnTo>
                      <a:pt x="5914" y="399"/>
                    </a:lnTo>
                    <a:lnTo>
                      <a:pt x="5922" y="385"/>
                    </a:lnTo>
                    <a:lnTo>
                      <a:pt x="5929" y="372"/>
                    </a:lnTo>
                    <a:lnTo>
                      <a:pt x="5938" y="359"/>
                    </a:lnTo>
                    <a:lnTo>
                      <a:pt x="5948" y="346"/>
                    </a:lnTo>
                    <a:lnTo>
                      <a:pt x="5958" y="335"/>
                    </a:lnTo>
                    <a:lnTo>
                      <a:pt x="5970" y="325"/>
                    </a:lnTo>
                    <a:lnTo>
                      <a:pt x="5982" y="315"/>
                    </a:lnTo>
                    <a:lnTo>
                      <a:pt x="5995" y="306"/>
                    </a:lnTo>
                    <a:lnTo>
                      <a:pt x="6008" y="298"/>
                    </a:lnTo>
                    <a:lnTo>
                      <a:pt x="6022" y="293"/>
                    </a:lnTo>
                    <a:lnTo>
                      <a:pt x="6038" y="288"/>
                    </a:lnTo>
                    <a:lnTo>
                      <a:pt x="6053" y="284"/>
                    </a:lnTo>
                    <a:lnTo>
                      <a:pt x="6069" y="282"/>
                    </a:lnTo>
                    <a:lnTo>
                      <a:pt x="6086" y="281"/>
                    </a:lnTo>
                    <a:lnTo>
                      <a:pt x="6097" y="281"/>
                    </a:lnTo>
                    <a:lnTo>
                      <a:pt x="6107" y="282"/>
                    </a:lnTo>
                    <a:lnTo>
                      <a:pt x="6117" y="283"/>
                    </a:lnTo>
                    <a:lnTo>
                      <a:pt x="6127" y="285"/>
                    </a:lnTo>
                    <a:lnTo>
                      <a:pt x="6135" y="288"/>
                    </a:lnTo>
                    <a:lnTo>
                      <a:pt x="6144" y="291"/>
                    </a:lnTo>
                    <a:lnTo>
                      <a:pt x="6153" y="294"/>
                    </a:lnTo>
                    <a:lnTo>
                      <a:pt x="6160" y="298"/>
                    </a:lnTo>
                    <a:lnTo>
                      <a:pt x="6175" y="307"/>
                    </a:lnTo>
                    <a:lnTo>
                      <a:pt x="6190" y="318"/>
                    </a:lnTo>
                    <a:lnTo>
                      <a:pt x="6201" y="330"/>
                    </a:lnTo>
                    <a:lnTo>
                      <a:pt x="6212" y="343"/>
                    </a:lnTo>
                    <a:lnTo>
                      <a:pt x="6222" y="358"/>
                    </a:lnTo>
                    <a:lnTo>
                      <a:pt x="6231" y="373"/>
                    </a:lnTo>
                    <a:lnTo>
                      <a:pt x="6237" y="391"/>
                    </a:lnTo>
                    <a:lnTo>
                      <a:pt x="6243" y="408"/>
                    </a:lnTo>
                    <a:lnTo>
                      <a:pt x="6247" y="426"/>
                    </a:lnTo>
                    <a:lnTo>
                      <a:pt x="6250" y="444"/>
                    </a:lnTo>
                    <a:lnTo>
                      <a:pt x="6252" y="464"/>
                    </a:lnTo>
                    <a:lnTo>
                      <a:pt x="6252" y="482"/>
                    </a:lnTo>
                    <a:lnTo>
                      <a:pt x="6252" y="947"/>
                    </a:lnTo>
                    <a:lnTo>
                      <a:pt x="6160" y="947"/>
                    </a:lnTo>
                    <a:close/>
                    <a:moveTo>
                      <a:pt x="5158" y="677"/>
                    </a:moveTo>
                    <a:lnTo>
                      <a:pt x="5158" y="947"/>
                    </a:lnTo>
                    <a:lnTo>
                      <a:pt x="5065" y="947"/>
                    </a:lnTo>
                    <a:lnTo>
                      <a:pt x="5065" y="296"/>
                    </a:lnTo>
                    <a:lnTo>
                      <a:pt x="5158" y="296"/>
                    </a:lnTo>
                    <a:lnTo>
                      <a:pt x="5158" y="422"/>
                    </a:lnTo>
                    <a:lnTo>
                      <a:pt x="5161" y="422"/>
                    </a:lnTo>
                    <a:lnTo>
                      <a:pt x="5168" y="405"/>
                    </a:lnTo>
                    <a:lnTo>
                      <a:pt x="5178" y="389"/>
                    </a:lnTo>
                    <a:lnTo>
                      <a:pt x="5187" y="374"/>
                    </a:lnTo>
                    <a:lnTo>
                      <a:pt x="5198" y="360"/>
                    </a:lnTo>
                    <a:lnTo>
                      <a:pt x="5209" y="347"/>
                    </a:lnTo>
                    <a:lnTo>
                      <a:pt x="5221" y="336"/>
                    </a:lnTo>
                    <a:lnTo>
                      <a:pt x="5233" y="326"/>
                    </a:lnTo>
                    <a:lnTo>
                      <a:pt x="5246" y="316"/>
                    </a:lnTo>
                    <a:lnTo>
                      <a:pt x="5260" y="308"/>
                    </a:lnTo>
                    <a:lnTo>
                      <a:pt x="5275" y="301"/>
                    </a:lnTo>
                    <a:lnTo>
                      <a:pt x="5290" y="295"/>
                    </a:lnTo>
                    <a:lnTo>
                      <a:pt x="5306" y="290"/>
                    </a:lnTo>
                    <a:lnTo>
                      <a:pt x="5323" y="287"/>
                    </a:lnTo>
                    <a:lnTo>
                      <a:pt x="5341" y="283"/>
                    </a:lnTo>
                    <a:lnTo>
                      <a:pt x="5359" y="282"/>
                    </a:lnTo>
                    <a:lnTo>
                      <a:pt x="5378" y="281"/>
                    </a:lnTo>
                    <a:lnTo>
                      <a:pt x="5378" y="381"/>
                    </a:lnTo>
                    <a:lnTo>
                      <a:pt x="5363" y="382"/>
                    </a:lnTo>
                    <a:lnTo>
                      <a:pt x="5348" y="383"/>
                    </a:lnTo>
                    <a:lnTo>
                      <a:pt x="5333" y="385"/>
                    </a:lnTo>
                    <a:lnTo>
                      <a:pt x="5320" y="389"/>
                    </a:lnTo>
                    <a:lnTo>
                      <a:pt x="5307" y="392"/>
                    </a:lnTo>
                    <a:lnTo>
                      <a:pt x="5295" y="396"/>
                    </a:lnTo>
                    <a:lnTo>
                      <a:pt x="5284" y="402"/>
                    </a:lnTo>
                    <a:lnTo>
                      <a:pt x="5273" y="407"/>
                    </a:lnTo>
                    <a:lnTo>
                      <a:pt x="5263" y="415"/>
                    </a:lnTo>
                    <a:lnTo>
                      <a:pt x="5253" y="421"/>
                    </a:lnTo>
                    <a:lnTo>
                      <a:pt x="5243" y="429"/>
                    </a:lnTo>
                    <a:lnTo>
                      <a:pt x="5235" y="437"/>
                    </a:lnTo>
                    <a:lnTo>
                      <a:pt x="5226" y="446"/>
                    </a:lnTo>
                    <a:lnTo>
                      <a:pt x="5218" y="456"/>
                    </a:lnTo>
                    <a:lnTo>
                      <a:pt x="5212" y="466"/>
                    </a:lnTo>
                    <a:lnTo>
                      <a:pt x="5205" y="477"/>
                    </a:lnTo>
                    <a:lnTo>
                      <a:pt x="5199" y="487"/>
                    </a:lnTo>
                    <a:lnTo>
                      <a:pt x="5193" y="498"/>
                    </a:lnTo>
                    <a:lnTo>
                      <a:pt x="5188" y="510"/>
                    </a:lnTo>
                    <a:lnTo>
                      <a:pt x="5184" y="521"/>
                    </a:lnTo>
                    <a:lnTo>
                      <a:pt x="5175" y="546"/>
                    </a:lnTo>
                    <a:lnTo>
                      <a:pt x="5168" y="571"/>
                    </a:lnTo>
                    <a:lnTo>
                      <a:pt x="5164" y="598"/>
                    </a:lnTo>
                    <a:lnTo>
                      <a:pt x="5161" y="624"/>
                    </a:lnTo>
                    <a:lnTo>
                      <a:pt x="5159" y="651"/>
                    </a:lnTo>
                    <a:lnTo>
                      <a:pt x="5158" y="677"/>
                    </a:lnTo>
                    <a:close/>
                    <a:moveTo>
                      <a:pt x="4683" y="359"/>
                    </a:moveTo>
                    <a:lnTo>
                      <a:pt x="4672" y="359"/>
                    </a:lnTo>
                    <a:lnTo>
                      <a:pt x="4660" y="361"/>
                    </a:lnTo>
                    <a:lnTo>
                      <a:pt x="4649" y="364"/>
                    </a:lnTo>
                    <a:lnTo>
                      <a:pt x="4638" y="367"/>
                    </a:lnTo>
                    <a:lnTo>
                      <a:pt x="4628" y="370"/>
                    </a:lnTo>
                    <a:lnTo>
                      <a:pt x="4619" y="374"/>
                    </a:lnTo>
                    <a:lnTo>
                      <a:pt x="4610" y="380"/>
                    </a:lnTo>
                    <a:lnTo>
                      <a:pt x="4602" y="385"/>
                    </a:lnTo>
                    <a:lnTo>
                      <a:pt x="4594" y="392"/>
                    </a:lnTo>
                    <a:lnTo>
                      <a:pt x="4587" y="399"/>
                    </a:lnTo>
                    <a:lnTo>
                      <a:pt x="4580" y="407"/>
                    </a:lnTo>
                    <a:lnTo>
                      <a:pt x="4574" y="415"/>
                    </a:lnTo>
                    <a:lnTo>
                      <a:pt x="4568" y="423"/>
                    </a:lnTo>
                    <a:lnTo>
                      <a:pt x="4563" y="432"/>
                    </a:lnTo>
                    <a:lnTo>
                      <a:pt x="4559" y="442"/>
                    </a:lnTo>
                    <a:lnTo>
                      <a:pt x="4554" y="452"/>
                    </a:lnTo>
                    <a:lnTo>
                      <a:pt x="4546" y="472"/>
                    </a:lnTo>
                    <a:lnTo>
                      <a:pt x="4540" y="493"/>
                    </a:lnTo>
                    <a:lnTo>
                      <a:pt x="4535" y="515"/>
                    </a:lnTo>
                    <a:lnTo>
                      <a:pt x="4532" y="537"/>
                    </a:lnTo>
                    <a:lnTo>
                      <a:pt x="4528" y="559"/>
                    </a:lnTo>
                    <a:lnTo>
                      <a:pt x="4526" y="581"/>
                    </a:lnTo>
                    <a:lnTo>
                      <a:pt x="4525" y="601"/>
                    </a:lnTo>
                    <a:lnTo>
                      <a:pt x="4525" y="622"/>
                    </a:lnTo>
                    <a:lnTo>
                      <a:pt x="4525" y="642"/>
                    </a:lnTo>
                    <a:lnTo>
                      <a:pt x="4526" y="663"/>
                    </a:lnTo>
                    <a:lnTo>
                      <a:pt x="4528" y="685"/>
                    </a:lnTo>
                    <a:lnTo>
                      <a:pt x="4532" y="707"/>
                    </a:lnTo>
                    <a:lnTo>
                      <a:pt x="4535" y="728"/>
                    </a:lnTo>
                    <a:lnTo>
                      <a:pt x="4540" y="750"/>
                    </a:lnTo>
                    <a:lnTo>
                      <a:pt x="4546" y="772"/>
                    </a:lnTo>
                    <a:lnTo>
                      <a:pt x="4554" y="793"/>
                    </a:lnTo>
                    <a:lnTo>
                      <a:pt x="4559" y="802"/>
                    </a:lnTo>
                    <a:lnTo>
                      <a:pt x="4563" y="811"/>
                    </a:lnTo>
                    <a:lnTo>
                      <a:pt x="4568" y="820"/>
                    </a:lnTo>
                    <a:lnTo>
                      <a:pt x="4574" y="828"/>
                    </a:lnTo>
                    <a:lnTo>
                      <a:pt x="4580" y="837"/>
                    </a:lnTo>
                    <a:lnTo>
                      <a:pt x="4587" y="845"/>
                    </a:lnTo>
                    <a:lnTo>
                      <a:pt x="4594" y="851"/>
                    </a:lnTo>
                    <a:lnTo>
                      <a:pt x="4602" y="858"/>
                    </a:lnTo>
                    <a:lnTo>
                      <a:pt x="4610" y="864"/>
                    </a:lnTo>
                    <a:lnTo>
                      <a:pt x="4619" y="869"/>
                    </a:lnTo>
                    <a:lnTo>
                      <a:pt x="4628" y="874"/>
                    </a:lnTo>
                    <a:lnTo>
                      <a:pt x="4638" y="877"/>
                    </a:lnTo>
                    <a:lnTo>
                      <a:pt x="4649" y="880"/>
                    </a:lnTo>
                    <a:lnTo>
                      <a:pt x="4660" y="883"/>
                    </a:lnTo>
                    <a:lnTo>
                      <a:pt x="4672" y="884"/>
                    </a:lnTo>
                    <a:lnTo>
                      <a:pt x="4683" y="885"/>
                    </a:lnTo>
                    <a:lnTo>
                      <a:pt x="4696" y="884"/>
                    </a:lnTo>
                    <a:lnTo>
                      <a:pt x="4708" y="883"/>
                    </a:lnTo>
                    <a:lnTo>
                      <a:pt x="4719" y="880"/>
                    </a:lnTo>
                    <a:lnTo>
                      <a:pt x="4730" y="877"/>
                    </a:lnTo>
                    <a:lnTo>
                      <a:pt x="4740" y="874"/>
                    </a:lnTo>
                    <a:lnTo>
                      <a:pt x="4750" y="870"/>
                    </a:lnTo>
                    <a:lnTo>
                      <a:pt x="4758" y="864"/>
                    </a:lnTo>
                    <a:lnTo>
                      <a:pt x="4767" y="858"/>
                    </a:lnTo>
                    <a:lnTo>
                      <a:pt x="4775" y="852"/>
                    </a:lnTo>
                    <a:lnTo>
                      <a:pt x="4782" y="845"/>
                    </a:lnTo>
                    <a:lnTo>
                      <a:pt x="4789" y="837"/>
                    </a:lnTo>
                    <a:lnTo>
                      <a:pt x="4795" y="829"/>
                    </a:lnTo>
                    <a:lnTo>
                      <a:pt x="4801" y="821"/>
                    </a:lnTo>
                    <a:lnTo>
                      <a:pt x="4806" y="812"/>
                    </a:lnTo>
                    <a:lnTo>
                      <a:pt x="4812" y="802"/>
                    </a:lnTo>
                    <a:lnTo>
                      <a:pt x="4816" y="793"/>
                    </a:lnTo>
                    <a:lnTo>
                      <a:pt x="4823" y="772"/>
                    </a:lnTo>
                    <a:lnTo>
                      <a:pt x="4830" y="751"/>
                    </a:lnTo>
                    <a:lnTo>
                      <a:pt x="4835" y="730"/>
                    </a:lnTo>
                    <a:lnTo>
                      <a:pt x="4839" y="707"/>
                    </a:lnTo>
                    <a:lnTo>
                      <a:pt x="4842" y="685"/>
                    </a:lnTo>
                    <a:lnTo>
                      <a:pt x="4844" y="663"/>
                    </a:lnTo>
                    <a:lnTo>
                      <a:pt x="4845" y="642"/>
                    </a:lnTo>
                    <a:lnTo>
                      <a:pt x="4845" y="622"/>
                    </a:lnTo>
                    <a:lnTo>
                      <a:pt x="4845" y="601"/>
                    </a:lnTo>
                    <a:lnTo>
                      <a:pt x="4844" y="581"/>
                    </a:lnTo>
                    <a:lnTo>
                      <a:pt x="4842" y="558"/>
                    </a:lnTo>
                    <a:lnTo>
                      <a:pt x="4839" y="536"/>
                    </a:lnTo>
                    <a:lnTo>
                      <a:pt x="4835" y="515"/>
                    </a:lnTo>
                    <a:lnTo>
                      <a:pt x="4830" y="493"/>
                    </a:lnTo>
                    <a:lnTo>
                      <a:pt x="4823" y="471"/>
                    </a:lnTo>
                    <a:lnTo>
                      <a:pt x="4815" y="452"/>
                    </a:lnTo>
                    <a:lnTo>
                      <a:pt x="4810" y="442"/>
                    </a:lnTo>
                    <a:lnTo>
                      <a:pt x="4805" y="432"/>
                    </a:lnTo>
                    <a:lnTo>
                      <a:pt x="4800" y="423"/>
                    </a:lnTo>
                    <a:lnTo>
                      <a:pt x="4794" y="415"/>
                    </a:lnTo>
                    <a:lnTo>
                      <a:pt x="4788" y="407"/>
                    </a:lnTo>
                    <a:lnTo>
                      <a:pt x="4781" y="399"/>
                    </a:lnTo>
                    <a:lnTo>
                      <a:pt x="4774" y="392"/>
                    </a:lnTo>
                    <a:lnTo>
                      <a:pt x="4766" y="385"/>
                    </a:lnTo>
                    <a:lnTo>
                      <a:pt x="4757" y="380"/>
                    </a:lnTo>
                    <a:lnTo>
                      <a:pt x="4749" y="374"/>
                    </a:lnTo>
                    <a:lnTo>
                      <a:pt x="4740" y="370"/>
                    </a:lnTo>
                    <a:lnTo>
                      <a:pt x="4729" y="366"/>
                    </a:lnTo>
                    <a:lnTo>
                      <a:pt x="4719" y="364"/>
                    </a:lnTo>
                    <a:lnTo>
                      <a:pt x="4707" y="361"/>
                    </a:lnTo>
                    <a:lnTo>
                      <a:pt x="4696" y="359"/>
                    </a:lnTo>
                    <a:lnTo>
                      <a:pt x="4683" y="359"/>
                    </a:lnTo>
                    <a:close/>
                    <a:moveTo>
                      <a:pt x="4683" y="962"/>
                    </a:moveTo>
                    <a:lnTo>
                      <a:pt x="4665" y="962"/>
                    </a:lnTo>
                    <a:lnTo>
                      <a:pt x="4648" y="961"/>
                    </a:lnTo>
                    <a:lnTo>
                      <a:pt x="4630" y="958"/>
                    </a:lnTo>
                    <a:lnTo>
                      <a:pt x="4615" y="955"/>
                    </a:lnTo>
                    <a:lnTo>
                      <a:pt x="4599" y="951"/>
                    </a:lnTo>
                    <a:lnTo>
                      <a:pt x="4585" y="946"/>
                    </a:lnTo>
                    <a:lnTo>
                      <a:pt x="4571" y="940"/>
                    </a:lnTo>
                    <a:lnTo>
                      <a:pt x="4558" y="934"/>
                    </a:lnTo>
                    <a:lnTo>
                      <a:pt x="4545" y="927"/>
                    </a:lnTo>
                    <a:lnTo>
                      <a:pt x="4534" y="918"/>
                    </a:lnTo>
                    <a:lnTo>
                      <a:pt x="4522" y="910"/>
                    </a:lnTo>
                    <a:lnTo>
                      <a:pt x="4512" y="901"/>
                    </a:lnTo>
                    <a:lnTo>
                      <a:pt x="4502" y="891"/>
                    </a:lnTo>
                    <a:lnTo>
                      <a:pt x="4493" y="880"/>
                    </a:lnTo>
                    <a:lnTo>
                      <a:pt x="4484" y="870"/>
                    </a:lnTo>
                    <a:lnTo>
                      <a:pt x="4476" y="859"/>
                    </a:lnTo>
                    <a:lnTo>
                      <a:pt x="4469" y="847"/>
                    </a:lnTo>
                    <a:lnTo>
                      <a:pt x="4462" y="834"/>
                    </a:lnTo>
                    <a:lnTo>
                      <a:pt x="4456" y="821"/>
                    </a:lnTo>
                    <a:lnTo>
                      <a:pt x="4449" y="808"/>
                    </a:lnTo>
                    <a:lnTo>
                      <a:pt x="4445" y="794"/>
                    </a:lnTo>
                    <a:lnTo>
                      <a:pt x="4439" y="779"/>
                    </a:lnTo>
                    <a:lnTo>
                      <a:pt x="4435" y="764"/>
                    </a:lnTo>
                    <a:lnTo>
                      <a:pt x="4432" y="750"/>
                    </a:lnTo>
                    <a:lnTo>
                      <a:pt x="4426" y="720"/>
                    </a:lnTo>
                    <a:lnTo>
                      <a:pt x="4422" y="688"/>
                    </a:lnTo>
                    <a:lnTo>
                      <a:pt x="4420" y="656"/>
                    </a:lnTo>
                    <a:lnTo>
                      <a:pt x="4419" y="623"/>
                    </a:lnTo>
                    <a:lnTo>
                      <a:pt x="4420" y="591"/>
                    </a:lnTo>
                    <a:lnTo>
                      <a:pt x="4422" y="558"/>
                    </a:lnTo>
                    <a:lnTo>
                      <a:pt x="4426" y="526"/>
                    </a:lnTo>
                    <a:lnTo>
                      <a:pt x="4432" y="496"/>
                    </a:lnTo>
                    <a:lnTo>
                      <a:pt x="4435" y="481"/>
                    </a:lnTo>
                    <a:lnTo>
                      <a:pt x="4439" y="467"/>
                    </a:lnTo>
                    <a:lnTo>
                      <a:pt x="4445" y="452"/>
                    </a:lnTo>
                    <a:lnTo>
                      <a:pt x="4449" y="439"/>
                    </a:lnTo>
                    <a:lnTo>
                      <a:pt x="4456" y="424"/>
                    </a:lnTo>
                    <a:lnTo>
                      <a:pt x="4462" y="411"/>
                    </a:lnTo>
                    <a:lnTo>
                      <a:pt x="4469" y="398"/>
                    </a:lnTo>
                    <a:lnTo>
                      <a:pt x="4476" y="386"/>
                    </a:lnTo>
                    <a:lnTo>
                      <a:pt x="4484" y="374"/>
                    </a:lnTo>
                    <a:lnTo>
                      <a:pt x="4493" y="364"/>
                    </a:lnTo>
                    <a:lnTo>
                      <a:pt x="4502" y="353"/>
                    </a:lnTo>
                    <a:lnTo>
                      <a:pt x="4512" y="343"/>
                    </a:lnTo>
                    <a:lnTo>
                      <a:pt x="4522" y="334"/>
                    </a:lnTo>
                    <a:lnTo>
                      <a:pt x="4534" y="326"/>
                    </a:lnTo>
                    <a:lnTo>
                      <a:pt x="4545" y="317"/>
                    </a:lnTo>
                    <a:lnTo>
                      <a:pt x="4558" y="310"/>
                    </a:lnTo>
                    <a:lnTo>
                      <a:pt x="4571" y="304"/>
                    </a:lnTo>
                    <a:lnTo>
                      <a:pt x="4585" y="297"/>
                    </a:lnTo>
                    <a:lnTo>
                      <a:pt x="4599" y="293"/>
                    </a:lnTo>
                    <a:lnTo>
                      <a:pt x="4615" y="289"/>
                    </a:lnTo>
                    <a:lnTo>
                      <a:pt x="4630" y="285"/>
                    </a:lnTo>
                    <a:lnTo>
                      <a:pt x="4648" y="283"/>
                    </a:lnTo>
                    <a:lnTo>
                      <a:pt x="4665" y="282"/>
                    </a:lnTo>
                    <a:lnTo>
                      <a:pt x="4683" y="281"/>
                    </a:lnTo>
                    <a:lnTo>
                      <a:pt x="4702" y="282"/>
                    </a:lnTo>
                    <a:lnTo>
                      <a:pt x="4720" y="283"/>
                    </a:lnTo>
                    <a:lnTo>
                      <a:pt x="4737" y="285"/>
                    </a:lnTo>
                    <a:lnTo>
                      <a:pt x="4753" y="289"/>
                    </a:lnTo>
                    <a:lnTo>
                      <a:pt x="4769" y="293"/>
                    </a:lnTo>
                    <a:lnTo>
                      <a:pt x="4783" y="297"/>
                    </a:lnTo>
                    <a:lnTo>
                      <a:pt x="4797" y="304"/>
                    </a:lnTo>
                    <a:lnTo>
                      <a:pt x="4810" y="309"/>
                    </a:lnTo>
                    <a:lnTo>
                      <a:pt x="4823" y="317"/>
                    </a:lnTo>
                    <a:lnTo>
                      <a:pt x="4835" y="325"/>
                    </a:lnTo>
                    <a:lnTo>
                      <a:pt x="4846" y="333"/>
                    </a:lnTo>
                    <a:lnTo>
                      <a:pt x="4857" y="343"/>
                    </a:lnTo>
                    <a:lnTo>
                      <a:pt x="4867" y="353"/>
                    </a:lnTo>
                    <a:lnTo>
                      <a:pt x="4877" y="364"/>
                    </a:lnTo>
                    <a:lnTo>
                      <a:pt x="4885" y="374"/>
                    </a:lnTo>
                    <a:lnTo>
                      <a:pt x="4894" y="386"/>
                    </a:lnTo>
                    <a:lnTo>
                      <a:pt x="4902" y="398"/>
                    </a:lnTo>
                    <a:lnTo>
                      <a:pt x="4908" y="410"/>
                    </a:lnTo>
                    <a:lnTo>
                      <a:pt x="4915" y="424"/>
                    </a:lnTo>
                    <a:lnTo>
                      <a:pt x="4920" y="437"/>
                    </a:lnTo>
                    <a:lnTo>
                      <a:pt x="4925" y="452"/>
                    </a:lnTo>
                    <a:lnTo>
                      <a:pt x="4930" y="466"/>
                    </a:lnTo>
                    <a:lnTo>
                      <a:pt x="4934" y="481"/>
                    </a:lnTo>
                    <a:lnTo>
                      <a:pt x="4938" y="495"/>
                    </a:lnTo>
                    <a:lnTo>
                      <a:pt x="4944" y="526"/>
                    </a:lnTo>
                    <a:lnTo>
                      <a:pt x="4948" y="558"/>
                    </a:lnTo>
                    <a:lnTo>
                      <a:pt x="4950" y="591"/>
                    </a:lnTo>
                    <a:lnTo>
                      <a:pt x="4951" y="623"/>
                    </a:lnTo>
                    <a:lnTo>
                      <a:pt x="4950" y="656"/>
                    </a:lnTo>
                    <a:lnTo>
                      <a:pt x="4948" y="688"/>
                    </a:lnTo>
                    <a:lnTo>
                      <a:pt x="4944" y="720"/>
                    </a:lnTo>
                    <a:lnTo>
                      <a:pt x="4938" y="750"/>
                    </a:lnTo>
                    <a:lnTo>
                      <a:pt x="4934" y="765"/>
                    </a:lnTo>
                    <a:lnTo>
                      <a:pt x="4930" y="779"/>
                    </a:lnTo>
                    <a:lnTo>
                      <a:pt x="4925" y="794"/>
                    </a:lnTo>
                    <a:lnTo>
                      <a:pt x="4920" y="808"/>
                    </a:lnTo>
                    <a:lnTo>
                      <a:pt x="4915" y="822"/>
                    </a:lnTo>
                    <a:lnTo>
                      <a:pt x="4908" y="834"/>
                    </a:lnTo>
                    <a:lnTo>
                      <a:pt x="4902" y="847"/>
                    </a:lnTo>
                    <a:lnTo>
                      <a:pt x="4894" y="859"/>
                    </a:lnTo>
                    <a:lnTo>
                      <a:pt x="4885" y="871"/>
                    </a:lnTo>
                    <a:lnTo>
                      <a:pt x="4877" y="882"/>
                    </a:lnTo>
                    <a:lnTo>
                      <a:pt x="4867" y="891"/>
                    </a:lnTo>
                    <a:lnTo>
                      <a:pt x="4857" y="901"/>
                    </a:lnTo>
                    <a:lnTo>
                      <a:pt x="4846" y="911"/>
                    </a:lnTo>
                    <a:lnTo>
                      <a:pt x="4835" y="920"/>
                    </a:lnTo>
                    <a:lnTo>
                      <a:pt x="4823" y="927"/>
                    </a:lnTo>
                    <a:lnTo>
                      <a:pt x="4810" y="934"/>
                    </a:lnTo>
                    <a:lnTo>
                      <a:pt x="4797" y="940"/>
                    </a:lnTo>
                    <a:lnTo>
                      <a:pt x="4783" y="946"/>
                    </a:lnTo>
                    <a:lnTo>
                      <a:pt x="4769" y="951"/>
                    </a:lnTo>
                    <a:lnTo>
                      <a:pt x="4753" y="955"/>
                    </a:lnTo>
                    <a:lnTo>
                      <a:pt x="4737" y="958"/>
                    </a:lnTo>
                    <a:lnTo>
                      <a:pt x="4720" y="961"/>
                    </a:lnTo>
                    <a:lnTo>
                      <a:pt x="4702" y="962"/>
                    </a:lnTo>
                    <a:lnTo>
                      <a:pt x="4683" y="962"/>
                    </a:lnTo>
                    <a:close/>
                    <a:moveTo>
                      <a:pt x="4340" y="77"/>
                    </a:moveTo>
                    <a:lnTo>
                      <a:pt x="4325" y="78"/>
                    </a:lnTo>
                    <a:lnTo>
                      <a:pt x="4313" y="79"/>
                    </a:lnTo>
                    <a:lnTo>
                      <a:pt x="4302" y="80"/>
                    </a:lnTo>
                    <a:lnTo>
                      <a:pt x="4291" y="82"/>
                    </a:lnTo>
                    <a:lnTo>
                      <a:pt x="4281" y="85"/>
                    </a:lnTo>
                    <a:lnTo>
                      <a:pt x="4272" y="88"/>
                    </a:lnTo>
                    <a:lnTo>
                      <a:pt x="4264" y="92"/>
                    </a:lnTo>
                    <a:lnTo>
                      <a:pt x="4256" y="95"/>
                    </a:lnTo>
                    <a:lnTo>
                      <a:pt x="4248" y="101"/>
                    </a:lnTo>
                    <a:lnTo>
                      <a:pt x="4242" y="105"/>
                    </a:lnTo>
                    <a:lnTo>
                      <a:pt x="4236" y="112"/>
                    </a:lnTo>
                    <a:lnTo>
                      <a:pt x="4231" y="117"/>
                    </a:lnTo>
                    <a:lnTo>
                      <a:pt x="4227" y="124"/>
                    </a:lnTo>
                    <a:lnTo>
                      <a:pt x="4222" y="130"/>
                    </a:lnTo>
                    <a:lnTo>
                      <a:pt x="4219" y="138"/>
                    </a:lnTo>
                    <a:lnTo>
                      <a:pt x="4216" y="145"/>
                    </a:lnTo>
                    <a:lnTo>
                      <a:pt x="4210" y="161"/>
                    </a:lnTo>
                    <a:lnTo>
                      <a:pt x="4207" y="178"/>
                    </a:lnTo>
                    <a:lnTo>
                      <a:pt x="4205" y="196"/>
                    </a:lnTo>
                    <a:lnTo>
                      <a:pt x="4203" y="215"/>
                    </a:lnTo>
                    <a:lnTo>
                      <a:pt x="4203" y="255"/>
                    </a:lnTo>
                    <a:lnTo>
                      <a:pt x="4203" y="296"/>
                    </a:lnTo>
                    <a:lnTo>
                      <a:pt x="4389" y="296"/>
                    </a:lnTo>
                    <a:lnTo>
                      <a:pt x="4389" y="374"/>
                    </a:lnTo>
                    <a:lnTo>
                      <a:pt x="4203" y="374"/>
                    </a:lnTo>
                    <a:lnTo>
                      <a:pt x="4203" y="947"/>
                    </a:lnTo>
                    <a:lnTo>
                      <a:pt x="4109" y="947"/>
                    </a:lnTo>
                    <a:lnTo>
                      <a:pt x="4109" y="374"/>
                    </a:lnTo>
                    <a:lnTo>
                      <a:pt x="4001" y="374"/>
                    </a:lnTo>
                    <a:lnTo>
                      <a:pt x="4001" y="296"/>
                    </a:lnTo>
                    <a:lnTo>
                      <a:pt x="4109" y="296"/>
                    </a:lnTo>
                    <a:lnTo>
                      <a:pt x="4109" y="206"/>
                    </a:lnTo>
                    <a:lnTo>
                      <a:pt x="4111" y="181"/>
                    </a:lnTo>
                    <a:lnTo>
                      <a:pt x="4114" y="158"/>
                    </a:lnTo>
                    <a:lnTo>
                      <a:pt x="4118" y="137"/>
                    </a:lnTo>
                    <a:lnTo>
                      <a:pt x="4124" y="117"/>
                    </a:lnTo>
                    <a:lnTo>
                      <a:pt x="4128" y="107"/>
                    </a:lnTo>
                    <a:lnTo>
                      <a:pt x="4132" y="99"/>
                    </a:lnTo>
                    <a:lnTo>
                      <a:pt x="4137" y="90"/>
                    </a:lnTo>
                    <a:lnTo>
                      <a:pt x="4142" y="81"/>
                    </a:lnTo>
                    <a:lnTo>
                      <a:pt x="4147" y="74"/>
                    </a:lnTo>
                    <a:lnTo>
                      <a:pt x="4153" y="66"/>
                    </a:lnTo>
                    <a:lnTo>
                      <a:pt x="4159" y="59"/>
                    </a:lnTo>
                    <a:lnTo>
                      <a:pt x="4166" y="52"/>
                    </a:lnTo>
                    <a:lnTo>
                      <a:pt x="4172" y="45"/>
                    </a:lnTo>
                    <a:lnTo>
                      <a:pt x="4180" y="40"/>
                    </a:lnTo>
                    <a:lnTo>
                      <a:pt x="4188" y="35"/>
                    </a:lnTo>
                    <a:lnTo>
                      <a:pt x="4196" y="29"/>
                    </a:lnTo>
                    <a:lnTo>
                      <a:pt x="4214" y="21"/>
                    </a:lnTo>
                    <a:lnTo>
                      <a:pt x="4232" y="13"/>
                    </a:lnTo>
                    <a:lnTo>
                      <a:pt x="4253" y="7"/>
                    </a:lnTo>
                    <a:lnTo>
                      <a:pt x="4275" y="3"/>
                    </a:lnTo>
                    <a:lnTo>
                      <a:pt x="4298" y="1"/>
                    </a:lnTo>
                    <a:lnTo>
                      <a:pt x="4323" y="0"/>
                    </a:lnTo>
                    <a:lnTo>
                      <a:pt x="4350" y="1"/>
                    </a:lnTo>
                    <a:lnTo>
                      <a:pt x="4379" y="3"/>
                    </a:lnTo>
                    <a:lnTo>
                      <a:pt x="4406" y="6"/>
                    </a:lnTo>
                    <a:lnTo>
                      <a:pt x="4434" y="12"/>
                    </a:lnTo>
                    <a:lnTo>
                      <a:pt x="4434" y="95"/>
                    </a:lnTo>
                    <a:lnTo>
                      <a:pt x="4410" y="88"/>
                    </a:lnTo>
                    <a:lnTo>
                      <a:pt x="4387" y="82"/>
                    </a:lnTo>
                    <a:lnTo>
                      <a:pt x="4375" y="80"/>
                    </a:lnTo>
                    <a:lnTo>
                      <a:pt x="4363" y="79"/>
                    </a:lnTo>
                    <a:lnTo>
                      <a:pt x="4351" y="78"/>
                    </a:lnTo>
                    <a:lnTo>
                      <a:pt x="4340" y="77"/>
                    </a:lnTo>
                    <a:close/>
                    <a:moveTo>
                      <a:pt x="3709" y="677"/>
                    </a:moveTo>
                    <a:lnTo>
                      <a:pt x="3709" y="947"/>
                    </a:lnTo>
                    <a:lnTo>
                      <a:pt x="3617" y="947"/>
                    </a:lnTo>
                    <a:lnTo>
                      <a:pt x="3617" y="296"/>
                    </a:lnTo>
                    <a:lnTo>
                      <a:pt x="3709" y="296"/>
                    </a:lnTo>
                    <a:lnTo>
                      <a:pt x="3709" y="422"/>
                    </a:lnTo>
                    <a:lnTo>
                      <a:pt x="3712" y="422"/>
                    </a:lnTo>
                    <a:lnTo>
                      <a:pt x="3720" y="405"/>
                    </a:lnTo>
                    <a:lnTo>
                      <a:pt x="3729" y="389"/>
                    </a:lnTo>
                    <a:lnTo>
                      <a:pt x="3738" y="374"/>
                    </a:lnTo>
                    <a:lnTo>
                      <a:pt x="3748" y="360"/>
                    </a:lnTo>
                    <a:lnTo>
                      <a:pt x="3760" y="347"/>
                    </a:lnTo>
                    <a:lnTo>
                      <a:pt x="3771" y="336"/>
                    </a:lnTo>
                    <a:lnTo>
                      <a:pt x="3784" y="326"/>
                    </a:lnTo>
                    <a:lnTo>
                      <a:pt x="3797" y="316"/>
                    </a:lnTo>
                    <a:lnTo>
                      <a:pt x="3811" y="308"/>
                    </a:lnTo>
                    <a:lnTo>
                      <a:pt x="3825" y="301"/>
                    </a:lnTo>
                    <a:lnTo>
                      <a:pt x="3841" y="295"/>
                    </a:lnTo>
                    <a:lnTo>
                      <a:pt x="3858" y="290"/>
                    </a:lnTo>
                    <a:lnTo>
                      <a:pt x="3874" y="287"/>
                    </a:lnTo>
                    <a:lnTo>
                      <a:pt x="3891" y="283"/>
                    </a:lnTo>
                    <a:lnTo>
                      <a:pt x="3910" y="282"/>
                    </a:lnTo>
                    <a:lnTo>
                      <a:pt x="3929" y="281"/>
                    </a:lnTo>
                    <a:lnTo>
                      <a:pt x="3929" y="381"/>
                    </a:lnTo>
                    <a:lnTo>
                      <a:pt x="3914" y="382"/>
                    </a:lnTo>
                    <a:lnTo>
                      <a:pt x="3899" y="383"/>
                    </a:lnTo>
                    <a:lnTo>
                      <a:pt x="3885" y="385"/>
                    </a:lnTo>
                    <a:lnTo>
                      <a:pt x="3872" y="389"/>
                    </a:lnTo>
                    <a:lnTo>
                      <a:pt x="3859" y="392"/>
                    </a:lnTo>
                    <a:lnTo>
                      <a:pt x="3847" y="396"/>
                    </a:lnTo>
                    <a:lnTo>
                      <a:pt x="3835" y="402"/>
                    </a:lnTo>
                    <a:lnTo>
                      <a:pt x="3824" y="407"/>
                    </a:lnTo>
                    <a:lnTo>
                      <a:pt x="3813" y="415"/>
                    </a:lnTo>
                    <a:lnTo>
                      <a:pt x="3803" y="421"/>
                    </a:lnTo>
                    <a:lnTo>
                      <a:pt x="3795" y="429"/>
                    </a:lnTo>
                    <a:lnTo>
                      <a:pt x="3786" y="437"/>
                    </a:lnTo>
                    <a:lnTo>
                      <a:pt x="3777" y="446"/>
                    </a:lnTo>
                    <a:lnTo>
                      <a:pt x="3770" y="456"/>
                    </a:lnTo>
                    <a:lnTo>
                      <a:pt x="3763" y="466"/>
                    </a:lnTo>
                    <a:lnTo>
                      <a:pt x="3757" y="477"/>
                    </a:lnTo>
                    <a:lnTo>
                      <a:pt x="3750" y="487"/>
                    </a:lnTo>
                    <a:lnTo>
                      <a:pt x="3745" y="498"/>
                    </a:lnTo>
                    <a:lnTo>
                      <a:pt x="3739" y="510"/>
                    </a:lnTo>
                    <a:lnTo>
                      <a:pt x="3735" y="521"/>
                    </a:lnTo>
                    <a:lnTo>
                      <a:pt x="3726" y="546"/>
                    </a:lnTo>
                    <a:lnTo>
                      <a:pt x="3720" y="571"/>
                    </a:lnTo>
                    <a:lnTo>
                      <a:pt x="3716" y="598"/>
                    </a:lnTo>
                    <a:lnTo>
                      <a:pt x="3712" y="624"/>
                    </a:lnTo>
                    <a:lnTo>
                      <a:pt x="3710" y="651"/>
                    </a:lnTo>
                    <a:lnTo>
                      <a:pt x="3709" y="677"/>
                    </a:lnTo>
                    <a:close/>
                    <a:moveTo>
                      <a:pt x="3274" y="359"/>
                    </a:moveTo>
                    <a:lnTo>
                      <a:pt x="3260" y="360"/>
                    </a:lnTo>
                    <a:lnTo>
                      <a:pt x="3246" y="361"/>
                    </a:lnTo>
                    <a:lnTo>
                      <a:pt x="3234" y="365"/>
                    </a:lnTo>
                    <a:lnTo>
                      <a:pt x="3222" y="369"/>
                    </a:lnTo>
                    <a:lnTo>
                      <a:pt x="3211" y="373"/>
                    </a:lnTo>
                    <a:lnTo>
                      <a:pt x="3200" y="380"/>
                    </a:lnTo>
                    <a:lnTo>
                      <a:pt x="3190" y="386"/>
                    </a:lnTo>
                    <a:lnTo>
                      <a:pt x="3182" y="394"/>
                    </a:lnTo>
                    <a:lnTo>
                      <a:pt x="3173" y="403"/>
                    </a:lnTo>
                    <a:lnTo>
                      <a:pt x="3165" y="412"/>
                    </a:lnTo>
                    <a:lnTo>
                      <a:pt x="3159" y="422"/>
                    </a:lnTo>
                    <a:lnTo>
                      <a:pt x="3154" y="433"/>
                    </a:lnTo>
                    <a:lnTo>
                      <a:pt x="3148" y="445"/>
                    </a:lnTo>
                    <a:lnTo>
                      <a:pt x="3144" y="457"/>
                    </a:lnTo>
                    <a:lnTo>
                      <a:pt x="3139" y="469"/>
                    </a:lnTo>
                    <a:lnTo>
                      <a:pt x="3137" y="482"/>
                    </a:lnTo>
                    <a:lnTo>
                      <a:pt x="3398" y="482"/>
                    </a:lnTo>
                    <a:lnTo>
                      <a:pt x="3398" y="469"/>
                    </a:lnTo>
                    <a:lnTo>
                      <a:pt x="3396" y="457"/>
                    </a:lnTo>
                    <a:lnTo>
                      <a:pt x="3392" y="445"/>
                    </a:lnTo>
                    <a:lnTo>
                      <a:pt x="3389" y="433"/>
                    </a:lnTo>
                    <a:lnTo>
                      <a:pt x="3384" y="422"/>
                    </a:lnTo>
                    <a:lnTo>
                      <a:pt x="3377" y="412"/>
                    </a:lnTo>
                    <a:lnTo>
                      <a:pt x="3371" y="403"/>
                    </a:lnTo>
                    <a:lnTo>
                      <a:pt x="3362" y="394"/>
                    </a:lnTo>
                    <a:lnTo>
                      <a:pt x="3353" y="386"/>
                    </a:lnTo>
                    <a:lnTo>
                      <a:pt x="3345" y="380"/>
                    </a:lnTo>
                    <a:lnTo>
                      <a:pt x="3334" y="373"/>
                    </a:lnTo>
                    <a:lnTo>
                      <a:pt x="3323" y="369"/>
                    </a:lnTo>
                    <a:lnTo>
                      <a:pt x="3312" y="365"/>
                    </a:lnTo>
                    <a:lnTo>
                      <a:pt x="3299" y="361"/>
                    </a:lnTo>
                    <a:lnTo>
                      <a:pt x="3287" y="360"/>
                    </a:lnTo>
                    <a:lnTo>
                      <a:pt x="3274" y="359"/>
                    </a:lnTo>
                    <a:close/>
                    <a:moveTo>
                      <a:pt x="3130" y="560"/>
                    </a:moveTo>
                    <a:lnTo>
                      <a:pt x="3130" y="598"/>
                    </a:lnTo>
                    <a:lnTo>
                      <a:pt x="3131" y="625"/>
                    </a:lnTo>
                    <a:lnTo>
                      <a:pt x="3133" y="651"/>
                    </a:lnTo>
                    <a:lnTo>
                      <a:pt x="3137" y="677"/>
                    </a:lnTo>
                    <a:lnTo>
                      <a:pt x="3144" y="703"/>
                    </a:lnTo>
                    <a:lnTo>
                      <a:pt x="3151" y="727"/>
                    </a:lnTo>
                    <a:lnTo>
                      <a:pt x="3161" y="751"/>
                    </a:lnTo>
                    <a:lnTo>
                      <a:pt x="3167" y="763"/>
                    </a:lnTo>
                    <a:lnTo>
                      <a:pt x="3172" y="774"/>
                    </a:lnTo>
                    <a:lnTo>
                      <a:pt x="3178" y="785"/>
                    </a:lnTo>
                    <a:lnTo>
                      <a:pt x="3186" y="795"/>
                    </a:lnTo>
                    <a:lnTo>
                      <a:pt x="3193" y="804"/>
                    </a:lnTo>
                    <a:lnTo>
                      <a:pt x="3200" y="814"/>
                    </a:lnTo>
                    <a:lnTo>
                      <a:pt x="3209" y="823"/>
                    </a:lnTo>
                    <a:lnTo>
                      <a:pt x="3218" y="832"/>
                    </a:lnTo>
                    <a:lnTo>
                      <a:pt x="3227" y="839"/>
                    </a:lnTo>
                    <a:lnTo>
                      <a:pt x="3237" y="847"/>
                    </a:lnTo>
                    <a:lnTo>
                      <a:pt x="3247" y="853"/>
                    </a:lnTo>
                    <a:lnTo>
                      <a:pt x="3258" y="860"/>
                    </a:lnTo>
                    <a:lnTo>
                      <a:pt x="3269" y="865"/>
                    </a:lnTo>
                    <a:lnTo>
                      <a:pt x="3280" y="871"/>
                    </a:lnTo>
                    <a:lnTo>
                      <a:pt x="3292" y="874"/>
                    </a:lnTo>
                    <a:lnTo>
                      <a:pt x="3305" y="878"/>
                    </a:lnTo>
                    <a:lnTo>
                      <a:pt x="3318" y="880"/>
                    </a:lnTo>
                    <a:lnTo>
                      <a:pt x="3333" y="883"/>
                    </a:lnTo>
                    <a:lnTo>
                      <a:pt x="3347" y="884"/>
                    </a:lnTo>
                    <a:lnTo>
                      <a:pt x="3361" y="885"/>
                    </a:lnTo>
                    <a:lnTo>
                      <a:pt x="3378" y="884"/>
                    </a:lnTo>
                    <a:lnTo>
                      <a:pt x="3394" y="883"/>
                    </a:lnTo>
                    <a:lnTo>
                      <a:pt x="3410" y="882"/>
                    </a:lnTo>
                    <a:lnTo>
                      <a:pt x="3426" y="879"/>
                    </a:lnTo>
                    <a:lnTo>
                      <a:pt x="3457" y="874"/>
                    </a:lnTo>
                    <a:lnTo>
                      <a:pt x="3490" y="866"/>
                    </a:lnTo>
                    <a:lnTo>
                      <a:pt x="3490" y="943"/>
                    </a:lnTo>
                    <a:lnTo>
                      <a:pt x="3471" y="948"/>
                    </a:lnTo>
                    <a:lnTo>
                      <a:pt x="3453" y="952"/>
                    </a:lnTo>
                    <a:lnTo>
                      <a:pt x="3435" y="955"/>
                    </a:lnTo>
                    <a:lnTo>
                      <a:pt x="3416" y="959"/>
                    </a:lnTo>
                    <a:lnTo>
                      <a:pt x="3398" y="960"/>
                    </a:lnTo>
                    <a:lnTo>
                      <a:pt x="3378" y="962"/>
                    </a:lnTo>
                    <a:lnTo>
                      <a:pt x="3360" y="962"/>
                    </a:lnTo>
                    <a:lnTo>
                      <a:pt x="3340" y="962"/>
                    </a:lnTo>
                    <a:lnTo>
                      <a:pt x="3320" y="962"/>
                    </a:lnTo>
                    <a:lnTo>
                      <a:pt x="3300" y="961"/>
                    </a:lnTo>
                    <a:lnTo>
                      <a:pt x="3280" y="959"/>
                    </a:lnTo>
                    <a:lnTo>
                      <a:pt x="3262" y="955"/>
                    </a:lnTo>
                    <a:lnTo>
                      <a:pt x="3245" y="951"/>
                    </a:lnTo>
                    <a:lnTo>
                      <a:pt x="3227" y="947"/>
                    </a:lnTo>
                    <a:lnTo>
                      <a:pt x="3211" y="941"/>
                    </a:lnTo>
                    <a:lnTo>
                      <a:pt x="3196" y="935"/>
                    </a:lnTo>
                    <a:lnTo>
                      <a:pt x="3181" y="928"/>
                    </a:lnTo>
                    <a:lnTo>
                      <a:pt x="3167" y="921"/>
                    </a:lnTo>
                    <a:lnTo>
                      <a:pt x="3154" y="912"/>
                    </a:lnTo>
                    <a:lnTo>
                      <a:pt x="3142" y="903"/>
                    </a:lnTo>
                    <a:lnTo>
                      <a:pt x="3130" y="893"/>
                    </a:lnTo>
                    <a:lnTo>
                      <a:pt x="3118" y="883"/>
                    </a:lnTo>
                    <a:lnTo>
                      <a:pt x="3107" y="872"/>
                    </a:lnTo>
                    <a:lnTo>
                      <a:pt x="3097" y="860"/>
                    </a:lnTo>
                    <a:lnTo>
                      <a:pt x="3088" y="848"/>
                    </a:lnTo>
                    <a:lnTo>
                      <a:pt x="3080" y="835"/>
                    </a:lnTo>
                    <a:lnTo>
                      <a:pt x="3072" y="821"/>
                    </a:lnTo>
                    <a:lnTo>
                      <a:pt x="3065" y="807"/>
                    </a:lnTo>
                    <a:lnTo>
                      <a:pt x="3058" y="793"/>
                    </a:lnTo>
                    <a:lnTo>
                      <a:pt x="3052" y="777"/>
                    </a:lnTo>
                    <a:lnTo>
                      <a:pt x="3046" y="762"/>
                    </a:lnTo>
                    <a:lnTo>
                      <a:pt x="3042" y="746"/>
                    </a:lnTo>
                    <a:lnTo>
                      <a:pt x="3037" y="728"/>
                    </a:lnTo>
                    <a:lnTo>
                      <a:pt x="3033" y="711"/>
                    </a:lnTo>
                    <a:lnTo>
                      <a:pt x="3030" y="694"/>
                    </a:lnTo>
                    <a:lnTo>
                      <a:pt x="3028" y="676"/>
                    </a:lnTo>
                    <a:lnTo>
                      <a:pt x="3025" y="658"/>
                    </a:lnTo>
                    <a:lnTo>
                      <a:pt x="3024" y="638"/>
                    </a:lnTo>
                    <a:lnTo>
                      <a:pt x="3023" y="620"/>
                    </a:lnTo>
                    <a:lnTo>
                      <a:pt x="3023" y="600"/>
                    </a:lnTo>
                    <a:lnTo>
                      <a:pt x="3024" y="569"/>
                    </a:lnTo>
                    <a:lnTo>
                      <a:pt x="3027" y="537"/>
                    </a:lnTo>
                    <a:lnTo>
                      <a:pt x="3031" y="508"/>
                    </a:lnTo>
                    <a:lnTo>
                      <a:pt x="3036" y="479"/>
                    </a:lnTo>
                    <a:lnTo>
                      <a:pt x="3040" y="465"/>
                    </a:lnTo>
                    <a:lnTo>
                      <a:pt x="3044" y="450"/>
                    </a:lnTo>
                    <a:lnTo>
                      <a:pt x="3048" y="437"/>
                    </a:lnTo>
                    <a:lnTo>
                      <a:pt x="3054" y="424"/>
                    </a:lnTo>
                    <a:lnTo>
                      <a:pt x="3059" y="412"/>
                    </a:lnTo>
                    <a:lnTo>
                      <a:pt x="3065" y="399"/>
                    </a:lnTo>
                    <a:lnTo>
                      <a:pt x="3072" y="389"/>
                    </a:lnTo>
                    <a:lnTo>
                      <a:pt x="3079" y="377"/>
                    </a:lnTo>
                    <a:lnTo>
                      <a:pt x="3086" y="366"/>
                    </a:lnTo>
                    <a:lnTo>
                      <a:pt x="3095" y="356"/>
                    </a:lnTo>
                    <a:lnTo>
                      <a:pt x="3104" y="346"/>
                    </a:lnTo>
                    <a:lnTo>
                      <a:pt x="3113" y="338"/>
                    </a:lnTo>
                    <a:lnTo>
                      <a:pt x="3123" y="329"/>
                    </a:lnTo>
                    <a:lnTo>
                      <a:pt x="3134" y="321"/>
                    </a:lnTo>
                    <a:lnTo>
                      <a:pt x="3145" y="314"/>
                    </a:lnTo>
                    <a:lnTo>
                      <a:pt x="3157" y="307"/>
                    </a:lnTo>
                    <a:lnTo>
                      <a:pt x="3170" y="302"/>
                    </a:lnTo>
                    <a:lnTo>
                      <a:pt x="3183" y="296"/>
                    </a:lnTo>
                    <a:lnTo>
                      <a:pt x="3197" y="292"/>
                    </a:lnTo>
                    <a:lnTo>
                      <a:pt x="3212" y="288"/>
                    </a:lnTo>
                    <a:lnTo>
                      <a:pt x="3227" y="285"/>
                    </a:lnTo>
                    <a:lnTo>
                      <a:pt x="3244" y="283"/>
                    </a:lnTo>
                    <a:lnTo>
                      <a:pt x="3260" y="282"/>
                    </a:lnTo>
                    <a:lnTo>
                      <a:pt x="3277" y="281"/>
                    </a:lnTo>
                    <a:lnTo>
                      <a:pt x="3291" y="281"/>
                    </a:lnTo>
                    <a:lnTo>
                      <a:pt x="3305" y="282"/>
                    </a:lnTo>
                    <a:lnTo>
                      <a:pt x="3318" y="284"/>
                    </a:lnTo>
                    <a:lnTo>
                      <a:pt x="3330" y="285"/>
                    </a:lnTo>
                    <a:lnTo>
                      <a:pt x="3343" y="289"/>
                    </a:lnTo>
                    <a:lnTo>
                      <a:pt x="3355" y="292"/>
                    </a:lnTo>
                    <a:lnTo>
                      <a:pt x="3366" y="295"/>
                    </a:lnTo>
                    <a:lnTo>
                      <a:pt x="3377" y="300"/>
                    </a:lnTo>
                    <a:lnTo>
                      <a:pt x="3388" y="305"/>
                    </a:lnTo>
                    <a:lnTo>
                      <a:pt x="3398" y="309"/>
                    </a:lnTo>
                    <a:lnTo>
                      <a:pt x="3407" y="316"/>
                    </a:lnTo>
                    <a:lnTo>
                      <a:pt x="3416" y="321"/>
                    </a:lnTo>
                    <a:lnTo>
                      <a:pt x="3425" y="329"/>
                    </a:lnTo>
                    <a:lnTo>
                      <a:pt x="3432" y="335"/>
                    </a:lnTo>
                    <a:lnTo>
                      <a:pt x="3441" y="343"/>
                    </a:lnTo>
                    <a:lnTo>
                      <a:pt x="3448" y="352"/>
                    </a:lnTo>
                    <a:lnTo>
                      <a:pt x="3455" y="359"/>
                    </a:lnTo>
                    <a:lnTo>
                      <a:pt x="3462" y="368"/>
                    </a:lnTo>
                    <a:lnTo>
                      <a:pt x="3467" y="378"/>
                    </a:lnTo>
                    <a:lnTo>
                      <a:pt x="3473" y="388"/>
                    </a:lnTo>
                    <a:lnTo>
                      <a:pt x="3482" y="408"/>
                    </a:lnTo>
                    <a:lnTo>
                      <a:pt x="3490" y="430"/>
                    </a:lnTo>
                    <a:lnTo>
                      <a:pt x="3496" y="453"/>
                    </a:lnTo>
                    <a:lnTo>
                      <a:pt x="3501" y="477"/>
                    </a:lnTo>
                    <a:lnTo>
                      <a:pt x="3504" y="503"/>
                    </a:lnTo>
                    <a:lnTo>
                      <a:pt x="3504" y="529"/>
                    </a:lnTo>
                    <a:lnTo>
                      <a:pt x="3504" y="560"/>
                    </a:lnTo>
                    <a:lnTo>
                      <a:pt x="3130" y="560"/>
                    </a:lnTo>
                    <a:close/>
                    <a:moveTo>
                      <a:pt x="2706" y="359"/>
                    </a:moveTo>
                    <a:lnTo>
                      <a:pt x="2696" y="360"/>
                    </a:lnTo>
                    <a:lnTo>
                      <a:pt x="2686" y="361"/>
                    </a:lnTo>
                    <a:lnTo>
                      <a:pt x="2675" y="364"/>
                    </a:lnTo>
                    <a:lnTo>
                      <a:pt x="2666" y="367"/>
                    </a:lnTo>
                    <a:lnTo>
                      <a:pt x="2658" y="371"/>
                    </a:lnTo>
                    <a:lnTo>
                      <a:pt x="2649" y="376"/>
                    </a:lnTo>
                    <a:lnTo>
                      <a:pt x="2640" y="381"/>
                    </a:lnTo>
                    <a:lnTo>
                      <a:pt x="2633" y="388"/>
                    </a:lnTo>
                    <a:lnTo>
                      <a:pt x="2626" y="394"/>
                    </a:lnTo>
                    <a:lnTo>
                      <a:pt x="2619" y="402"/>
                    </a:lnTo>
                    <a:lnTo>
                      <a:pt x="2612" y="409"/>
                    </a:lnTo>
                    <a:lnTo>
                      <a:pt x="2607" y="418"/>
                    </a:lnTo>
                    <a:lnTo>
                      <a:pt x="2596" y="435"/>
                    </a:lnTo>
                    <a:lnTo>
                      <a:pt x="2586" y="455"/>
                    </a:lnTo>
                    <a:lnTo>
                      <a:pt x="2577" y="475"/>
                    </a:lnTo>
                    <a:lnTo>
                      <a:pt x="2571" y="497"/>
                    </a:lnTo>
                    <a:lnTo>
                      <a:pt x="2565" y="519"/>
                    </a:lnTo>
                    <a:lnTo>
                      <a:pt x="2561" y="541"/>
                    </a:lnTo>
                    <a:lnTo>
                      <a:pt x="2558" y="561"/>
                    </a:lnTo>
                    <a:lnTo>
                      <a:pt x="2556" y="582"/>
                    </a:lnTo>
                    <a:lnTo>
                      <a:pt x="2553" y="601"/>
                    </a:lnTo>
                    <a:lnTo>
                      <a:pt x="2553" y="619"/>
                    </a:lnTo>
                    <a:lnTo>
                      <a:pt x="2553" y="637"/>
                    </a:lnTo>
                    <a:lnTo>
                      <a:pt x="2555" y="657"/>
                    </a:lnTo>
                    <a:lnTo>
                      <a:pt x="2557" y="677"/>
                    </a:lnTo>
                    <a:lnTo>
                      <a:pt x="2560" y="699"/>
                    </a:lnTo>
                    <a:lnTo>
                      <a:pt x="2563" y="721"/>
                    </a:lnTo>
                    <a:lnTo>
                      <a:pt x="2569" y="744"/>
                    </a:lnTo>
                    <a:lnTo>
                      <a:pt x="2575" y="765"/>
                    </a:lnTo>
                    <a:lnTo>
                      <a:pt x="2583" y="786"/>
                    </a:lnTo>
                    <a:lnTo>
                      <a:pt x="2591" y="806"/>
                    </a:lnTo>
                    <a:lnTo>
                      <a:pt x="2602" y="825"/>
                    </a:lnTo>
                    <a:lnTo>
                      <a:pt x="2608" y="833"/>
                    </a:lnTo>
                    <a:lnTo>
                      <a:pt x="2614" y="841"/>
                    </a:lnTo>
                    <a:lnTo>
                      <a:pt x="2621" y="849"/>
                    </a:lnTo>
                    <a:lnTo>
                      <a:pt x="2628" y="855"/>
                    </a:lnTo>
                    <a:lnTo>
                      <a:pt x="2636" y="862"/>
                    </a:lnTo>
                    <a:lnTo>
                      <a:pt x="2645" y="867"/>
                    </a:lnTo>
                    <a:lnTo>
                      <a:pt x="2653" y="873"/>
                    </a:lnTo>
                    <a:lnTo>
                      <a:pt x="2662" y="877"/>
                    </a:lnTo>
                    <a:lnTo>
                      <a:pt x="2672" y="880"/>
                    </a:lnTo>
                    <a:lnTo>
                      <a:pt x="2682" y="883"/>
                    </a:lnTo>
                    <a:lnTo>
                      <a:pt x="2692" y="884"/>
                    </a:lnTo>
                    <a:lnTo>
                      <a:pt x="2704" y="885"/>
                    </a:lnTo>
                    <a:lnTo>
                      <a:pt x="2715" y="884"/>
                    </a:lnTo>
                    <a:lnTo>
                      <a:pt x="2726" y="883"/>
                    </a:lnTo>
                    <a:lnTo>
                      <a:pt x="2737" y="879"/>
                    </a:lnTo>
                    <a:lnTo>
                      <a:pt x="2747" y="876"/>
                    </a:lnTo>
                    <a:lnTo>
                      <a:pt x="2755" y="871"/>
                    </a:lnTo>
                    <a:lnTo>
                      <a:pt x="2764" y="865"/>
                    </a:lnTo>
                    <a:lnTo>
                      <a:pt x="2772" y="860"/>
                    </a:lnTo>
                    <a:lnTo>
                      <a:pt x="2779" y="852"/>
                    </a:lnTo>
                    <a:lnTo>
                      <a:pt x="2786" y="845"/>
                    </a:lnTo>
                    <a:lnTo>
                      <a:pt x="2792" y="836"/>
                    </a:lnTo>
                    <a:lnTo>
                      <a:pt x="2798" y="827"/>
                    </a:lnTo>
                    <a:lnTo>
                      <a:pt x="2803" y="817"/>
                    </a:lnTo>
                    <a:lnTo>
                      <a:pt x="2813" y="797"/>
                    </a:lnTo>
                    <a:lnTo>
                      <a:pt x="2820" y="775"/>
                    </a:lnTo>
                    <a:lnTo>
                      <a:pt x="2827" y="752"/>
                    </a:lnTo>
                    <a:lnTo>
                      <a:pt x="2831" y="728"/>
                    </a:lnTo>
                    <a:lnTo>
                      <a:pt x="2836" y="705"/>
                    </a:lnTo>
                    <a:lnTo>
                      <a:pt x="2838" y="682"/>
                    </a:lnTo>
                    <a:lnTo>
                      <a:pt x="2841" y="637"/>
                    </a:lnTo>
                    <a:lnTo>
                      <a:pt x="2842" y="598"/>
                    </a:lnTo>
                    <a:lnTo>
                      <a:pt x="2841" y="581"/>
                    </a:lnTo>
                    <a:lnTo>
                      <a:pt x="2841" y="562"/>
                    </a:lnTo>
                    <a:lnTo>
                      <a:pt x="2840" y="543"/>
                    </a:lnTo>
                    <a:lnTo>
                      <a:pt x="2838" y="523"/>
                    </a:lnTo>
                    <a:lnTo>
                      <a:pt x="2835" y="503"/>
                    </a:lnTo>
                    <a:lnTo>
                      <a:pt x="2830" y="483"/>
                    </a:lnTo>
                    <a:lnTo>
                      <a:pt x="2825" y="464"/>
                    </a:lnTo>
                    <a:lnTo>
                      <a:pt x="2818" y="445"/>
                    </a:lnTo>
                    <a:lnTo>
                      <a:pt x="2811" y="428"/>
                    </a:lnTo>
                    <a:lnTo>
                      <a:pt x="2802" y="411"/>
                    </a:lnTo>
                    <a:lnTo>
                      <a:pt x="2797" y="404"/>
                    </a:lnTo>
                    <a:lnTo>
                      <a:pt x="2790" y="396"/>
                    </a:lnTo>
                    <a:lnTo>
                      <a:pt x="2785" y="390"/>
                    </a:lnTo>
                    <a:lnTo>
                      <a:pt x="2778" y="384"/>
                    </a:lnTo>
                    <a:lnTo>
                      <a:pt x="2771" y="379"/>
                    </a:lnTo>
                    <a:lnTo>
                      <a:pt x="2763" y="373"/>
                    </a:lnTo>
                    <a:lnTo>
                      <a:pt x="2755" y="369"/>
                    </a:lnTo>
                    <a:lnTo>
                      <a:pt x="2747" y="366"/>
                    </a:lnTo>
                    <a:lnTo>
                      <a:pt x="2737" y="364"/>
                    </a:lnTo>
                    <a:lnTo>
                      <a:pt x="2727" y="361"/>
                    </a:lnTo>
                    <a:lnTo>
                      <a:pt x="2717" y="359"/>
                    </a:lnTo>
                    <a:lnTo>
                      <a:pt x="2706" y="359"/>
                    </a:lnTo>
                    <a:close/>
                    <a:moveTo>
                      <a:pt x="2727" y="962"/>
                    </a:moveTo>
                    <a:lnTo>
                      <a:pt x="2712" y="962"/>
                    </a:lnTo>
                    <a:lnTo>
                      <a:pt x="2697" y="961"/>
                    </a:lnTo>
                    <a:lnTo>
                      <a:pt x="2683" y="958"/>
                    </a:lnTo>
                    <a:lnTo>
                      <a:pt x="2669" y="954"/>
                    </a:lnTo>
                    <a:lnTo>
                      <a:pt x="2655" y="950"/>
                    </a:lnTo>
                    <a:lnTo>
                      <a:pt x="2642" y="945"/>
                    </a:lnTo>
                    <a:lnTo>
                      <a:pt x="2631" y="938"/>
                    </a:lnTo>
                    <a:lnTo>
                      <a:pt x="2620" y="931"/>
                    </a:lnTo>
                    <a:lnTo>
                      <a:pt x="2609" y="923"/>
                    </a:lnTo>
                    <a:lnTo>
                      <a:pt x="2599" y="914"/>
                    </a:lnTo>
                    <a:lnTo>
                      <a:pt x="2590" y="904"/>
                    </a:lnTo>
                    <a:lnTo>
                      <a:pt x="2582" y="893"/>
                    </a:lnTo>
                    <a:lnTo>
                      <a:pt x="2574" y="882"/>
                    </a:lnTo>
                    <a:lnTo>
                      <a:pt x="2568" y="869"/>
                    </a:lnTo>
                    <a:lnTo>
                      <a:pt x="2561" y="855"/>
                    </a:lnTo>
                    <a:lnTo>
                      <a:pt x="2556" y="840"/>
                    </a:lnTo>
                    <a:lnTo>
                      <a:pt x="2553" y="840"/>
                    </a:lnTo>
                    <a:lnTo>
                      <a:pt x="2553" y="1240"/>
                    </a:lnTo>
                    <a:lnTo>
                      <a:pt x="2460" y="1240"/>
                    </a:lnTo>
                    <a:lnTo>
                      <a:pt x="2460" y="296"/>
                    </a:lnTo>
                    <a:lnTo>
                      <a:pt x="2553" y="296"/>
                    </a:lnTo>
                    <a:lnTo>
                      <a:pt x="2553" y="407"/>
                    </a:lnTo>
                    <a:lnTo>
                      <a:pt x="2556" y="407"/>
                    </a:lnTo>
                    <a:lnTo>
                      <a:pt x="2561" y="393"/>
                    </a:lnTo>
                    <a:lnTo>
                      <a:pt x="2567" y="380"/>
                    </a:lnTo>
                    <a:lnTo>
                      <a:pt x="2573" y="368"/>
                    </a:lnTo>
                    <a:lnTo>
                      <a:pt x="2581" y="356"/>
                    </a:lnTo>
                    <a:lnTo>
                      <a:pt x="2589" y="345"/>
                    </a:lnTo>
                    <a:lnTo>
                      <a:pt x="2599" y="334"/>
                    </a:lnTo>
                    <a:lnTo>
                      <a:pt x="2609" y="325"/>
                    </a:lnTo>
                    <a:lnTo>
                      <a:pt x="2620" y="316"/>
                    </a:lnTo>
                    <a:lnTo>
                      <a:pt x="2632" y="308"/>
                    </a:lnTo>
                    <a:lnTo>
                      <a:pt x="2644" y="302"/>
                    </a:lnTo>
                    <a:lnTo>
                      <a:pt x="2657" y="295"/>
                    </a:lnTo>
                    <a:lnTo>
                      <a:pt x="2670" y="291"/>
                    </a:lnTo>
                    <a:lnTo>
                      <a:pt x="2683" y="287"/>
                    </a:lnTo>
                    <a:lnTo>
                      <a:pt x="2697" y="283"/>
                    </a:lnTo>
                    <a:lnTo>
                      <a:pt x="2711" y="282"/>
                    </a:lnTo>
                    <a:lnTo>
                      <a:pt x="2726" y="281"/>
                    </a:lnTo>
                    <a:lnTo>
                      <a:pt x="2742" y="282"/>
                    </a:lnTo>
                    <a:lnTo>
                      <a:pt x="2759" y="283"/>
                    </a:lnTo>
                    <a:lnTo>
                      <a:pt x="2775" y="285"/>
                    </a:lnTo>
                    <a:lnTo>
                      <a:pt x="2789" y="290"/>
                    </a:lnTo>
                    <a:lnTo>
                      <a:pt x="2803" y="294"/>
                    </a:lnTo>
                    <a:lnTo>
                      <a:pt x="2816" y="300"/>
                    </a:lnTo>
                    <a:lnTo>
                      <a:pt x="2828" y="305"/>
                    </a:lnTo>
                    <a:lnTo>
                      <a:pt x="2840" y="313"/>
                    </a:lnTo>
                    <a:lnTo>
                      <a:pt x="2850" y="320"/>
                    </a:lnTo>
                    <a:lnTo>
                      <a:pt x="2861" y="329"/>
                    </a:lnTo>
                    <a:lnTo>
                      <a:pt x="2869" y="338"/>
                    </a:lnTo>
                    <a:lnTo>
                      <a:pt x="2878" y="347"/>
                    </a:lnTo>
                    <a:lnTo>
                      <a:pt x="2887" y="357"/>
                    </a:lnTo>
                    <a:lnTo>
                      <a:pt x="2894" y="369"/>
                    </a:lnTo>
                    <a:lnTo>
                      <a:pt x="2901" y="380"/>
                    </a:lnTo>
                    <a:lnTo>
                      <a:pt x="2907" y="392"/>
                    </a:lnTo>
                    <a:lnTo>
                      <a:pt x="2913" y="404"/>
                    </a:lnTo>
                    <a:lnTo>
                      <a:pt x="2918" y="417"/>
                    </a:lnTo>
                    <a:lnTo>
                      <a:pt x="2924" y="430"/>
                    </a:lnTo>
                    <a:lnTo>
                      <a:pt x="2927" y="444"/>
                    </a:lnTo>
                    <a:lnTo>
                      <a:pt x="2934" y="471"/>
                    </a:lnTo>
                    <a:lnTo>
                      <a:pt x="2940" y="500"/>
                    </a:lnTo>
                    <a:lnTo>
                      <a:pt x="2944" y="529"/>
                    </a:lnTo>
                    <a:lnTo>
                      <a:pt x="2946" y="558"/>
                    </a:lnTo>
                    <a:lnTo>
                      <a:pt x="2947" y="587"/>
                    </a:lnTo>
                    <a:lnTo>
                      <a:pt x="2948" y="617"/>
                    </a:lnTo>
                    <a:lnTo>
                      <a:pt x="2947" y="644"/>
                    </a:lnTo>
                    <a:lnTo>
                      <a:pt x="2946" y="672"/>
                    </a:lnTo>
                    <a:lnTo>
                      <a:pt x="2943" y="700"/>
                    </a:lnTo>
                    <a:lnTo>
                      <a:pt x="2939" y="730"/>
                    </a:lnTo>
                    <a:lnTo>
                      <a:pt x="2933" y="759"/>
                    </a:lnTo>
                    <a:lnTo>
                      <a:pt x="2926" y="788"/>
                    </a:lnTo>
                    <a:lnTo>
                      <a:pt x="2920" y="801"/>
                    </a:lnTo>
                    <a:lnTo>
                      <a:pt x="2916" y="815"/>
                    </a:lnTo>
                    <a:lnTo>
                      <a:pt x="2910" y="829"/>
                    </a:lnTo>
                    <a:lnTo>
                      <a:pt x="2904" y="842"/>
                    </a:lnTo>
                    <a:lnTo>
                      <a:pt x="2897" y="854"/>
                    </a:lnTo>
                    <a:lnTo>
                      <a:pt x="2891" y="867"/>
                    </a:lnTo>
                    <a:lnTo>
                      <a:pt x="2883" y="878"/>
                    </a:lnTo>
                    <a:lnTo>
                      <a:pt x="2875" y="890"/>
                    </a:lnTo>
                    <a:lnTo>
                      <a:pt x="2866" y="900"/>
                    </a:lnTo>
                    <a:lnTo>
                      <a:pt x="2857" y="911"/>
                    </a:lnTo>
                    <a:lnTo>
                      <a:pt x="2848" y="920"/>
                    </a:lnTo>
                    <a:lnTo>
                      <a:pt x="2837" y="928"/>
                    </a:lnTo>
                    <a:lnTo>
                      <a:pt x="2825" y="936"/>
                    </a:lnTo>
                    <a:lnTo>
                      <a:pt x="2814" y="942"/>
                    </a:lnTo>
                    <a:lnTo>
                      <a:pt x="2801" y="948"/>
                    </a:lnTo>
                    <a:lnTo>
                      <a:pt x="2788" y="953"/>
                    </a:lnTo>
                    <a:lnTo>
                      <a:pt x="2774" y="958"/>
                    </a:lnTo>
                    <a:lnTo>
                      <a:pt x="2759" y="960"/>
                    </a:lnTo>
                    <a:lnTo>
                      <a:pt x="2743" y="962"/>
                    </a:lnTo>
                    <a:lnTo>
                      <a:pt x="2727" y="962"/>
                    </a:lnTo>
                    <a:close/>
                    <a:moveTo>
                      <a:pt x="1959" y="947"/>
                    </a:moveTo>
                    <a:lnTo>
                      <a:pt x="1959" y="586"/>
                    </a:lnTo>
                    <a:lnTo>
                      <a:pt x="1959" y="556"/>
                    </a:lnTo>
                    <a:lnTo>
                      <a:pt x="1959" y="522"/>
                    </a:lnTo>
                    <a:lnTo>
                      <a:pt x="1958" y="505"/>
                    </a:lnTo>
                    <a:lnTo>
                      <a:pt x="1957" y="486"/>
                    </a:lnTo>
                    <a:lnTo>
                      <a:pt x="1955" y="469"/>
                    </a:lnTo>
                    <a:lnTo>
                      <a:pt x="1950" y="453"/>
                    </a:lnTo>
                    <a:lnTo>
                      <a:pt x="1946" y="436"/>
                    </a:lnTo>
                    <a:lnTo>
                      <a:pt x="1940" y="422"/>
                    </a:lnTo>
                    <a:lnTo>
                      <a:pt x="1936" y="415"/>
                    </a:lnTo>
                    <a:lnTo>
                      <a:pt x="1933" y="408"/>
                    </a:lnTo>
                    <a:lnTo>
                      <a:pt x="1927" y="403"/>
                    </a:lnTo>
                    <a:lnTo>
                      <a:pt x="1923" y="397"/>
                    </a:lnTo>
                    <a:lnTo>
                      <a:pt x="1918" y="392"/>
                    </a:lnTo>
                    <a:lnTo>
                      <a:pt x="1911" y="388"/>
                    </a:lnTo>
                    <a:lnTo>
                      <a:pt x="1905" y="383"/>
                    </a:lnTo>
                    <a:lnTo>
                      <a:pt x="1898" y="380"/>
                    </a:lnTo>
                    <a:lnTo>
                      <a:pt x="1889" y="378"/>
                    </a:lnTo>
                    <a:lnTo>
                      <a:pt x="1882" y="376"/>
                    </a:lnTo>
                    <a:lnTo>
                      <a:pt x="1873" y="374"/>
                    </a:lnTo>
                    <a:lnTo>
                      <a:pt x="1863" y="374"/>
                    </a:lnTo>
                    <a:lnTo>
                      <a:pt x="1851" y="374"/>
                    </a:lnTo>
                    <a:lnTo>
                      <a:pt x="1840" y="377"/>
                    </a:lnTo>
                    <a:lnTo>
                      <a:pt x="1829" y="379"/>
                    </a:lnTo>
                    <a:lnTo>
                      <a:pt x="1818" y="383"/>
                    </a:lnTo>
                    <a:lnTo>
                      <a:pt x="1808" y="388"/>
                    </a:lnTo>
                    <a:lnTo>
                      <a:pt x="1797" y="394"/>
                    </a:lnTo>
                    <a:lnTo>
                      <a:pt x="1789" y="401"/>
                    </a:lnTo>
                    <a:lnTo>
                      <a:pt x="1780" y="407"/>
                    </a:lnTo>
                    <a:lnTo>
                      <a:pt x="1771" y="416"/>
                    </a:lnTo>
                    <a:lnTo>
                      <a:pt x="1762" y="424"/>
                    </a:lnTo>
                    <a:lnTo>
                      <a:pt x="1755" y="434"/>
                    </a:lnTo>
                    <a:lnTo>
                      <a:pt x="1747" y="444"/>
                    </a:lnTo>
                    <a:lnTo>
                      <a:pt x="1741" y="454"/>
                    </a:lnTo>
                    <a:lnTo>
                      <a:pt x="1734" y="466"/>
                    </a:lnTo>
                    <a:lnTo>
                      <a:pt x="1728" y="477"/>
                    </a:lnTo>
                    <a:lnTo>
                      <a:pt x="1722" y="488"/>
                    </a:lnTo>
                    <a:lnTo>
                      <a:pt x="1711" y="512"/>
                    </a:lnTo>
                    <a:lnTo>
                      <a:pt x="1703" y="537"/>
                    </a:lnTo>
                    <a:lnTo>
                      <a:pt x="1695" y="563"/>
                    </a:lnTo>
                    <a:lnTo>
                      <a:pt x="1689" y="588"/>
                    </a:lnTo>
                    <a:lnTo>
                      <a:pt x="1684" y="613"/>
                    </a:lnTo>
                    <a:lnTo>
                      <a:pt x="1681" y="636"/>
                    </a:lnTo>
                    <a:lnTo>
                      <a:pt x="1679" y="659"/>
                    </a:lnTo>
                    <a:lnTo>
                      <a:pt x="1679" y="680"/>
                    </a:lnTo>
                    <a:lnTo>
                      <a:pt x="1679" y="947"/>
                    </a:lnTo>
                    <a:lnTo>
                      <a:pt x="1586" y="947"/>
                    </a:lnTo>
                    <a:lnTo>
                      <a:pt x="1586" y="4"/>
                    </a:lnTo>
                    <a:lnTo>
                      <a:pt x="1679" y="4"/>
                    </a:lnTo>
                    <a:lnTo>
                      <a:pt x="1679" y="447"/>
                    </a:lnTo>
                    <a:lnTo>
                      <a:pt x="1681" y="447"/>
                    </a:lnTo>
                    <a:lnTo>
                      <a:pt x="1688" y="429"/>
                    </a:lnTo>
                    <a:lnTo>
                      <a:pt x="1695" y="411"/>
                    </a:lnTo>
                    <a:lnTo>
                      <a:pt x="1703" y="394"/>
                    </a:lnTo>
                    <a:lnTo>
                      <a:pt x="1710" y="379"/>
                    </a:lnTo>
                    <a:lnTo>
                      <a:pt x="1720" y="364"/>
                    </a:lnTo>
                    <a:lnTo>
                      <a:pt x="1730" y="351"/>
                    </a:lnTo>
                    <a:lnTo>
                      <a:pt x="1741" y="338"/>
                    </a:lnTo>
                    <a:lnTo>
                      <a:pt x="1753" y="327"/>
                    </a:lnTo>
                    <a:lnTo>
                      <a:pt x="1766" y="316"/>
                    </a:lnTo>
                    <a:lnTo>
                      <a:pt x="1779" y="307"/>
                    </a:lnTo>
                    <a:lnTo>
                      <a:pt x="1794" y="300"/>
                    </a:lnTo>
                    <a:lnTo>
                      <a:pt x="1810" y="293"/>
                    </a:lnTo>
                    <a:lnTo>
                      <a:pt x="1827" y="288"/>
                    </a:lnTo>
                    <a:lnTo>
                      <a:pt x="1845" y="284"/>
                    </a:lnTo>
                    <a:lnTo>
                      <a:pt x="1864" y="282"/>
                    </a:lnTo>
                    <a:lnTo>
                      <a:pt x="1885" y="281"/>
                    </a:lnTo>
                    <a:lnTo>
                      <a:pt x="1896" y="281"/>
                    </a:lnTo>
                    <a:lnTo>
                      <a:pt x="1906" y="282"/>
                    </a:lnTo>
                    <a:lnTo>
                      <a:pt x="1915" y="283"/>
                    </a:lnTo>
                    <a:lnTo>
                      <a:pt x="1925" y="285"/>
                    </a:lnTo>
                    <a:lnTo>
                      <a:pt x="1934" y="288"/>
                    </a:lnTo>
                    <a:lnTo>
                      <a:pt x="1943" y="291"/>
                    </a:lnTo>
                    <a:lnTo>
                      <a:pt x="1951" y="294"/>
                    </a:lnTo>
                    <a:lnTo>
                      <a:pt x="1959" y="298"/>
                    </a:lnTo>
                    <a:lnTo>
                      <a:pt x="1974" y="307"/>
                    </a:lnTo>
                    <a:lnTo>
                      <a:pt x="1988" y="318"/>
                    </a:lnTo>
                    <a:lnTo>
                      <a:pt x="2000" y="330"/>
                    </a:lnTo>
                    <a:lnTo>
                      <a:pt x="2011" y="343"/>
                    </a:lnTo>
                    <a:lnTo>
                      <a:pt x="2021" y="358"/>
                    </a:lnTo>
                    <a:lnTo>
                      <a:pt x="2029" y="373"/>
                    </a:lnTo>
                    <a:lnTo>
                      <a:pt x="2036" y="391"/>
                    </a:lnTo>
                    <a:lnTo>
                      <a:pt x="2041" y="408"/>
                    </a:lnTo>
                    <a:lnTo>
                      <a:pt x="2046" y="426"/>
                    </a:lnTo>
                    <a:lnTo>
                      <a:pt x="2049" y="444"/>
                    </a:lnTo>
                    <a:lnTo>
                      <a:pt x="2051" y="464"/>
                    </a:lnTo>
                    <a:lnTo>
                      <a:pt x="2051" y="482"/>
                    </a:lnTo>
                    <a:lnTo>
                      <a:pt x="2051" y="947"/>
                    </a:lnTo>
                    <a:lnTo>
                      <a:pt x="1959" y="947"/>
                    </a:lnTo>
                    <a:close/>
                    <a:moveTo>
                      <a:pt x="1200" y="359"/>
                    </a:moveTo>
                    <a:lnTo>
                      <a:pt x="1190" y="360"/>
                    </a:lnTo>
                    <a:lnTo>
                      <a:pt x="1180" y="361"/>
                    </a:lnTo>
                    <a:lnTo>
                      <a:pt x="1170" y="364"/>
                    </a:lnTo>
                    <a:lnTo>
                      <a:pt x="1160" y="367"/>
                    </a:lnTo>
                    <a:lnTo>
                      <a:pt x="1152" y="371"/>
                    </a:lnTo>
                    <a:lnTo>
                      <a:pt x="1144" y="377"/>
                    </a:lnTo>
                    <a:lnTo>
                      <a:pt x="1136" y="383"/>
                    </a:lnTo>
                    <a:lnTo>
                      <a:pt x="1129" y="390"/>
                    </a:lnTo>
                    <a:lnTo>
                      <a:pt x="1122" y="396"/>
                    </a:lnTo>
                    <a:lnTo>
                      <a:pt x="1117" y="405"/>
                    </a:lnTo>
                    <a:lnTo>
                      <a:pt x="1110" y="412"/>
                    </a:lnTo>
                    <a:lnTo>
                      <a:pt x="1105" y="422"/>
                    </a:lnTo>
                    <a:lnTo>
                      <a:pt x="1096" y="441"/>
                    </a:lnTo>
                    <a:lnTo>
                      <a:pt x="1089" y="461"/>
                    </a:lnTo>
                    <a:lnTo>
                      <a:pt x="1082" y="483"/>
                    </a:lnTo>
                    <a:lnTo>
                      <a:pt x="1077" y="505"/>
                    </a:lnTo>
                    <a:lnTo>
                      <a:pt x="1072" y="528"/>
                    </a:lnTo>
                    <a:lnTo>
                      <a:pt x="1069" y="549"/>
                    </a:lnTo>
                    <a:lnTo>
                      <a:pt x="1067" y="571"/>
                    </a:lnTo>
                    <a:lnTo>
                      <a:pt x="1066" y="592"/>
                    </a:lnTo>
                    <a:lnTo>
                      <a:pt x="1066" y="610"/>
                    </a:lnTo>
                    <a:lnTo>
                      <a:pt x="1065" y="627"/>
                    </a:lnTo>
                    <a:lnTo>
                      <a:pt x="1066" y="644"/>
                    </a:lnTo>
                    <a:lnTo>
                      <a:pt x="1066" y="662"/>
                    </a:lnTo>
                    <a:lnTo>
                      <a:pt x="1067" y="682"/>
                    </a:lnTo>
                    <a:lnTo>
                      <a:pt x="1069" y="701"/>
                    </a:lnTo>
                    <a:lnTo>
                      <a:pt x="1072" y="722"/>
                    </a:lnTo>
                    <a:lnTo>
                      <a:pt x="1077" y="741"/>
                    </a:lnTo>
                    <a:lnTo>
                      <a:pt x="1081" y="761"/>
                    </a:lnTo>
                    <a:lnTo>
                      <a:pt x="1088" y="781"/>
                    </a:lnTo>
                    <a:lnTo>
                      <a:pt x="1095" y="799"/>
                    </a:lnTo>
                    <a:lnTo>
                      <a:pt x="1105" y="815"/>
                    </a:lnTo>
                    <a:lnTo>
                      <a:pt x="1110" y="823"/>
                    </a:lnTo>
                    <a:lnTo>
                      <a:pt x="1116" y="831"/>
                    </a:lnTo>
                    <a:lnTo>
                      <a:pt x="1121" y="837"/>
                    </a:lnTo>
                    <a:lnTo>
                      <a:pt x="1128" y="844"/>
                    </a:lnTo>
                    <a:lnTo>
                      <a:pt x="1135" y="849"/>
                    </a:lnTo>
                    <a:lnTo>
                      <a:pt x="1143" y="854"/>
                    </a:lnTo>
                    <a:lnTo>
                      <a:pt x="1151" y="859"/>
                    </a:lnTo>
                    <a:lnTo>
                      <a:pt x="1159" y="862"/>
                    </a:lnTo>
                    <a:lnTo>
                      <a:pt x="1168" y="865"/>
                    </a:lnTo>
                    <a:lnTo>
                      <a:pt x="1178" y="867"/>
                    </a:lnTo>
                    <a:lnTo>
                      <a:pt x="1187" y="869"/>
                    </a:lnTo>
                    <a:lnTo>
                      <a:pt x="1198" y="870"/>
                    </a:lnTo>
                    <a:lnTo>
                      <a:pt x="1209" y="869"/>
                    </a:lnTo>
                    <a:lnTo>
                      <a:pt x="1219" y="867"/>
                    </a:lnTo>
                    <a:lnTo>
                      <a:pt x="1229" y="865"/>
                    </a:lnTo>
                    <a:lnTo>
                      <a:pt x="1238" y="862"/>
                    </a:lnTo>
                    <a:lnTo>
                      <a:pt x="1248" y="858"/>
                    </a:lnTo>
                    <a:lnTo>
                      <a:pt x="1256" y="853"/>
                    </a:lnTo>
                    <a:lnTo>
                      <a:pt x="1264" y="848"/>
                    </a:lnTo>
                    <a:lnTo>
                      <a:pt x="1272" y="841"/>
                    </a:lnTo>
                    <a:lnTo>
                      <a:pt x="1280" y="835"/>
                    </a:lnTo>
                    <a:lnTo>
                      <a:pt x="1286" y="827"/>
                    </a:lnTo>
                    <a:lnTo>
                      <a:pt x="1293" y="820"/>
                    </a:lnTo>
                    <a:lnTo>
                      <a:pt x="1299" y="812"/>
                    </a:lnTo>
                    <a:lnTo>
                      <a:pt x="1310" y="794"/>
                    </a:lnTo>
                    <a:lnTo>
                      <a:pt x="1320" y="774"/>
                    </a:lnTo>
                    <a:lnTo>
                      <a:pt x="1328" y="753"/>
                    </a:lnTo>
                    <a:lnTo>
                      <a:pt x="1336" y="733"/>
                    </a:lnTo>
                    <a:lnTo>
                      <a:pt x="1341" y="711"/>
                    </a:lnTo>
                    <a:lnTo>
                      <a:pt x="1346" y="689"/>
                    </a:lnTo>
                    <a:lnTo>
                      <a:pt x="1349" y="668"/>
                    </a:lnTo>
                    <a:lnTo>
                      <a:pt x="1351" y="647"/>
                    </a:lnTo>
                    <a:lnTo>
                      <a:pt x="1353" y="627"/>
                    </a:lnTo>
                    <a:lnTo>
                      <a:pt x="1353" y="609"/>
                    </a:lnTo>
                    <a:lnTo>
                      <a:pt x="1353" y="592"/>
                    </a:lnTo>
                    <a:lnTo>
                      <a:pt x="1351" y="573"/>
                    </a:lnTo>
                    <a:lnTo>
                      <a:pt x="1349" y="553"/>
                    </a:lnTo>
                    <a:lnTo>
                      <a:pt x="1346" y="532"/>
                    </a:lnTo>
                    <a:lnTo>
                      <a:pt x="1341" y="511"/>
                    </a:lnTo>
                    <a:lnTo>
                      <a:pt x="1336" y="491"/>
                    </a:lnTo>
                    <a:lnTo>
                      <a:pt x="1328" y="470"/>
                    </a:lnTo>
                    <a:lnTo>
                      <a:pt x="1321" y="450"/>
                    </a:lnTo>
                    <a:lnTo>
                      <a:pt x="1311" y="432"/>
                    </a:lnTo>
                    <a:lnTo>
                      <a:pt x="1300" y="415"/>
                    </a:lnTo>
                    <a:lnTo>
                      <a:pt x="1294" y="407"/>
                    </a:lnTo>
                    <a:lnTo>
                      <a:pt x="1287" y="399"/>
                    </a:lnTo>
                    <a:lnTo>
                      <a:pt x="1281" y="392"/>
                    </a:lnTo>
                    <a:lnTo>
                      <a:pt x="1273" y="385"/>
                    </a:lnTo>
                    <a:lnTo>
                      <a:pt x="1266" y="380"/>
                    </a:lnTo>
                    <a:lnTo>
                      <a:pt x="1258" y="374"/>
                    </a:lnTo>
                    <a:lnTo>
                      <a:pt x="1249" y="370"/>
                    </a:lnTo>
                    <a:lnTo>
                      <a:pt x="1241" y="367"/>
                    </a:lnTo>
                    <a:lnTo>
                      <a:pt x="1231" y="364"/>
                    </a:lnTo>
                    <a:lnTo>
                      <a:pt x="1221" y="361"/>
                    </a:lnTo>
                    <a:lnTo>
                      <a:pt x="1211" y="359"/>
                    </a:lnTo>
                    <a:lnTo>
                      <a:pt x="1200" y="359"/>
                    </a:lnTo>
                    <a:close/>
                    <a:moveTo>
                      <a:pt x="1170" y="1231"/>
                    </a:moveTo>
                    <a:lnTo>
                      <a:pt x="1147" y="1231"/>
                    </a:lnTo>
                    <a:lnTo>
                      <a:pt x="1124" y="1230"/>
                    </a:lnTo>
                    <a:lnTo>
                      <a:pt x="1103" y="1228"/>
                    </a:lnTo>
                    <a:lnTo>
                      <a:pt x="1081" y="1226"/>
                    </a:lnTo>
                    <a:lnTo>
                      <a:pt x="1059" y="1222"/>
                    </a:lnTo>
                    <a:lnTo>
                      <a:pt x="1038" y="1218"/>
                    </a:lnTo>
                    <a:lnTo>
                      <a:pt x="1016" y="1214"/>
                    </a:lnTo>
                    <a:lnTo>
                      <a:pt x="994" y="1209"/>
                    </a:lnTo>
                    <a:lnTo>
                      <a:pt x="994" y="1115"/>
                    </a:lnTo>
                    <a:lnTo>
                      <a:pt x="1014" y="1124"/>
                    </a:lnTo>
                    <a:lnTo>
                      <a:pt x="1033" y="1131"/>
                    </a:lnTo>
                    <a:lnTo>
                      <a:pt x="1053" y="1139"/>
                    </a:lnTo>
                    <a:lnTo>
                      <a:pt x="1073" y="1144"/>
                    </a:lnTo>
                    <a:lnTo>
                      <a:pt x="1094" y="1149"/>
                    </a:lnTo>
                    <a:lnTo>
                      <a:pt x="1115" y="1151"/>
                    </a:lnTo>
                    <a:lnTo>
                      <a:pt x="1135" y="1153"/>
                    </a:lnTo>
                    <a:lnTo>
                      <a:pt x="1157" y="1154"/>
                    </a:lnTo>
                    <a:lnTo>
                      <a:pt x="1184" y="1153"/>
                    </a:lnTo>
                    <a:lnTo>
                      <a:pt x="1208" y="1150"/>
                    </a:lnTo>
                    <a:lnTo>
                      <a:pt x="1220" y="1149"/>
                    </a:lnTo>
                    <a:lnTo>
                      <a:pt x="1231" y="1145"/>
                    </a:lnTo>
                    <a:lnTo>
                      <a:pt x="1241" y="1143"/>
                    </a:lnTo>
                    <a:lnTo>
                      <a:pt x="1251" y="1140"/>
                    </a:lnTo>
                    <a:lnTo>
                      <a:pt x="1260" y="1136"/>
                    </a:lnTo>
                    <a:lnTo>
                      <a:pt x="1269" y="1131"/>
                    </a:lnTo>
                    <a:lnTo>
                      <a:pt x="1277" y="1127"/>
                    </a:lnTo>
                    <a:lnTo>
                      <a:pt x="1285" y="1123"/>
                    </a:lnTo>
                    <a:lnTo>
                      <a:pt x="1293" y="1117"/>
                    </a:lnTo>
                    <a:lnTo>
                      <a:pt x="1299" y="1111"/>
                    </a:lnTo>
                    <a:lnTo>
                      <a:pt x="1306" y="1105"/>
                    </a:lnTo>
                    <a:lnTo>
                      <a:pt x="1311" y="1098"/>
                    </a:lnTo>
                    <a:lnTo>
                      <a:pt x="1317" y="1091"/>
                    </a:lnTo>
                    <a:lnTo>
                      <a:pt x="1322" y="1083"/>
                    </a:lnTo>
                    <a:lnTo>
                      <a:pt x="1326" y="1076"/>
                    </a:lnTo>
                    <a:lnTo>
                      <a:pt x="1331" y="1067"/>
                    </a:lnTo>
                    <a:lnTo>
                      <a:pt x="1338" y="1050"/>
                    </a:lnTo>
                    <a:lnTo>
                      <a:pt x="1344" y="1030"/>
                    </a:lnTo>
                    <a:lnTo>
                      <a:pt x="1348" y="1010"/>
                    </a:lnTo>
                    <a:lnTo>
                      <a:pt x="1351" y="987"/>
                    </a:lnTo>
                    <a:lnTo>
                      <a:pt x="1353" y="963"/>
                    </a:lnTo>
                    <a:lnTo>
                      <a:pt x="1353" y="938"/>
                    </a:lnTo>
                    <a:lnTo>
                      <a:pt x="1353" y="823"/>
                    </a:lnTo>
                    <a:lnTo>
                      <a:pt x="1351" y="823"/>
                    </a:lnTo>
                    <a:lnTo>
                      <a:pt x="1346" y="837"/>
                    </a:lnTo>
                    <a:lnTo>
                      <a:pt x="1339" y="850"/>
                    </a:lnTo>
                    <a:lnTo>
                      <a:pt x="1333" y="863"/>
                    </a:lnTo>
                    <a:lnTo>
                      <a:pt x="1325" y="875"/>
                    </a:lnTo>
                    <a:lnTo>
                      <a:pt x="1317" y="886"/>
                    </a:lnTo>
                    <a:lnTo>
                      <a:pt x="1307" y="897"/>
                    </a:lnTo>
                    <a:lnTo>
                      <a:pt x="1297" y="905"/>
                    </a:lnTo>
                    <a:lnTo>
                      <a:pt x="1286" y="914"/>
                    </a:lnTo>
                    <a:lnTo>
                      <a:pt x="1274" y="922"/>
                    </a:lnTo>
                    <a:lnTo>
                      <a:pt x="1262" y="928"/>
                    </a:lnTo>
                    <a:lnTo>
                      <a:pt x="1249" y="934"/>
                    </a:lnTo>
                    <a:lnTo>
                      <a:pt x="1236" y="939"/>
                    </a:lnTo>
                    <a:lnTo>
                      <a:pt x="1222" y="942"/>
                    </a:lnTo>
                    <a:lnTo>
                      <a:pt x="1208" y="945"/>
                    </a:lnTo>
                    <a:lnTo>
                      <a:pt x="1194" y="947"/>
                    </a:lnTo>
                    <a:lnTo>
                      <a:pt x="1179" y="947"/>
                    </a:lnTo>
                    <a:lnTo>
                      <a:pt x="1162" y="947"/>
                    </a:lnTo>
                    <a:lnTo>
                      <a:pt x="1146" y="946"/>
                    </a:lnTo>
                    <a:lnTo>
                      <a:pt x="1132" y="942"/>
                    </a:lnTo>
                    <a:lnTo>
                      <a:pt x="1118" y="939"/>
                    </a:lnTo>
                    <a:lnTo>
                      <a:pt x="1105" y="935"/>
                    </a:lnTo>
                    <a:lnTo>
                      <a:pt x="1092" y="930"/>
                    </a:lnTo>
                    <a:lnTo>
                      <a:pt x="1080" y="924"/>
                    </a:lnTo>
                    <a:lnTo>
                      <a:pt x="1069" y="917"/>
                    </a:lnTo>
                    <a:lnTo>
                      <a:pt x="1058" y="910"/>
                    </a:lnTo>
                    <a:lnTo>
                      <a:pt x="1049" y="902"/>
                    </a:lnTo>
                    <a:lnTo>
                      <a:pt x="1039" y="893"/>
                    </a:lnTo>
                    <a:lnTo>
                      <a:pt x="1030" y="884"/>
                    </a:lnTo>
                    <a:lnTo>
                      <a:pt x="1022" y="874"/>
                    </a:lnTo>
                    <a:lnTo>
                      <a:pt x="1015" y="864"/>
                    </a:lnTo>
                    <a:lnTo>
                      <a:pt x="1007" y="853"/>
                    </a:lnTo>
                    <a:lnTo>
                      <a:pt x="1002" y="841"/>
                    </a:lnTo>
                    <a:lnTo>
                      <a:pt x="995" y="829"/>
                    </a:lnTo>
                    <a:lnTo>
                      <a:pt x="990" y="817"/>
                    </a:lnTo>
                    <a:lnTo>
                      <a:pt x="986" y="804"/>
                    </a:lnTo>
                    <a:lnTo>
                      <a:pt x="981" y="791"/>
                    </a:lnTo>
                    <a:lnTo>
                      <a:pt x="974" y="765"/>
                    </a:lnTo>
                    <a:lnTo>
                      <a:pt x="968" y="738"/>
                    </a:lnTo>
                    <a:lnTo>
                      <a:pt x="964" y="710"/>
                    </a:lnTo>
                    <a:lnTo>
                      <a:pt x="961" y="682"/>
                    </a:lnTo>
                    <a:lnTo>
                      <a:pt x="960" y="654"/>
                    </a:lnTo>
                    <a:lnTo>
                      <a:pt x="958" y="626"/>
                    </a:lnTo>
                    <a:lnTo>
                      <a:pt x="960" y="599"/>
                    </a:lnTo>
                    <a:lnTo>
                      <a:pt x="961" y="571"/>
                    </a:lnTo>
                    <a:lnTo>
                      <a:pt x="964" y="542"/>
                    </a:lnTo>
                    <a:lnTo>
                      <a:pt x="968" y="512"/>
                    </a:lnTo>
                    <a:lnTo>
                      <a:pt x="975" y="483"/>
                    </a:lnTo>
                    <a:lnTo>
                      <a:pt x="982" y="455"/>
                    </a:lnTo>
                    <a:lnTo>
                      <a:pt x="987" y="441"/>
                    </a:lnTo>
                    <a:lnTo>
                      <a:pt x="992" y="428"/>
                    </a:lnTo>
                    <a:lnTo>
                      <a:pt x="998" y="414"/>
                    </a:lnTo>
                    <a:lnTo>
                      <a:pt x="1003" y="401"/>
                    </a:lnTo>
                    <a:lnTo>
                      <a:pt x="1009" y="389"/>
                    </a:lnTo>
                    <a:lnTo>
                      <a:pt x="1017" y="376"/>
                    </a:lnTo>
                    <a:lnTo>
                      <a:pt x="1025" y="365"/>
                    </a:lnTo>
                    <a:lnTo>
                      <a:pt x="1033" y="353"/>
                    </a:lnTo>
                    <a:lnTo>
                      <a:pt x="1042" y="343"/>
                    </a:lnTo>
                    <a:lnTo>
                      <a:pt x="1051" y="333"/>
                    </a:lnTo>
                    <a:lnTo>
                      <a:pt x="1060" y="323"/>
                    </a:lnTo>
                    <a:lnTo>
                      <a:pt x="1071" y="315"/>
                    </a:lnTo>
                    <a:lnTo>
                      <a:pt x="1083" y="308"/>
                    </a:lnTo>
                    <a:lnTo>
                      <a:pt x="1095" y="301"/>
                    </a:lnTo>
                    <a:lnTo>
                      <a:pt x="1107" y="295"/>
                    </a:lnTo>
                    <a:lnTo>
                      <a:pt x="1121" y="290"/>
                    </a:lnTo>
                    <a:lnTo>
                      <a:pt x="1135" y="287"/>
                    </a:lnTo>
                    <a:lnTo>
                      <a:pt x="1149" y="283"/>
                    </a:lnTo>
                    <a:lnTo>
                      <a:pt x="1165" y="282"/>
                    </a:lnTo>
                    <a:lnTo>
                      <a:pt x="1181" y="281"/>
                    </a:lnTo>
                    <a:lnTo>
                      <a:pt x="1196" y="282"/>
                    </a:lnTo>
                    <a:lnTo>
                      <a:pt x="1210" y="283"/>
                    </a:lnTo>
                    <a:lnTo>
                      <a:pt x="1223" y="285"/>
                    </a:lnTo>
                    <a:lnTo>
                      <a:pt x="1237" y="290"/>
                    </a:lnTo>
                    <a:lnTo>
                      <a:pt x="1250" y="294"/>
                    </a:lnTo>
                    <a:lnTo>
                      <a:pt x="1263" y="300"/>
                    </a:lnTo>
                    <a:lnTo>
                      <a:pt x="1275" y="306"/>
                    </a:lnTo>
                    <a:lnTo>
                      <a:pt x="1287" y="314"/>
                    </a:lnTo>
                    <a:lnTo>
                      <a:pt x="1298" y="321"/>
                    </a:lnTo>
                    <a:lnTo>
                      <a:pt x="1309" y="331"/>
                    </a:lnTo>
                    <a:lnTo>
                      <a:pt x="1318" y="341"/>
                    </a:lnTo>
                    <a:lnTo>
                      <a:pt x="1326" y="352"/>
                    </a:lnTo>
                    <a:lnTo>
                      <a:pt x="1334" y="364"/>
                    </a:lnTo>
                    <a:lnTo>
                      <a:pt x="1340" y="376"/>
                    </a:lnTo>
                    <a:lnTo>
                      <a:pt x="1347" y="389"/>
                    </a:lnTo>
                    <a:lnTo>
                      <a:pt x="1351" y="403"/>
                    </a:lnTo>
                    <a:lnTo>
                      <a:pt x="1353" y="403"/>
                    </a:lnTo>
                    <a:lnTo>
                      <a:pt x="1353" y="296"/>
                    </a:lnTo>
                    <a:lnTo>
                      <a:pt x="1447" y="296"/>
                    </a:lnTo>
                    <a:lnTo>
                      <a:pt x="1447" y="949"/>
                    </a:lnTo>
                    <a:lnTo>
                      <a:pt x="1447" y="965"/>
                    </a:lnTo>
                    <a:lnTo>
                      <a:pt x="1446" y="983"/>
                    </a:lnTo>
                    <a:lnTo>
                      <a:pt x="1445" y="998"/>
                    </a:lnTo>
                    <a:lnTo>
                      <a:pt x="1442" y="1014"/>
                    </a:lnTo>
                    <a:lnTo>
                      <a:pt x="1440" y="1029"/>
                    </a:lnTo>
                    <a:lnTo>
                      <a:pt x="1437" y="1043"/>
                    </a:lnTo>
                    <a:lnTo>
                      <a:pt x="1434" y="1057"/>
                    </a:lnTo>
                    <a:lnTo>
                      <a:pt x="1429" y="1070"/>
                    </a:lnTo>
                    <a:lnTo>
                      <a:pt x="1425" y="1083"/>
                    </a:lnTo>
                    <a:lnTo>
                      <a:pt x="1421" y="1097"/>
                    </a:lnTo>
                    <a:lnTo>
                      <a:pt x="1414" y="1107"/>
                    </a:lnTo>
                    <a:lnTo>
                      <a:pt x="1409" y="1119"/>
                    </a:lnTo>
                    <a:lnTo>
                      <a:pt x="1402" y="1130"/>
                    </a:lnTo>
                    <a:lnTo>
                      <a:pt x="1395" y="1140"/>
                    </a:lnTo>
                    <a:lnTo>
                      <a:pt x="1387" y="1150"/>
                    </a:lnTo>
                    <a:lnTo>
                      <a:pt x="1378" y="1159"/>
                    </a:lnTo>
                    <a:lnTo>
                      <a:pt x="1370" y="1168"/>
                    </a:lnTo>
                    <a:lnTo>
                      <a:pt x="1360" y="1176"/>
                    </a:lnTo>
                    <a:lnTo>
                      <a:pt x="1350" y="1183"/>
                    </a:lnTo>
                    <a:lnTo>
                      <a:pt x="1340" y="1191"/>
                    </a:lnTo>
                    <a:lnTo>
                      <a:pt x="1330" y="1197"/>
                    </a:lnTo>
                    <a:lnTo>
                      <a:pt x="1318" y="1203"/>
                    </a:lnTo>
                    <a:lnTo>
                      <a:pt x="1306" y="1208"/>
                    </a:lnTo>
                    <a:lnTo>
                      <a:pt x="1293" y="1214"/>
                    </a:lnTo>
                    <a:lnTo>
                      <a:pt x="1280" y="1218"/>
                    </a:lnTo>
                    <a:lnTo>
                      <a:pt x="1266" y="1221"/>
                    </a:lnTo>
                    <a:lnTo>
                      <a:pt x="1251" y="1225"/>
                    </a:lnTo>
                    <a:lnTo>
                      <a:pt x="1236" y="1227"/>
                    </a:lnTo>
                    <a:lnTo>
                      <a:pt x="1221" y="1229"/>
                    </a:lnTo>
                    <a:lnTo>
                      <a:pt x="1205" y="1230"/>
                    </a:lnTo>
                    <a:lnTo>
                      <a:pt x="1187" y="1231"/>
                    </a:lnTo>
                    <a:lnTo>
                      <a:pt x="1170" y="1231"/>
                    </a:lnTo>
                    <a:close/>
                    <a:moveTo>
                      <a:pt x="765" y="947"/>
                    </a:moveTo>
                    <a:lnTo>
                      <a:pt x="765" y="296"/>
                    </a:lnTo>
                    <a:lnTo>
                      <a:pt x="859" y="296"/>
                    </a:lnTo>
                    <a:lnTo>
                      <a:pt x="859" y="947"/>
                    </a:lnTo>
                    <a:lnTo>
                      <a:pt x="765" y="947"/>
                    </a:lnTo>
                    <a:close/>
                    <a:moveTo>
                      <a:pt x="750" y="127"/>
                    </a:moveTo>
                    <a:lnTo>
                      <a:pt x="750" y="4"/>
                    </a:lnTo>
                    <a:lnTo>
                      <a:pt x="874" y="4"/>
                    </a:lnTo>
                    <a:lnTo>
                      <a:pt x="874" y="127"/>
                    </a:lnTo>
                    <a:lnTo>
                      <a:pt x="750" y="127"/>
                    </a:lnTo>
                    <a:close/>
                    <a:moveTo>
                      <a:pt x="496" y="947"/>
                    </a:moveTo>
                    <a:lnTo>
                      <a:pt x="496" y="502"/>
                    </a:lnTo>
                    <a:lnTo>
                      <a:pt x="107" y="502"/>
                    </a:lnTo>
                    <a:lnTo>
                      <a:pt x="107" y="947"/>
                    </a:lnTo>
                    <a:lnTo>
                      <a:pt x="0" y="947"/>
                    </a:lnTo>
                    <a:lnTo>
                      <a:pt x="0" y="4"/>
                    </a:lnTo>
                    <a:lnTo>
                      <a:pt x="107" y="4"/>
                    </a:lnTo>
                    <a:lnTo>
                      <a:pt x="107" y="412"/>
                    </a:lnTo>
                    <a:lnTo>
                      <a:pt x="496" y="412"/>
                    </a:lnTo>
                    <a:lnTo>
                      <a:pt x="496" y="4"/>
                    </a:lnTo>
                    <a:lnTo>
                      <a:pt x="604" y="4"/>
                    </a:lnTo>
                    <a:lnTo>
                      <a:pt x="604" y="947"/>
                    </a:lnTo>
                    <a:lnTo>
                      <a:pt x="496" y="947"/>
                    </a:lnTo>
                    <a:close/>
                  </a:path>
                </a:pathLst>
              </a:custGeom>
              <a:solidFill>
                <a:srgbClr val="1F1A17"/>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grpSp>
            <p:nvGrpSpPr>
              <p:cNvPr id="59" name="Group 21"/>
              <p:cNvGrpSpPr/>
              <p:nvPr userDrawn="1"/>
            </p:nvGrpSpPr>
            <p:grpSpPr>
              <a:xfrm>
                <a:off x="471488" y="605980"/>
                <a:ext cx="2196707" cy="386471"/>
                <a:chOff x="931863" y="2459038"/>
                <a:chExt cx="2427287" cy="427038"/>
              </a:xfrm>
              <a:solidFill>
                <a:sysClr val="windowText" lastClr="000000"/>
              </a:solidFill>
            </p:grpSpPr>
            <p:sp>
              <p:nvSpPr>
                <p:cNvPr id="60" name="Freeform 5"/>
                <p:cNvSpPr>
                  <a:spLocks noEditPoints="1"/>
                </p:cNvSpPr>
                <p:nvPr userDrawn="1"/>
              </p:nvSpPr>
              <p:spPr bwMode="auto">
                <a:xfrm>
                  <a:off x="931863" y="2555875"/>
                  <a:ext cx="247650" cy="330200"/>
                </a:xfrm>
                <a:custGeom>
                  <a:avLst/>
                  <a:gdLst/>
                  <a:ahLst/>
                  <a:cxnLst>
                    <a:cxn ang="0">
                      <a:pos x="1703" y="546"/>
                    </a:cxn>
                    <a:cxn ang="0">
                      <a:pos x="1652" y="361"/>
                    </a:cxn>
                    <a:cxn ang="0">
                      <a:pos x="1561" y="217"/>
                    </a:cxn>
                    <a:cxn ang="0">
                      <a:pos x="1432" y="113"/>
                    </a:cxn>
                    <a:cxn ang="0">
                      <a:pos x="1271" y="45"/>
                    </a:cxn>
                    <a:cxn ang="0">
                      <a:pos x="1083" y="9"/>
                    </a:cxn>
                    <a:cxn ang="0">
                      <a:pos x="872" y="1"/>
                    </a:cxn>
                    <a:cxn ang="0">
                      <a:pos x="670" y="21"/>
                    </a:cxn>
                    <a:cxn ang="0">
                      <a:pos x="486" y="74"/>
                    </a:cxn>
                    <a:cxn ang="0">
                      <a:pos x="328" y="160"/>
                    </a:cxn>
                    <a:cxn ang="0">
                      <a:pos x="204" y="282"/>
                    </a:cxn>
                    <a:cxn ang="0">
                      <a:pos x="121" y="444"/>
                    </a:cxn>
                    <a:cxn ang="0">
                      <a:pos x="84" y="647"/>
                    </a:cxn>
                    <a:cxn ang="0">
                      <a:pos x="582" y="635"/>
                    </a:cxn>
                    <a:cxn ang="0">
                      <a:pos x="601" y="550"/>
                    </a:cxn>
                    <a:cxn ang="0">
                      <a:pos x="636" y="480"/>
                    </a:cxn>
                    <a:cxn ang="0">
                      <a:pos x="687" y="425"/>
                    </a:cxn>
                    <a:cxn ang="0">
                      <a:pos x="755" y="386"/>
                    </a:cxn>
                    <a:cxn ang="0">
                      <a:pos x="838" y="364"/>
                    </a:cxn>
                    <a:cxn ang="0">
                      <a:pos x="939" y="359"/>
                    </a:cxn>
                    <a:cxn ang="0">
                      <a:pos x="1038" y="376"/>
                    </a:cxn>
                    <a:cxn ang="0">
                      <a:pos x="1112" y="417"/>
                    </a:cxn>
                    <a:cxn ang="0">
                      <a:pos x="1165" y="477"/>
                    </a:cxn>
                    <a:cxn ang="0">
                      <a:pos x="1198" y="553"/>
                    </a:cxn>
                    <a:cxn ang="0">
                      <a:pos x="1220" y="678"/>
                    </a:cxn>
                    <a:cxn ang="0">
                      <a:pos x="1028" y="982"/>
                    </a:cxn>
                    <a:cxn ang="0">
                      <a:pos x="772" y="1009"/>
                    </a:cxn>
                    <a:cxn ang="0">
                      <a:pos x="519" y="1067"/>
                    </a:cxn>
                    <a:cxn ang="0">
                      <a:pos x="295" y="1168"/>
                    </a:cxn>
                    <a:cxn ang="0">
                      <a:pos x="121" y="1322"/>
                    </a:cxn>
                    <a:cxn ang="0">
                      <a:pos x="18" y="1542"/>
                    </a:cxn>
                    <a:cxn ang="0">
                      <a:pos x="3" y="1780"/>
                    </a:cxn>
                    <a:cxn ang="0">
                      <a:pos x="40" y="1931"/>
                    </a:cxn>
                    <a:cxn ang="0">
                      <a:pos x="111" y="2057"/>
                    </a:cxn>
                    <a:cxn ang="0">
                      <a:pos x="213" y="2155"/>
                    </a:cxn>
                    <a:cxn ang="0">
                      <a:pos x="340" y="2227"/>
                    </a:cxn>
                    <a:cxn ang="0">
                      <a:pos x="485" y="2270"/>
                    </a:cxn>
                    <a:cxn ang="0">
                      <a:pos x="644" y="2285"/>
                    </a:cxn>
                    <a:cxn ang="0">
                      <a:pos x="797" y="2273"/>
                    </a:cxn>
                    <a:cxn ang="0">
                      <a:pos x="901" y="2248"/>
                    </a:cxn>
                    <a:cxn ang="0">
                      <a:pos x="995" y="2208"/>
                    </a:cxn>
                    <a:cxn ang="0">
                      <a:pos x="1082" y="2152"/>
                    </a:cxn>
                    <a:cxn ang="0">
                      <a:pos x="1155" y="2077"/>
                    </a:cxn>
                    <a:cxn ang="0">
                      <a:pos x="1214" y="1982"/>
                    </a:cxn>
                    <a:cxn ang="0">
                      <a:pos x="1224" y="1298"/>
                    </a:cxn>
                    <a:cxn ang="0">
                      <a:pos x="1211" y="1436"/>
                    </a:cxn>
                    <a:cxn ang="0">
                      <a:pos x="1178" y="1574"/>
                    </a:cxn>
                    <a:cxn ang="0">
                      <a:pos x="1124" y="1704"/>
                    </a:cxn>
                    <a:cxn ang="0">
                      <a:pos x="1044" y="1813"/>
                    </a:cxn>
                    <a:cxn ang="0">
                      <a:pos x="937" y="1891"/>
                    </a:cxn>
                    <a:cxn ang="0">
                      <a:pos x="799" y="1927"/>
                    </a:cxn>
                    <a:cxn ang="0">
                      <a:pos x="707" y="1923"/>
                    </a:cxn>
                    <a:cxn ang="0">
                      <a:pos x="641" y="1907"/>
                    </a:cxn>
                    <a:cxn ang="0">
                      <a:pos x="587" y="1877"/>
                    </a:cxn>
                    <a:cxn ang="0">
                      <a:pos x="545" y="1835"/>
                    </a:cxn>
                    <a:cxn ang="0">
                      <a:pos x="515" y="1780"/>
                    </a:cxn>
                    <a:cxn ang="0">
                      <a:pos x="499" y="1713"/>
                    </a:cxn>
                    <a:cxn ang="0">
                      <a:pos x="502" y="1607"/>
                    </a:cxn>
                    <a:cxn ang="0">
                      <a:pos x="558" y="1485"/>
                    </a:cxn>
                    <a:cxn ang="0">
                      <a:pos x="662" y="1396"/>
                    </a:cxn>
                    <a:cxn ang="0">
                      <a:pos x="798" y="1334"/>
                    </a:cxn>
                    <a:cxn ang="0">
                      <a:pos x="947" y="1297"/>
                    </a:cxn>
                    <a:cxn ang="0">
                      <a:pos x="1175" y="1272"/>
                    </a:cxn>
                  </a:cxnLst>
                  <a:rect l="0" t="0" r="r" b="b"/>
                  <a:pathLst>
                    <a:path w="1711" h="2285">
                      <a:moveTo>
                        <a:pt x="1711" y="2235"/>
                      </a:moveTo>
                      <a:lnTo>
                        <a:pt x="1711" y="679"/>
                      </a:lnTo>
                      <a:lnTo>
                        <a:pt x="1710" y="633"/>
                      </a:lnTo>
                      <a:lnTo>
                        <a:pt x="1707" y="589"/>
                      </a:lnTo>
                      <a:lnTo>
                        <a:pt x="1703" y="546"/>
                      </a:lnTo>
                      <a:lnTo>
                        <a:pt x="1697" y="505"/>
                      </a:lnTo>
                      <a:lnTo>
                        <a:pt x="1688" y="467"/>
                      </a:lnTo>
                      <a:lnTo>
                        <a:pt x="1678" y="430"/>
                      </a:lnTo>
                      <a:lnTo>
                        <a:pt x="1666" y="394"/>
                      </a:lnTo>
                      <a:lnTo>
                        <a:pt x="1652" y="361"/>
                      </a:lnTo>
                      <a:lnTo>
                        <a:pt x="1637" y="328"/>
                      </a:lnTo>
                      <a:lnTo>
                        <a:pt x="1620" y="299"/>
                      </a:lnTo>
                      <a:lnTo>
                        <a:pt x="1602" y="270"/>
                      </a:lnTo>
                      <a:lnTo>
                        <a:pt x="1582" y="243"/>
                      </a:lnTo>
                      <a:lnTo>
                        <a:pt x="1561" y="217"/>
                      </a:lnTo>
                      <a:lnTo>
                        <a:pt x="1538" y="194"/>
                      </a:lnTo>
                      <a:lnTo>
                        <a:pt x="1514" y="172"/>
                      </a:lnTo>
                      <a:lnTo>
                        <a:pt x="1487" y="151"/>
                      </a:lnTo>
                      <a:lnTo>
                        <a:pt x="1460" y="131"/>
                      </a:lnTo>
                      <a:lnTo>
                        <a:pt x="1432" y="113"/>
                      </a:lnTo>
                      <a:lnTo>
                        <a:pt x="1402" y="98"/>
                      </a:lnTo>
                      <a:lnTo>
                        <a:pt x="1372" y="82"/>
                      </a:lnTo>
                      <a:lnTo>
                        <a:pt x="1339" y="68"/>
                      </a:lnTo>
                      <a:lnTo>
                        <a:pt x="1306" y="57"/>
                      </a:lnTo>
                      <a:lnTo>
                        <a:pt x="1271" y="45"/>
                      </a:lnTo>
                      <a:lnTo>
                        <a:pt x="1236" y="36"/>
                      </a:lnTo>
                      <a:lnTo>
                        <a:pt x="1199" y="27"/>
                      </a:lnTo>
                      <a:lnTo>
                        <a:pt x="1162" y="20"/>
                      </a:lnTo>
                      <a:lnTo>
                        <a:pt x="1123" y="14"/>
                      </a:lnTo>
                      <a:lnTo>
                        <a:pt x="1083" y="9"/>
                      </a:lnTo>
                      <a:lnTo>
                        <a:pt x="1043" y="5"/>
                      </a:lnTo>
                      <a:lnTo>
                        <a:pt x="1001" y="2"/>
                      </a:lnTo>
                      <a:lnTo>
                        <a:pt x="959" y="1"/>
                      </a:lnTo>
                      <a:lnTo>
                        <a:pt x="916" y="0"/>
                      </a:lnTo>
                      <a:lnTo>
                        <a:pt x="872" y="1"/>
                      </a:lnTo>
                      <a:lnTo>
                        <a:pt x="831" y="3"/>
                      </a:lnTo>
                      <a:lnTo>
                        <a:pt x="789" y="5"/>
                      </a:lnTo>
                      <a:lnTo>
                        <a:pt x="748" y="10"/>
                      </a:lnTo>
                      <a:lnTo>
                        <a:pt x="709" y="15"/>
                      </a:lnTo>
                      <a:lnTo>
                        <a:pt x="670" y="21"/>
                      </a:lnTo>
                      <a:lnTo>
                        <a:pt x="631" y="30"/>
                      </a:lnTo>
                      <a:lnTo>
                        <a:pt x="593" y="39"/>
                      </a:lnTo>
                      <a:lnTo>
                        <a:pt x="556" y="48"/>
                      </a:lnTo>
                      <a:lnTo>
                        <a:pt x="520" y="61"/>
                      </a:lnTo>
                      <a:lnTo>
                        <a:pt x="486" y="74"/>
                      </a:lnTo>
                      <a:lnTo>
                        <a:pt x="452" y="88"/>
                      </a:lnTo>
                      <a:lnTo>
                        <a:pt x="419" y="104"/>
                      </a:lnTo>
                      <a:lnTo>
                        <a:pt x="388" y="121"/>
                      </a:lnTo>
                      <a:lnTo>
                        <a:pt x="357" y="140"/>
                      </a:lnTo>
                      <a:lnTo>
                        <a:pt x="328" y="160"/>
                      </a:lnTo>
                      <a:lnTo>
                        <a:pt x="301" y="180"/>
                      </a:lnTo>
                      <a:lnTo>
                        <a:pt x="274" y="204"/>
                      </a:lnTo>
                      <a:lnTo>
                        <a:pt x="249" y="229"/>
                      </a:lnTo>
                      <a:lnTo>
                        <a:pt x="226" y="255"/>
                      </a:lnTo>
                      <a:lnTo>
                        <a:pt x="204" y="282"/>
                      </a:lnTo>
                      <a:lnTo>
                        <a:pt x="184" y="311"/>
                      </a:lnTo>
                      <a:lnTo>
                        <a:pt x="166" y="342"/>
                      </a:lnTo>
                      <a:lnTo>
                        <a:pt x="149" y="374"/>
                      </a:lnTo>
                      <a:lnTo>
                        <a:pt x="134" y="408"/>
                      </a:lnTo>
                      <a:lnTo>
                        <a:pt x="121" y="444"/>
                      </a:lnTo>
                      <a:lnTo>
                        <a:pt x="109" y="481"/>
                      </a:lnTo>
                      <a:lnTo>
                        <a:pt x="100" y="520"/>
                      </a:lnTo>
                      <a:lnTo>
                        <a:pt x="93" y="561"/>
                      </a:lnTo>
                      <a:lnTo>
                        <a:pt x="87" y="603"/>
                      </a:lnTo>
                      <a:lnTo>
                        <a:pt x="84" y="647"/>
                      </a:lnTo>
                      <a:lnTo>
                        <a:pt x="83" y="693"/>
                      </a:lnTo>
                      <a:lnTo>
                        <a:pt x="579" y="693"/>
                      </a:lnTo>
                      <a:lnTo>
                        <a:pt x="580" y="673"/>
                      </a:lnTo>
                      <a:lnTo>
                        <a:pt x="581" y="654"/>
                      </a:lnTo>
                      <a:lnTo>
                        <a:pt x="582" y="635"/>
                      </a:lnTo>
                      <a:lnTo>
                        <a:pt x="584" y="616"/>
                      </a:lnTo>
                      <a:lnTo>
                        <a:pt x="588" y="600"/>
                      </a:lnTo>
                      <a:lnTo>
                        <a:pt x="592" y="582"/>
                      </a:lnTo>
                      <a:lnTo>
                        <a:pt x="596" y="566"/>
                      </a:lnTo>
                      <a:lnTo>
                        <a:pt x="601" y="550"/>
                      </a:lnTo>
                      <a:lnTo>
                        <a:pt x="607" y="535"/>
                      </a:lnTo>
                      <a:lnTo>
                        <a:pt x="613" y="520"/>
                      </a:lnTo>
                      <a:lnTo>
                        <a:pt x="620" y="506"/>
                      </a:lnTo>
                      <a:lnTo>
                        <a:pt x="628" y="493"/>
                      </a:lnTo>
                      <a:lnTo>
                        <a:pt x="636" y="480"/>
                      </a:lnTo>
                      <a:lnTo>
                        <a:pt x="644" y="468"/>
                      </a:lnTo>
                      <a:lnTo>
                        <a:pt x="655" y="456"/>
                      </a:lnTo>
                      <a:lnTo>
                        <a:pt x="664" y="445"/>
                      </a:lnTo>
                      <a:lnTo>
                        <a:pt x="676" y="435"/>
                      </a:lnTo>
                      <a:lnTo>
                        <a:pt x="687" y="425"/>
                      </a:lnTo>
                      <a:lnTo>
                        <a:pt x="699" y="416"/>
                      </a:lnTo>
                      <a:lnTo>
                        <a:pt x="712" y="408"/>
                      </a:lnTo>
                      <a:lnTo>
                        <a:pt x="725" y="400"/>
                      </a:lnTo>
                      <a:lnTo>
                        <a:pt x="740" y="393"/>
                      </a:lnTo>
                      <a:lnTo>
                        <a:pt x="755" y="386"/>
                      </a:lnTo>
                      <a:lnTo>
                        <a:pt x="769" y="381"/>
                      </a:lnTo>
                      <a:lnTo>
                        <a:pt x="785" y="375"/>
                      </a:lnTo>
                      <a:lnTo>
                        <a:pt x="802" y="371"/>
                      </a:lnTo>
                      <a:lnTo>
                        <a:pt x="820" y="367"/>
                      </a:lnTo>
                      <a:lnTo>
                        <a:pt x="838" y="364"/>
                      </a:lnTo>
                      <a:lnTo>
                        <a:pt x="856" y="362"/>
                      </a:lnTo>
                      <a:lnTo>
                        <a:pt x="876" y="360"/>
                      </a:lnTo>
                      <a:lnTo>
                        <a:pt x="895" y="359"/>
                      </a:lnTo>
                      <a:lnTo>
                        <a:pt x="916" y="359"/>
                      </a:lnTo>
                      <a:lnTo>
                        <a:pt x="939" y="359"/>
                      </a:lnTo>
                      <a:lnTo>
                        <a:pt x="961" y="361"/>
                      </a:lnTo>
                      <a:lnTo>
                        <a:pt x="982" y="363"/>
                      </a:lnTo>
                      <a:lnTo>
                        <a:pt x="1002" y="367"/>
                      </a:lnTo>
                      <a:lnTo>
                        <a:pt x="1020" y="371"/>
                      </a:lnTo>
                      <a:lnTo>
                        <a:pt x="1038" y="376"/>
                      </a:lnTo>
                      <a:lnTo>
                        <a:pt x="1054" y="383"/>
                      </a:lnTo>
                      <a:lnTo>
                        <a:pt x="1070" y="390"/>
                      </a:lnTo>
                      <a:lnTo>
                        <a:pt x="1085" y="398"/>
                      </a:lnTo>
                      <a:lnTo>
                        <a:pt x="1098" y="408"/>
                      </a:lnTo>
                      <a:lnTo>
                        <a:pt x="1112" y="417"/>
                      </a:lnTo>
                      <a:lnTo>
                        <a:pt x="1124" y="428"/>
                      </a:lnTo>
                      <a:lnTo>
                        <a:pt x="1135" y="439"/>
                      </a:lnTo>
                      <a:lnTo>
                        <a:pt x="1146" y="451"/>
                      </a:lnTo>
                      <a:lnTo>
                        <a:pt x="1155" y="463"/>
                      </a:lnTo>
                      <a:lnTo>
                        <a:pt x="1165" y="477"/>
                      </a:lnTo>
                      <a:lnTo>
                        <a:pt x="1172" y="491"/>
                      </a:lnTo>
                      <a:lnTo>
                        <a:pt x="1180" y="505"/>
                      </a:lnTo>
                      <a:lnTo>
                        <a:pt x="1187" y="521"/>
                      </a:lnTo>
                      <a:lnTo>
                        <a:pt x="1193" y="537"/>
                      </a:lnTo>
                      <a:lnTo>
                        <a:pt x="1198" y="553"/>
                      </a:lnTo>
                      <a:lnTo>
                        <a:pt x="1204" y="569"/>
                      </a:lnTo>
                      <a:lnTo>
                        <a:pt x="1208" y="587"/>
                      </a:lnTo>
                      <a:lnTo>
                        <a:pt x="1211" y="604"/>
                      </a:lnTo>
                      <a:lnTo>
                        <a:pt x="1217" y="641"/>
                      </a:lnTo>
                      <a:lnTo>
                        <a:pt x="1220" y="678"/>
                      </a:lnTo>
                      <a:lnTo>
                        <a:pt x="1223" y="717"/>
                      </a:lnTo>
                      <a:lnTo>
                        <a:pt x="1224" y="758"/>
                      </a:lnTo>
                      <a:lnTo>
                        <a:pt x="1224" y="973"/>
                      </a:lnTo>
                      <a:lnTo>
                        <a:pt x="1128" y="976"/>
                      </a:lnTo>
                      <a:lnTo>
                        <a:pt x="1028" y="982"/>
                      </a:lnTo>
                      <a:lnTo>
                        <a:pt x="978" y="985"/>
                      </a:lnTo>
                      <a:lnTo>
                        <a:pt x="926" y="991"/>
                      </a:lnTo>
                      <a:lnTo>
                        <a:pt x="875" y="996"/>
                      </a:lnTo>
                      <a:lnTo>
                        <a:pt x="823" y="1002"/>
                      </a:lnTo>
                      <a:lnTo>
                        <a:pt x="772" y="1009"/>
                      </a:lnTo>
                      <a:lnTo>
                        <a:pt x="720" y="1018"/>
                      </a:lnTo>
                      <a:lnTo>
                        <a:pt x="669" y="1028"/>
                      </a:lnTo>
                      <a:lnTo>
                        <a:pt x="618" y="1040"/>
                      </a:lnTo>
                      <a:lnTo>
                        <a:pt x="569" y="1052"/>
                      </a:lnTo>
                      <a:lnTo>
                        <a:pt x="519" y="1067"/>
                      </a:lnTo>
                      <a:lnTo>
                        <a:pt x="472" y="1084"/>
                      </a:lnTo>
                      <a:lnTo>
                        <a:pt x="426" y="1102"/>
                      </a:lnTo>
                      <a:lnTo>
                        <a:pt x="381" y="1122"/>
                      </a:lnTo>
                      <a:lnTo>
                        <a:pt x="337" y="1144"/>
                      </a:lnTo>
                      <a:lnTo>
                        <a:pt x="295" y="1168"/>
                      </a:lnTo>
                      <a:lnTo>
                        <a:pt x="256" y="1193"/>
                      </a:lnTo>
                      <a:lnTo>
                        <a:pt x="219" y="1222"/>
                      </a:lnTo>
                      <a:lnTo>
                        <a:pt x="184" y="1253"/>
                      </a:lnTo>
                      <a:lnTo>
                        <a:pt x="151" y="1286"/>
                      </a:lnTo>
                      <a:lnTo>
                        <a:pt x="121" y="1322"/>
                      </a:lnTo>
                      <a:lnTo>
                        <a:pt x="95" y="1360"/>
                      </a:lnTo>
                      <a:lnTo>
                        <a:pt x="70" y="1401"/>
                      </a:lnTo>
                      <a:lnTo>
                        <a:pt x="49" y="1445"/>
                      </a:lnTo>
                      <a:lnTo>
                        <a:pt x="33" y="1493"/>
                      </a:lnTo>
                      <a:lnTo>
                        <a:pt x="18" y="1542"/>
                      </a:lnTo>
                      <a:lnTo>
                        <a:pt x="8" y="1595"/>
                      </a:lnTo>
                      <a:lnTo>
                        <a:pt x="2" y="1652"/>
                      </a:lnTo>
                      <a:lnTo>
                        <a:pt x="0" y="1712"/>
                      </a:lnTo>
                      <a:lnTo>
                        <a:pt x="1" y="1746"/>
                      </a:lnTo>
                      <a:lnTo>
                        <a:pt x="3" y="1780"/>
                      </a:lnTo>
                      <a:lnTo>
                        <a:pt x="7" y="1811"/>
                      </a:lnTo>
                      <a:lnTo>
                        <a:pt x="14" y="1843"/>
                      </a:lnTo>
                      <a:lnTo>
                        <a:pt x="21" y="1873"/>
                      </a:lnTo>
                      <a:lnTo>
                        <a:pt x="29" y="1902"/>
                      </a:lnTo>
                      <a:lnTo>
                        <a:pt x="40" y="1931"/>
                      </a:lnTo>
                      <a:lnTo>
                        <a:pt x="52" y="1958"/>
                      </a:lnTo>
                      <a:lnTo>
                        <a:pt x="64" y="1984"/>
                      </a:lnTo>
                      <a:lnTo>
                        <a:pt x="79" y="2009"/>
                      </a:lnTo>
                      <a:lnTo>
                        <a:pt x="95" y="2033"/>
                      </a:lnTo>
                      <a:lnTo>
                        <a:pt x="111" y="2057"/>
                      </a:lnTo>
                      <a:lnTo>
                        <a:pt x="129" y="2079"/>
                      </a:lnTo>
                      <a:lnTo>
                        <a:pt x="149" y="2099"/>
                      </a:lnTo>
                      <a:lnTo>
                        <a:pt x="169" y="2119"/>
                      </a:lnTo>
                      <a:lnTo>
                        <a:pt x="191" y="2137"/>
                      </a:lnTo>
                      <a:lnTo>
                        <a:pt x="213" y="2155"/>
                      </a:lnTo>
                      <a:lnTo>
                        <a:pt x="237" y="2172"/>
                      </a:lnTo>
                      <a:lnTo>
                        <a:pt x="262" y="2188"/>
                      </a:lnTo>
                      <a:lnTo>
                        <a:pt x="287" y="2201"/>
                      </a:lnTo>
                      <a:lnTo>
                        <a:pt x="312" y="2215"/>
                      </a:lnTo>
                      <a:lnTo>
                        <a:pt x="340" y="2227"/>
                      </a:lnTo>
                      <a:lnTo>
                        <a:pt x="367" y="2238"/>
                      </a:lnTo>
                      <a:lnTo>
                        <a:pt x="396" y="2247"/>
                      </a:lnTo>
                      <a:lnTo>
                        <a:pt x="425" y="2257"/>
                      </a:lnTo>
                      <a:lnTo>
                        <a:pt x="455" y="2264"/>
                      </a:lnTo>
                      <a:lnTo>
                        <a:pt x="485" y="2270"/>
                      </a:lnTo>
                      <a:lnTo>
                        <a:pt x="516" y="2276"/>
                      </a:lnTo>
                      <a:lnTo>
                        <a:pt x="548" y="2280"/>
                      </a:lnTo>
                      <a:lnTo>
                        <a:pt x="579" y="2283"/>
                      </a:lnTo>
                      <a:lnTo>
                        <a:pt x="612" y="2284"/>
                      </a:lnTo>
                      <a:lnTo>
                        <a:pt x="644" y="2285"/>
                      </a:lnTo>
                      <a:lnTo>
                        <a:pt x="689" y="2284"/>
                      </a:lnTo>
                      <a:lnTo>
                        <a:pt x="733" y="2281"/>
                      </a:lnTo>
                      <a:lnTo>
                        <a:pt x="755" y="2279"/>
                      </a:lnTo>
                      <a:lnTo>
                        <a:pt x="776" y="2277"/>
                      </a:lnTo>
                      <a:lnTo>
                        <a:pt x="797" y="2273"/>
                      </a:lnTo>
                      <a:lnTo>
                        <a:pt x="819" y="2269"/>
                      </a:lnTo>
                      <a:lnTo>
                        <a:pt x="839" y="2265"/>
                      </a:lnTo>
                      <a:lnTo>
                        <a:pt x="860" y="2260"/>
                      </a:lnTo>
                      <a:lnTo>
                        <a:pt x="880" y="2255"/>
                      </a:lnTo>
                      <a:lnTo>
                        <a:pt x="901" y="2248"/>
                      </a:lnTo>
                      <a:lnTo>
                        <a:pt x="920" y="2242"/>
                      </a:lnTo>
                      <a:lnTo>
                        <a:pt x="940" y="2235"/>
                      </a:lnTo>
                      <a:lnTo>
                        <a:pt x="959" y="2226"/>
                      </a:lnTo>
                      <a:lnTo>
                        <a:pt x="978" y="2218"/>
                      </a:lnTo>
                      <a:lnTo>
                        <a:pt x="995" y="2208"/>
                      </a:lnTo>
                      <a:lnTo>
                        <a:pt x="1013" y="2199"/>
                      </a:lnTo>
                      <a:lnTo>
                        <a:pt x="1031" y="2189"/>
                      </a:lnTo>
                      <a:lnTo>
                        <a:pt x="1048" y="2177"/>
                      </a:lnTo>
                      <a:lnTo>
                        <a:pt x="1065" y="2164"/>
                      </a:lnTo>
                      <a:lnTo>
                        <a:pt x="1082" y="2152"/>
                      </a:lnTo>
                      <a:lnTo>
                        <a:pt x="1097" y="2138"/>
                      </a:lnTo>
                      <a:lnTo>
                        <a:pt x="1112" y="2125"/>
                      </a:lnTo>
                      <a:lnTo>
                        <a:pt x="1127" y="2110"/>
                      </a:lnTo>
                      <a:lnTo>
                        <a:pt x="1142" y="2094"/>
                      </a:lnTo>
                      <a:lnTo>
                        <a:pt x="1155" y="2077"/>
                      </a:lnTo>
                      <a:lnTo>
                        <a:pt x="1168" y="2060"/>
                      </a:lnTo>
                      <a:lnTo>
                        <a:pt x="1180" y="2042"/>
                      </a:lnTo>
                      <a:lnTo>
                        <a:pt x="1192" y="2023"/>
                      </a:lnTo>
                      <a:lnTo>
                        <a:pt x="1204" y="2003"/>
                      </a:lnTo>
                      <a:lnTo>
                        <a:pt x="1214" y="1982"/>
                      </a:lnTo>
                      <a:lnTo>
                        <a:pt x="1224" y="1982"/>
                      </a:lnTo>
                      <a:lnTo>
                        <a:pt x="1224" y="2235"/>
                      </a:lnTo>
                      <a:lnTo>
                        <a:pt x="1711" y="2235"/>
                      </a:lnTo>
                      <a:close/>
                      <a:moveTo>
                        <a:pt x="1224" y="1272"/>
                      </a:moveTo>
                      <a:lnTo>
                        <a:pt x="1224" y="1298"/>
                      </a:lnTo>
                      <a:lnTo>
                        <a:pt x="1223" y="1325"/>
                      </a:lnTo>
                      <a:lnTo>
                        <a:pt x="1220" y="1352"/>
                      </a:lnTo>
                      <a:lnTo>
                        <a:pt x="1218" y="1379"/>
                      </a:lnTo>
                      <a:lnTo>
                        <a:pt x="1215" y="1408"/>
                      </a:lnTo>
                      <a:lnTo>
                        <a:pt x="1211" y="1436"/>
                      </a:lnTo>
                      <a:lnTo>
                        <a:pt x="1206" y="1463"/>
                      </a:lnTo>
                      <a:lnTo>
                        <a:pt x="1200" y="1492"/>
                      </a:lnTo>
                      <a:lnTo>
                        <a:pt x="1194" y="1520"/>
                      </a:lnTo>
                      <a:lnTo>
                        <a:pt x="1187" y="1547"/>
                      </a:lnTo>
                      <a:lnTo>
                        <a:pt x="1178" y="1574"/>
                      </a:lnTo>
                      <a:lnTo>
                        <a:pt x="1169" y="1602"/>
                      </a:lnTo>
                      <a:lnTo>
                        <a:pt x="1159" y="1628"/>
                      </a:lnTo>
                      <a:lnTo>
                        <a:pt x="1148" y="1654"/>
                      </a:lnTo>
                      <a:lnTo>
                        <a:pt x="1136" y="1679"/>
                      </a:lnTo>
                      <a:lnTo>
                        <a:pt x="1124" y="1704"/>
                      </a:lnTo>
                      <a:lnTo>
                        <a:pt x="1110" y="1727"/>
                      </a:lnTo>
                      <a:lnTo>
                        <a:pt x="1095" y="1750"/>
                      </a:lnTo>
                      <a:lnTo>
                        <a:pt x="1079" y="1772"/>
                      </a:lnTo>
                      <a:lnTo>
                        <a:pt x="1062" y="1793"/>
                      </a:lnTo>
                      <a:lnTo>
                        <a:pt x="1044" y="1813"/>
                      </a:lnTo>
                      <a:lnTo>
                        <a:pt x="1025" y="1831"/>
                      </a:lnTo>
                      <a:lnTo>
                        <a:pt x="1004" y="1849"/>
                      </a:lnTo>
                      <a:lnTo>
                        <a:pt x="983" y="1864"/>
                      </a:lnTo>
                      <a:lnTo>
                        <a:pt x="961" y="1878"/>
                      </a:lnTo>
                      <a:lnTo>
                        <a:pt x="937" y="1891"/>
                      </a:lnTo>
                      <a:lnTo>
                        <a:pt x="911" y="1901"/>
                      </a:lnTo>
                      <a:lnTo>
                        <a:pt x="885" y="1911"/>
                      </a:lnTo>
                      <a:lnTo>
                        <a:pt x="858" y="1918"/>
                      </a:lnTo>
                      <a:lnTo>
                        <a:pt x="829" y="1923"/>
                      </a:lnTo>
                      <a:lnTo>
                        <a:pt x="799" y="1927"/>
                      </a:lnTo>
                      <a:lnTo>
                        <a:pt x="768" y="1928"/>
                      </a:lnTo>
                      <a:lnTo>
                        <a:pt x="753" y="1927"/>
                      </a:lnTo>
                      <a:lnTo>
                        <a:pt x="737" y="1927"/>
                      </a:lnTo>
                      <a:lnTo>
                        <a:pt x="722" y="1924"/>
                      </a:lnTo>
                      <a:lnTo>
                        <a:pt x="707" y="1923"/>
                      </a:lnTo>
                      <a:lnTo>
                        <a:pt x="694" y="1921"/>
                      </a:lnTo>
                      <a:lnTo>
                        <a:pt x="680" y="1918"/>
                      </a:lnTo>
                      <a:lnTo>
                        <a:pt x="666" y="1915"/>
                      </a:lnTo>
                      <a:lnTo>
                        <a:pt x="654" y="1911"/>
                      </a:lnTo>
                      <a:lnTo>
                        <a:pt x="641" y="1907"/>
                      </a:lnTo>
                      <a:lnTo>
                        <a:pt x="630" y="1901"/>
                      </a:lnTo>
                      <a:lnTo>
                        <a:pt x="618" y="1896"/>
                      </a:lnTo>
                      <a:lnTo>
                        <a:pt x="608" y="1890"/>
                      </a:lnTo>
                      <a:lnTo>
                        <a:pt x="597" y="1884"/>
                      </a:lnTo>
                      <a:lnTo>
                        <a:pt x="587" y="1877"/>
                      </a:lnTo>
                      <a:lnTo>
                        <a:pt x="577" y="1870"/>
                      </a:lnTo>
                      <a:lnTo>
                        <a:pt x="569" y="1862"/>
                      </a:lnTo>
                      <a:lnTo>
                        <a:pt x="560" y="1853"/>
                      </a:lnTo>
                      <a:lnTo>
                        <a:pt x="552" y="1845"/>
                      </a:lnTo>
                      <a:lnTo>
                        <a:pt x="545" y="1835"/>
                      </a:lnTo>
                      <a:lnTo>
                        <a:pt x="538" y="1825"/>
                      </a:lnTo>
                      <a:lnTo>
                        <a:pt x="531" y="1814"/>
                      </a:lnTo>
                      <a:lnTo>
                        <a:pt x="526" y="1804"/>
                      </a:lnTo>
                      <a:lnTo>
                        <a:pt x="520" y="1792"/>
                      </a:lnTo>
                      <a:lnTo>
                        <a:pt x="515" y="1780"/>
                      </a:lnTo>
                      <a:lnTo>
                        <a:pt x="511" y="1767"/>
                      </a:lnTo>
                      <a:lnTo>
                        <a:pt x="507" y="1755"/>
                      </a:lnTo>
                      <a:lnTo>
                        <a:pt x="504" y="1741"/>
                      </a:lnTo>
                      <a:lnTo>
                        <a:pt x="501" y="1726"/>
                      </a:lnTo>
                      <a:lnTo>
                        <a:pt x="499" y="1713"/>
                      </a:lnTo>
                      <a:lnTo>
                        <a:pt x="498" y="1697"/>
                      </a:lnTo>
                      <a:lnTo>
                        <a:pt x="497" y="1681"/>
                      </a:lnTo>
                      <a:lnTo>
                        <a:pt x="497" y="1666"/>
                      </a:lnTo>
                      <a:lnTo>
                        <a:pt x="498" y="1635"/>
                      </a:lnTo>
                      <a:lnTo>
                        <a:pt x="502" y="1607"/>
                      </a:lnTo>
                      <a:lnTo>
                        <a:pt x="509" y="1580"/>
                      </a:lnTo>
                      <a:lnTo>
                        <a:pt x="518" y="1553"/>
                      </a:lnTo>
                      <a:lnTo>
                        <a:pt x="530" y="1529"/>
                      </a:lnTo>
                      <a:lnTo>
                        <a:pt x="542" y="1506"/>
                      </a:lnTo>
                      <a:lnTo>
                        <a:pt x="558" y="1485"/>
                      </a:lnTo>
                      <a:lnTo>
                        <a:pt x="576" y="1464"/>
                      </a:lnTo>
                      <a:lnTo>
                        <a:pt x="595" y="1445"/>
                      </a:lnTo>
                      <a:lnTo>
                        <a:pt x="616" y="1428"/>
                      </a:lnTo>
                      <a:lnTo>
                        <a:pt x="639" y="1411"/>
                      </a:lnTo>
                      <a:lnTo>
                        <a:pt x="662" y="1396"/>
                      </a:lnTo>
                      <a:lnTo>
                        <a:pt x="687" y="1382"/>
                      </a:lnTo>
                      <a:lnTo>
                        <a:pt x="714" y="1368"/>
                      </a:lnTo>
                      <a:lnTo>
                        <a:pt x="741" y="1356"/>
                      </a:lnTo>
                      <a:lnTo>
                        <a:pt x="768" y="1345"/>
                      </a:lnTo>
                      <a:lnTo>
                        <a:pt x="798" y="1334"/>
                      </a:lnTo>
                      <a:lnTo>
                        <a:pt x="826" y="1325"/>
                      </a:lnTo>
                      <a:lnTo>
                        <a:pt x="857" y="1317"/>
                      </a:lnTo>
                      <a:lnTo>
                        <a:pt x="886" y="1309"/>
                      </a:lnTo>
                      <a:lnTo>
                        <a:pt x="917" y="1302"/>
                      </a:lnTo>
                      <a:lnTo>
                        <a:pt x="947" y="1297"/>
                      </a:lnTo>
                      <a:lnTo>
                        <a:pt x="978" y="1291"/>
                      </a:lnTo>
                      <a:lnTo>
                        <a:pt x="1007" y="1286"/>
                      </a:lnTo>
                      <a:lnTo>
                        <a:pt x="1066" y="1279"/>
                      </a:lnTo>
                      <a:lnTo>
                        <a:pt x="1123" y="1275"/>
                      </a:lnTo>
                      <a:lnTo>
                        <a:pt x="1175" y="1272"/>
                      </a:lnTo>
                      <a:lnTo>
                        <a:pt x="1224" y="1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1" name="Freeform 6"/>
                <p:cNvSpPr>
                  <a:spLocks/>
                </p:cNvSpPr>
                <p:nvPr userDrawn="1"/>
              </p:nvSpPr>
              <p:spPr bwMode="auto">
                <a:xfrm>
                  <a:off x="1211263" y="2555875"/>
                  <a:ext cx="265112" cy="330200"/>
                </a:xfrm>
                <a:custGeom>
                  <a:avLst/>
                  <a:gdLst/>
                  <a:ahLst/>
                  <a:cxnLst>
                    <a:cxn ang="0">
                      <a:pos x="1287"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2" y="497"/>
                    </a:cxn>
                    <a:cxn ang="0">
                      <a:pos x="619" y="581"/>
                    </a:cxn>
                    <a:cxn ang="0">
                      <a:pos x="582" y="676"/>
                    </a:cxn>
                    <a:cxn ang="0">
                      <a:pos x="558" y="777"/>
                    </a:cxn>
                    <a:cxn ang="0">
                      <a:pos x="546" y="880"/>
                    </a:cxn>
                    <a:cxn ang="0">
                      <a:pos x="544" y="1006"/>
                    </a:cxn>
                    <a:cxn ang="0">
                      <a:pos x="566" y="1202"/>
                    </a:cxn>
                    <a:cxn ang="0">
                      <a:pos x="617" y="1383"/>
                    </a:cxn>
                    <a:cxn ang="0">
                      <a:pos x="698" y="1543"/>
                    </a:cxn>
                    <a:cxn ang="0">
                      <a:pos x="805" y="1679"/>
                    </a:cxn>
                    <a:cxn ang="0">
                      <a:pos x="941" y="1789"/>
                    </a:cxn>
                    <a:cxn ang="0">
                      <a:pos x="1102" y="1870"/>
                    </a:cxn>
                    <a:cxn ang="0">
                      <a:pos x="1288" y="1916"/>
                    </a:cxn>
                    <a:cxn ang="0">
                      <a:pos x="1491" y="1927"/>
                    </a:cxn>
                    <a:cxn ang="0">
                      <a:pos x="1653" y="1912"/>
                    </a:cxn>
                    <a:cxn ang="0">
                      <a:pos x="1745" y="1893"/>
                    </a:cxn>
                    <a:cxn ang="0">
                      <a:pos x="1812" y="2184"/>
                    </a:cxn>
                    <a:cxn ang="0">
                      <a:pos x="1656" y="2227"/>
                    </a:cxn>
                    <a:cxn ang="0">
                      <a:pos x="1496" y="2259"/>
                    </a:cxn>
                    <a:cxn ang="0">
                      <a:pos x="1335" y="2279"/>
                    </a:cxn>
                    <a:cxn ang="0">
                      <a:pos x="1173" y="2285"/>
                    </a:cxn>
                    <a:cxn ang="0">
                      <a:pos x="898" y="2263"/>
                    </a:cxn>
                    <a:cxn ang="0">
                      <a:pos x="659" y="2199"/>
                    </a:cxn>
                    <a:cxn ang="0">
                      <a:pos x="458" y="2094"/>
                    </a:cxn>
                    <a:cxn ang="0">
                      <a:pos x="293" y="1952"/>
                    </a:cxn>
                    <a:cxn ang="0">
                      <a:pos x="165" y="1772"/>
                    </a:cxn>
                    <a:cxn ang="0">
                      <a:pos x="73" y="1561"/>
                    </a:cxn>
                    <a:cxn ang="0">
                      <a:pos x="18" y="1319"/>
                    </a:cxn>
                    <a:cxn ang="0">
                      <a:pos x="0" y="1046"/>
                    </a:cxn>
                    <a:cxn ang="0">
                      <a:pos x="16" y="820"/>
                    </a:cxn>
                    <a:cxn ang="0">
                      <a:pos x="64" y="616"/>
                    </a:cxn>
                    <a:cxn ang="0">
                      <a:pos x="144" y="437"/>
                    </a:cxn>
                    <a:cxn ang="0">
                      <a:pos x="255" y="286"/>
                    </a:cxn>
                    <a:cxn ang="0">
                      <a:pos x="396" y="165"/>
                    </a:cxn>
                    <a:cxn ang="0">
                      <a:pos x="569" y="75"/>
                    </a:cxn>
                    <a:cxn ang="0">
                      <a:pos x="771" y="19"/>
                    </a:cxn>
                    <a:cxn ang="0">
                      <a:pos x="1003" y="0"/>
                    </a:cxn>
                    <a:cxn ang="0">
                      <a:pos x="1192" y="13"/>
                    </a:cxn>
                    <a:cxn ang="0">
                      <a:pos x="1358" y="49"/>
                    </a:cxn>
                    <a:cxn ang="0">
                      <a:pos x="1501" y="111"/>
                    </a:cxn>
                    <a:cxn ang="0">
                      <a:pos x="1619" y="198"/>
                    </a:cxn>
                    <a:cxn ang="0">
                      <a:pos x="1713" y="310"/>
                    </a:cxn>
                    <a:cxn ang="0">
                      <a:pos x="1781" y="448"/>
                    </a:cxn>
                    <a:cxn ang="0">
                      <a:pos x="1822" y="610"/>
                    </a:cxn>
                    <a:cxn ang="0">
                      <a:pos x="1836" y="799"/>
                    </a:cxn>
                  </a:cxnLst>
                  <a:rect l="0" t="0" r="r" b="b"/>
                  <a:pathLst>
                    <a:path w="1836" h="2285">
                      <a:moveTo>
                        <a:pt x="1293" y="799"/>
                      </a:moveTo>
                      <a:lnTo>
                        <a:pt x="1292" y="757"/>
                      </a:lnTo>
                      <a:lnTo>
                        <a:pt x="1289" y="715"/>
                      </a:lnTo>
                      <a:lnTo>
                        <a:pt x="1287" y="695"/>
                      </a:lnTo>
                      <a:lnTo>
                        <a:pt x="1285" y="675"/>
                      </a:lnTo>
                      <a:lnTo>
                        <a:pt x="1282" y="655"/>
                      </a:lnTo>
                      <a:lnTo>
                        <a:pt x="1278" y="635"/>
                      </a:lnTo>
                      <a:lnTo>
                        <a:pt x="1274" y="616"/>
                      </a:lnTo>
                      <a:lnTo>
                        <a:pt x="1270" y="598"/>
                      </a:lnTo>
                      <a:lnTo>
                        <a:pt x="1264" y="579"/>
                      </a:lnTo>
                      <a:lnTo>
                        <a:pt x="1258" y="561"/>
                      </a:lnTo>
                      <a:lnTo>
                        <a:pt x="1251" y="543"/>
                      </a:lnTo>
                      <a:lnTo>
                        <a:pt x="1244" y="526"/>
                      </a:lnTo>
                      <a:lnTo>
                        <a:pt x="1236" y="511"/>
                      </a:lnTo>
                      <a:lnTo>
                        <a:pt x="1227" y="494"/>
                      </a:lnTo>
                      <a:lnTo>
                        <a:pt x="1217" y="479"/>
                      </a:lnTo>
                      <a:lnTo>
                        <a:pt x="1207" y="464"/>
                      </a:lnTo>
                      <a:lnTo>
                        <a:pt x="1195" y="452"/>
                      </a:lnTo>
                      <a:lnTo>
                        <a:pt x="1184" y="438"/>
                      </a:lnTo>
                      <a:lnTo>
                        <a:pt x="1170" y="427"/>
                      </a:lnTo>
                      <a:lnTo>
                        <a:pt x="1156" y="415"/>
                      </a:lnTo>
                      <a:lnTo>
                        <a:pt x="1142" y="405"/>
                      </a:lnTo>
                      <a:lnTo>
                        <a:pt x="1126" y="395"/>
                      </a:lnTo>
                      <a:lnTo>
                        <a:pt x="1109" y="387"/>
                      </a:lnTo>
                      <a:lnTo>
                        <a:pt x="1091" y="380"/>
                      </a:lnTo>
                      <a:lnTo>
                        <a:pt x="1072" y="373"/>
                      </a:lnTo>
                      <a:lnTo>
                        <a:pt x="1052" y="368"/>
                      </a:lnTo>
                      <a:lnTo>
                        <a:pt x="1031" y="364"/>
                      </a:lnTo>
                      <a:lnTo>
                        <a:pt x="1009" y="361"/>
                      </a:lnTo>
                      <a:lnTo>
                        <a:pt x="986" y="359"/>
                      </a:lnTo>
                      <a:lnTo>
                        <a:pt x="962" y="359"/>
                      </a:lnTo>
                      <a:lnTo>
                        <a:pt x="931" y="360"/>
                      </a:lnTo>
                      <a:lnTo>
                        <a:pt x="904" y="362"/>
                      </a:lnTo>
                      <a:lnTo>
                        <a:pt x="877" y="367"/>
                      </a:lnTo>
                      <a:lnTo>
                        <a:pt x="851" y="373"/>
                      </a:lnTo>
                      <a:lnTo>
                        <a:pt x="826" y="382"/>
                      </a:lnTo>
                      <a:lnTo>
                        <a:pt x="803" y="391"/>
                      </a:lnTo>
                      <a:lnTo>
                        <a:pt x="781" y="403"/>
                      </a:lnTo>
                      <a:lnTo>
                        <a:pt x="760" y="415"/>
                      </a:lnTo>
                      <a:lnTo>
                        <a:pt x="740" y="429"/>
                      </a:lnTo>
                      <a:lnTo>
                        <a:pt x="721" y="445"/>
                      </a:lnTo>
                      <a:lnTo>
                        <a:pt x="704" y="460"/>
                      </a:lnTo>
                      <a:lnTo>
                        <a:pt x="688" y="478"/>
                      </a:lnTo>
                      <a:lnTo>
                        <a:pt x="672" y="497"/>
                      </a:lnTo>
                      <a:lnTo>
                        <a:pt x="657" y="517"/>
                      </a:lnTo>
                      <a:lnTo>
                        <a:pt x="643" y="537"/>
                      </a:lnTo>
                      <a:lnTo>
                        <a:pt x="631" y="559"/>
                      </a:lnTo>
                      <a:lnTo>
                        <a:pt x="619" y="581"/>
                      </a:lnTo>
                      <a:lnTo>
                        <a:pt x="609" y="604"/>
                      </a:lnTo>
                      <a:lnTo>
                        <a:pt x="599" y="627"/>
                      </a:lnTo>
                      <a:lnTo>
                        <a:pt x="590" y="651"/>
                      </a:lnTo>
                      <a:lnTo>
                        <a:pt x="582" y="676"/>
                      </a:lnTo>
                      <a:lnTo>
                        <a:pt x="575" y="700"/>
                      </a:lnTo>
                      <a:lnTo>
                        <a:pt x="569" y="725"/>
                      </a:lnTo>
                      <a:lnTo>
                        <a:pt x="563" y="752"/>
                      </a:lnTo>
                      <a:lnTo>
                        <a:pt x="558" y="777"/>
                      </a:lnTo>
                      <a:lnTo>
                        <a:pt x="554" y="803"/>
                      </a:lnTo>
                      <a:lnTo>
                        <a:pt x="550" y="828"/>
                      </a:lnTo>
                      <a:lnTo>
                        <a:pt x="548" y="854"/>
                      </a:lnTo>
                      <a:lnTo>
                        <a:pt x="546" y="880"/>
                      </a:lnTo>
                      <a:lnTo>
                        <a:pt x="544" y="905"/>
                      </a:lnTo>
                      <a:lnTo>
                        <a:pt x="543" y="930"/>
                      </a:lnTo>
                      <a:lnTo>
                        <a:pt x="543" y="955"/>
                      </a:lnTo>
                      <a:lnTo>
                        <a:pt x="544" y="1006"/>
                      </a:lnTo>
                      <a:lnTo>
                        <a:pt x="547" y="1057"/>
                      </a:lnTo>
                      <a:lnTo>
                        <a:pt x="551" y="1106"/>
                      </a:lnTo>
                      <a:lnTo>
                        <a:pt x="557" y="1155"/>
                      </a:lnTo>
                      <a:lnTo>
                        <a:pt x="566" y="1202"/>
                      </a:lnTo>
                      <a:lnTo>
                        <a:pt x="576" y="1250"/>
                      </a:lnTo>
                      <a:lnTo>
                        <a:pt x="588" y="1295"/>
                      </a:lnTo>
                      <a:lnTo>
                        <a:pt x="602" y="1339"/>
                      </a:lnTo>
                      <a:lnTo>
                        <a:pt x="617" y="1383"/>
                      </a:lnTo>
                      <a:lnTo>
                        <a:pt x="635" y="1425"/>
                      </a:lnTo>
                      <a:lnTo>
                        <a:pt x="654" y="1465"/>
                      </a:lnTo>
                      <a:lnTo>
                        <a:pt x="675" y="1504"/>
                      </a:lnTo>
                      <a:lnTo>
                        <a:pt x="698" y="1543"/>
                      </a:lnTo>
                      <a:lnTo>
                        <a:pt x="722" y="1579"/>
                      </a:lnTo>
                      <a:lnTo>
                        <a:pt x="749" y="1614"/>
                      </a:lnTo>
                      <a:lnTo>
                        <a:pt x="776" y="1648"/>
                      </a:lnTo>
                      <a:lnTo>
                        <a:pt x="805" y="1679"/>
                      </a:lnTo>
                      <a:lnTo>
                        <a:pt x="837" y="1710"/>
                      </a:lnTo>
                      <a:lnTo>
                        <a:pt x="869" y="1738"/>
                      </a:lnTo>
                      <a:lnTo>
                        <a:pt x="904" y="1765"/>
                      </a:lnTo>
                      <a:lnTo>
                        <a:pt x="941" y="1789"/>
                      </a:lnTo>
                      <a:lnTo>
                        <a:pt x="979" y="1812"/>
                      </a:lnTo>
                      <a:lnTo>
                        <a:pt x="1018" y="1833"/>
                      </a:lnTo>
                      <a:lnTo>
                        <a:pt x="1059" y="1853"/>
                      </a:lnTo>
                      <a:lnTo>
                        <a:pt x="1102" y="1870"/>
                      </a:lnTo>
                      <a:lnTo>
                        <a:pt x="1146" y="1885"/>
                      </a:lnTo>
                      <a:lnTo>
                        <a:pt x="1192" y="1897"/>
                      </a:lnTo>
                      <a:lnTo>
                        <a:pt x="1239" y="1908"/>
                      </a:lnTo>
                      <a:lnTo>
                        <a:pt x="1288" y="1916"/>
                      </a:lnTo>
                      <a:lnTo>
                        <a:pt x="1338" y="1922"/>
                      </a:lnTo>
                      <a:lnTo>
                        <a:pt x="1391" y="1926"/>
                      </a:lnTo>
                      <a:lnTo>
                        <a:pt x="1444" y="1928"/>
                      </a:lnTo>
                      <a:lnTo>
                        <a:pt x="1491" y="1927"/>
                      </a:lnTo>
                      <a:lnTo>
                        <a:pt x="1537" y="1924"/>
                      </a:lnTo>
                      <a:lnTo>
                        <a:pt x="1584" y="1920"/>
                      </a:lnTo>
                      <a:lnTo>
                        <a:pt x="1631" y="1915"/>
                      </a:lnTo>
                      <a:lnTo>
                        <a:pt x="1653" y="1912"/>
                      </a:lnTo>
                      <a:lnTo>
                        <a:pt x="1676" y="1908"/>
                      </a:lnTo>
                      <a:lnTo>
                        <a:pt x="1699" y="1904"/>
                      </a:lnTo>
                      <a:lnTo>
                        <a:pt x="1722" y="1898"/>
                      </a:lnTo>
                      <a:lnTo>
                        <a:pt x="1745" y="1893"/>
                      </a:lnTo>
                      <a:lnTo>
                        <a:pt x="1767" y="1887"/>
                      </a:lnTo>
                      <a:lnTo>
                        <a:pt x="1790" y="1879"/>
                      </a:lnTo>
                      <a:lnTo>
                        <a:pt x="1812" y="1872"/>
                      </a:lnTo>
                      <a:lnTo>
                        <a:pt x="1812" y="2184"/>
                      </a:lnTo>
                      <a:lnTo>
                        <a:pt x="1773" y="2196"/>
                      </a:lnTo>
                      <a:lnTo>
                        <a:pt x="1735" y="2207"/>
                      </a:lnTo>
                      <a:lnTo>
                        <a:pt x="1695" y="2217"/>
                      </a:lnTo>
                      <a:lnTo>
                        <a:pt x="1656" y="2227"/>
                      </a:lnTo>
                      <a:lnTo>
                        <a:pt x="1616" y="2236"/>
                      </a:lnTo>
                      <a:lnTo>
                        <a:pt x="1576" y="2244"/>
                      </a:lnTo>
                      <a:lnTo>
                        <a:pt x="1536" y="2251"/>
                      </a:lnTo>
                      <a:lnTo>
                        <a:pt x="1496" y="2259"/>
                      </a:lnTo>
                      <a:lnTo>
                        <a:pt x="1456" y="2265"/>
                      </a:lnTo>
                      <a:lnTo>
                        <a:pt x="1416" y="2270"/>
                      </a:lnTo>
                      <a:lnTo>
                        <a:pt x="1375" y="2275"/>
                      </a:lnTo>
                      <a:lnTo>
                        <a:pt x="1335" y="2279"/>
                      </a:lnTo>
                      <a:lnTo>
                        <a:pt x="1294" y="2281"/>
                      </a:lnTo>
                      <a:lnTo>
                        <a:pt x="1254" y="2283"/>
                      </a:lnTo>
                      <a:lnTo>
                        <a:pt x="1213" y="2285"/>
                      </a:lnTo>
                      <a:lnTo>
                        <a:pt x="1173" y="2285"/>
                      </a:lnTo>
                      <a:lnTo>
                        <a:pt x="1101" y="2284"/>
                      </a:lnTo>
                      <a:lnTo>
                        <a:pt x="1031" y="2280"/>
                      </a:lnTo>
                      <a:lnTo>
                        <a:pt x="963" y="2272"/>
                      </a:lnTo>
                      <a:lnTo>
                        <a:pt x="898" y="2263"/>
                      </a:lnTo>
                      <a:lnTo>
                        <a:pt x="835" y="2250"/>
                      </a:lnTo>
                      <a:lnTo>
                        <a:pt x="774" y="2236"/>
                      </a:lnTo>
                      <a:lnTo>
                        <a:pt x="716" y="2219"/>
                      </a:lnTo>
                      <a:lnTo>
                        <a:pt x="659" y="2199"/>
                      </a:lnTo>
                      <a:lnTo>
                        <a:pt x="606" y="2176"/>
                      </a:lnTo>
                      <a:lnTo>
                        <a:pt x="554" y="2151"/>
                      </a:lnTo>
                      <a:lnTo>
                        <a:pt x="505" y="2124"/>
                      </a:lnTo>
                      <a:lnTo>
                        <a:pt x="458" y="2094"/>
                      </a:lnTo>
                      <a:lnTo>
                        <a:pt x="413" y="2062"/>
                      </a:lnTo>
                      <a:lnTo>
                        <a:pt x="371" y="2027"/>
                      </a:lnTo>
                      <a:lnTo>
                        <a:pt x="331" y="1990"/>
                      </a:lnTo>
                      <a:lnTo>
                        <a:pt x="293" y="1952"/>
                      </a:lnTo>
                      <a:lnTo>
                        <a:pt x="258" y="1910"/>
                      </a:lnTo>
                      <a:lnTo>
                        <a:pt x="224" y="1867"/>
                      </a:lnTo>
                      <a:lnTo>
                        <a:pt x="194" y="1821"/>
                      </a:lnTo>
                      <a:lnTo>
                        <a:pt x="165" y="1772"/>
                      </a:lnTo>
                      <a:lnTo>
                        <a:pt x="139" y="1723"/>
                      </a:lnTo>
                      <a:lnTo>
                        <a:pt x="115" y="1671"/>
                      </a:lnTo>
                      <a:lnTo>
                        <a:pt x="93" y="1617"/>
                      </a:lnTo>
                      <a:lnTo>
                        <a:pt x="73" y="1561"/>
                      </a:lnTo>
                      <a:lnTo>
                        <a:pt x="56" y="1503"/>
                      </a:lnTo>
                      <a:lnTo>
                        <a:pt x="41" y="1443"/>
                      </a:lnTo>
                      <a:lnTo>
                        <a:pt x="29" y="1382"/>
                      </a:lnTo>
                      <a:lnTo>
                        <a:pt x="18" y="1319"/>
                      </a:lnTo>
                      <a:lnTo>
                        <a:pt x="11" y="1253"/>
                      </a:lnTo>
                      <a:lnTo>
                        <a:pt x="4" y="1186"/>
                      </a:lnTo>
                      <a:lnTo>
                        <a:pt x="1" y="1117"/>
                      </a:lnTo>
                      <a:lnTo>
                        <a:pt x="0" y="1046"/>
                      </a:lnTo>
                      <a:lnTo>
                        <a:pt x="1" y="987"/>
                      </a:lnTo>
                      <a:lnTo>
                        <a:pt x="4" y="931"/>
                      </a:lnTo>
                      <a:lnTo>
                        <a:pt x="9" y="874"/>
                      </a:lnTo>
                      <a:lnTo>
                        <a:pt x="16" y="820"/>
                      </a:lnTo>
                      <a:lnTo>
                        <a:pt x="25" y="766"/>
                      </a:lnTo>
                      <a:lnTo>
                        <a:pt x="36" y="715"/>
                      </a:lnTo>
                      <a:lnTo>
                        <a:pt x="48" y="665"/>
                      </a:lnTo>
                      <a:lnTo>
                        <a:pt x="64" y="616"/>
                      </a:lnTo>
                      <a:lnTo>
                        <a:pt x="81" y="569"/>
                      </a:lnTo>
                      <a:lnTo>
                        <a:pt x="100" y="523"/>
                      </a:lnTo>
                      <a:lnTo>
                        <a:pt x="121" y="479"/>
                      </a:lnTo>
                      <a:lnTo>
                        <a:pt x="144" y="437"/>
                      </a:lnTo>
                      <a:lnTo>
                        <a:pt x="168" y="396"/>
                      </a:lnTo>
                      <a:lnTo>
                        <a:pt x="196" y="359"/>
                      </a:lnTo>
                      <a:lnTo>
                        <a:pt x="224" y="321"/>
                      </a:lnTo>
                      <a:lnTo>
                        <a:pt x="255" y="286"/>
                      </a:lnTo>
                      <a:lnTo>
                        <a:pt x="287" y="253"/>
                      </a:lnTo>
                      <a:lnTo>
                        <a:pt x="322" y="221"/>
                      </a:lnTo>
                      <a:lnTo>
                        <a:pt x="358" y="192"/>
                      </a:lnTo>
                      <a:lnTo>
                        <a:pt x="396" y="165"/>
                      </a:lnTo>
                      <a:lnTo>
                        <a:pt x="436" y="140"/>
                      </a:lnTo>
                      <a:lnTo>
                        <a:pt x="478" y="115"/>
                      </a:lnTo>
                      <a:lnTo>
                        <a:pt x="523" y="95"/>
                      </a:lnTo>
                      <a:lnTo>
                        <a:pt x="569" y="75"/>
                      </a:lnTo>
                      <a:lnTo>
                        <a:pt x="616" y="58"/>
                      </a:lnTo>
                      <a:lnTo>
                        <a:pt x="666" y="43"/>
                      </a:lnTo>
                      <a:lnTo>
                        <a:pt x="717" y="31"/>
                      </a:lnTo>
                      <a:lnTo>
                        <a:pt x="771" y="19"/>
                      </a:lnTo>
                      <a:lnTo>
                        <a:pt x="826" y="12"/>
                      </a:lnTo>
                      <a:lnTo>
                        <a:pt x="883" y="5"/>
                      </a:lnTo>
                      <a:lnTo>
                        <a:pt x="942" y="1"/>
                      </a:lnTo>
                      <a:lnTo>
                        <a:pt x="1003" y="0"/>
                      </a:lnTo>
                      <a:lnTo>
                        <a:pt x="1052" y="1"/>
                      </a:lnTo>
                      <a:lnTo>
                        <a:pt x="1100" y="3"/>
                      </a:lnTo>
                      <a:lnTo>
                        <a:pt x="1147" y="8"/>
                      </a:lnTo>
                      <a:lnTo>
                        <a:pt x="1192" y="13"/>
                      </a:lnTo>
                      <a:lnTo>
                        <a:pt x="1235" y="20"/>
                      </a:lnTo>
                      <a:lnTo>
                        <a:pt x="1277" y="28"/>
                      </a:lnTo>
                      <a:lnTo>
                        <a:pt x="1318" y="38"/>
                      </a:lnTo>
                      <a:lnTo>
                        <a:pt x="1358" y="49"/>
                      </a:lnTo>
                      <a:lnTo>
                        <a:pt x="1396" y="63"/>
                      </a:lnTo>
                      <a:lnTo>
                        <a:pt x="1432" y="78"/>
                      </a:lnTo>
                      <a:lnTo>
                        <a:pt x="1468" y="93"/>
                      </a:lnTo>
                      <a:lnTo>
                        <a:pt x="1501" y="111"/>
                      </a:lnTo>
                      <a:lnTo>
                        <a:pt x="1533" y="131"/>
                      </a:lnTo>
                      <a:lnTo>
                        <a:pt x="1563" y="152"/>
                      </a:lnTo>
                      <a:lnTo>
                        <a:pt x="1592" y="174"/>
                      </a:lnTo>
                      <a:lnTo>
                        <a:pt x="1619" y="198"/>
                      </a:lnTo>
                      <a:lnTo>
                        <a:pt x="1645" y="224"/>
                      </a:lnTo>
                      <a:lnTo>
                        <a:pt x="1669" y="252"/>
                      </a:lnTo>
                      <a:lnTo>
                        <a:pt x="1691" y="280"/>
                      </a:lnTo>
                      <a:lnTo>
                        <a:pt x="1713" y="310"/>
                      </a:lnTo>
                      <a:lnTo>
                        <a:pt x="1732" y="342"/>
                      </a:lnTo>
                      <a:lnTo>
                        <a:pt x="1749" y="375"/>
                      </a:lnTo>
                      <a:lnTo>
                        <a:pt x="1766" y="411"/>
                      </a:lnTo>
                      <a:lnTo>
                        <a:pt x="1781" y="448"/>
                      </a:lnTo>
                      <a:lnTo>
                        <a:pt x="1793" y="485"/>
                      </a:lnTo>
                      <a:lnTo>
                        <a:pt x="1804" y="526"/>
                      </a:lnTo>
                      <a:lnTo>
                        <a:pt x="1813" y="567"/>
                      </a:lnTo>
                      <a:lnTo>
                        <a:pt x="1822" y="610"/>
                      </a:lnTo>
                      <a:lnTo>
                        <a:pt x="1827" y="655"/>
                      </a:lnTo>
                      <a:lnTo>
                        <a:pt x="1832" y="701"/>
                      </a:lnTo>
                      <a:lnTo>
                        <a:pt x="1834" y="750"/>
                      </a:lnTo>
                      <a:lnTo>
                        <a:pt x="1836" y="799"/>
                      </a:lnTo>
                      <a:lnTo>
                        <a:pt x="1293"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2" name="Freeform 7"/>
                <p:cNvSpPr>
                  <a:spLocks/>
                </p:cNvSpPr>
                <p:nvPr userDrawn="1"/>
              </p:nvSpPr>
              <p:spPr bwMode="auto">
                <a:xfrm>
                  <a:off x="1493838" y="2555875"/>
                  <a:ext cx="265112" cy="330200"/>
                </a:xfrm>
                <a:custGeom>
                  <a:avLst/>
                  <a:gdLst/>
                  <a:ahLst/>
                  <a:cxnLst>
                    <a:cxn ang="0">
                      <a:pos x="1286"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1" y="497"/>
                    </a:cxn>
                    <a:cxn ang="0">
                      <a:pos x="619" y="581"/>
                    </a:cxn>
                    <a:cxn ang="0">
                      <a:pos x="582" y="676"/>
                    </a:cxn>
                    <a:cxn ang="0">
                      <a:pos x="558" y="777"/>
                    </a:cxn>
                    <a:cxn ang="0">
                      <a:pos x="545" y="880"/>
                    </a:cxn>
                    <a:cxn ang="0">
                      <a:pos x="543" y="1006"/>
                    </a:cxn>
                    <a:cxn ang="0">
                      <a:pos x="565" y="1202"/>
                    </a:cxn>
                    <a:cxn ang="0">
                      <a:pos x="617" y="1383"/>
                    </a:cxn>
                    <a:cxn ang="0">
                      <a:pos x="698" y="1543"/>
                    </a:cxn>
                    <a:cxn ang="0">
                      <a:pos x="805" y="1679"/>
                    </a:cxn>
                    <a:cxn ang="0">
                      <a:pos x="940" y="1789"/>
                    </a:cxn>
                    <a:cxn ang="0">
                      <a:pos x="1101" y="1870"/>
                    </a:cxn>
                    <a:cxn ang="0">
                      <a:pos x="1287" y="1916"/>
                    </a:cxn>
                    <a:cxn ang="0">
                      <a:pos x="1490" y="1927"/>
                    </a:cxn>
                    <a:cxn ang="0">
                      <a:pos x="1652" y="1912"/>
                    </a:cxn>
                    <a:cxn ang="0">
                      <a:pos x="1744" y="1893"/>
                    </a:cxn>
                    <a:cxn ang="0">
                      <a:pos x="1812" y="2184"/>
                    </a:cxn>
                    <a:cxn ang="0">
                      <a:pos x="1655" y="2227"/>
                    </a:cxn>
                    <a:cxn ang="0">
                      <a:pos x="1495" y="2259"/>
                    </a:cxn>
                    <a:cxn ang="0">
                      <a:pos x="1335" y="2279"/>
                    </a:cxn>
                    <a:cxn ang="0">
                      <a:pos x="1173" y="2285"/>
                    </a:cxn>
                    <a:cxn ang="0">
                      <a:pos x="897" y="2263"/>
                    </a:cxn>
                    <a:cxn ang="0">
                      <a:pos x="659" y="2199"/>
                    </a:cxn>
                    <a:cxn ang="0">
                      <a:pos x="458" y="2094"/>
                    </a:cxn>
                    <a:cxn ang="0">
                      <a:pos x="293" y="1952"/>
                    </a:cxn>
                    <a:cxn ang="0">
                      <a:pos x="165" y="1772"/>
                    </a:cxn>
                    <a:cxn ang="0">
                      <a:pos x="72" y="1561"/>
                    </a:cxn>
                    <a:cxn ang="0">
                      <a:pos x="18" y="1319"/>
                    </a:cxn>
                    <a:cxn ang="0">
                      <a:pos x="0" y="1046"/>
                    </a:cxn>
                    <a:cxn ang="0">
                      <a:pos x="15" y="820"/>
                    </a:cxn>
                    <a:cxn ang="0">
                      <a:pos x="64" y="616"/>
                    </a:cxn>
                    <a:cxn ang="0">
                      <a:pos x="143" y="437"/>
                    </a:cxn>
                    <a:cxn ang="0">
                      <a:pos x="254" y="286"/>
                    </a:cxn>
                    <a:cxn ang="0">
                      <a:pos x="396" y="165"/>
                    </a:cxn>
                    <a:cxn ang="0">
                      <a:pos x="568" y="75"/>
                    </a:cxn>
                    <a:cxn ang="0">
                      <a:pos x="770" y="19"/>
                    </a:cxn>
                    <a:cxn ang="0">
                      <a:pos x="1002" y="0"/>
                    </a:cxn>
                    <a:cxn ang="0">
                      <a:pos x="1191" y="13"/>
                    </a:cxn>
                    <a:cxn ang="0">
                      <a:pos x="1358" y="49"/>
                    </a:cxn>
                    <a:cxn ang="0">
                      <a:pos x="1500" y="111"/>
                    </a:cxn>
                    <a:cxn ang="0">
                      <a:pos x="1618" y="198"/>
                    </a:cxn>
                    <a:cxn ang="0">
                      <a:pos x="1712" y="310"/>
                    </a:cxn>
                    <a:cxn ang="0">
                      <a:pos x="1779" y="448"/>
                    </a:cxn>
                    <a:cxn ang="0">
                      <a:pos x="1821" y="610"/>
                    </a:cxn>
                    <a:cxn ang="0">
                      <a:pos x="1835" y="799"/>
                    </a:cxn>
                  </a:cxnLst>
                  <a:rect l="0" t="0" r="r" b="b"/>
                  <a:pathLst>
                    <a:path w="1835" h="2285">
                      <a:moveTo>
                        <a:pt x="1292" y="799"/>
                      </a:moveTo>
                      <a:lnTo>
                        <a:pt x="1292" y="757"/>
                      </a:lnTo>
                      <a:lnTo>
                        <a:pt x="1288" y="715"/>
                      </a:lnTo>
                      <a:lnTo>
                        <a:pt x="1286" y="695"/>
                      </a:lnTo>
                      <a:lnTo>
                        <a:pt x="1284" y="675"/>
                      </a:lnTo>
                      <a:lnTo>
                        <a:pt x="1281" y="655"/>
                      </a:lnTo>
                      <a:lnTo>
                        <a:pt x="1278" y="635"/>
                      </a:lnTo>
                      <a:lnTo>
                        <a:pt x="1274" y="616"/>
                      </a:lnTo>
                      <a:lnTo>
                        <a:pt x="1268" y="598"/>
                      </a:lnTo>
                      <a:lnTo>
                        <a:pt x="1263" y="579"/>
                      </a:lnTo>
                      <a:lnTo>
                        <a:pt x="1258" y="561"/>
                      </a:lnTo>
                      <a:lnTo>
                        <a:pt x="1251" y="543"/>
                      </a:lnTo>
                      <a:lnTo>
                        <a:pt x="1243" y="526"/>
                      </a:lnTo>
                      <a:lnTo>
                        <a:pt x="1235" y="511"/>
                      </a:lnTo>
                      <a:lnTo>
                        <a:pt x="1226" y="494"/>
                      </a:lnTo>
                      <a:lnTo>
                        <a:pt x="1217" y="479"/>
                      </a:lnTo>
                      <a:lnTo>
                        <a:pt x="1206" y="464"/>
                      </a:lnTo>
                      <a:lnTo>
                        <a:pt x="1195" y="452"/>
                      </a:lnTo>
                      <a:lnTo>
                        <a:pt x="1183" y="438"/>
                      </a:lnTo>
                      <a:lnTo>
                        <a:pt x="1170" y="427"/>
                      </a:lnTo>
                      <a:lnTo>
                        <a:pt x="1156" y="415"/>
                      </a:lnTo>
                      <a:lnTo>
                        <a:pt x="1141" y="405"/>
                      </a:lnTo>
                      <a:lnTo>
                        <a:pt x="1125" y="395"/>
                      </a:lnTo>
                      <a:lnTo>
                        <a:pt x="1109" y="387"/>
                      </a:lnTo>
                      <a:lnTo>
                        <a:pt x="1091" y="380"/>
                      </a:lnTo>
                      <a:lnTo>
                        <a:pt x="1072" y="373"/>
                      </a:lnTo>
                      <a:lnTo>
                        <a:pt x="1052" y="368"/>
                      </a:lnTo>
                      <a:lnTo>
                        <a:pt x="1031" y="364"/>
                      </a:lnTo>
                      <a:lnTo>
                        <a:pt x="1009" y="361"/>
                      </a:lnTo>
                      <a:lnTo>
                        <a:pt x="985" y="359"/>
                      </a:lnTo>
                      <a:lnTo>
                        <a:pt x="960" y="359"/>
                      </a:lnTo>
                      <a:lnTo>
                        <a:pt x="931" y="360"/>
                      </a:lnTo>
                      <a:lnTo>
                        <a:pt x="903" y="362"/>
                      </a:lnTo>
                      <a:lnTo>
                        <a:pt x="876" y="367"/>
                      </a:lnTo>
                      <a:lnTo>
                        <a:pt x="850" y="373"/>
                      </a:lnTo>
                      <a:lnTo>
                        <a:pt x="826" y="382"/>
                      </a:lnTo>
                      <a:lnTo>
                        <a:pt x="803" y="391"/>
                      </a:lnTo>
                      <a:lnTo>
                        <a:pt x="781" y="403"/>
                      </a:lnTo>
                      <a:lnTo>
                        <a:pt x="760" y="415"/>
                      </a:lnTo>
                      <a:lnTo>
                        <a:pt x="740" y="429"/>
                      </a:lnTo>
                      <a:lnTo>
                        <a:pt x="721" y="445"/>
                      </a:lnTo>
                      <a:lnTo>
                        <a:pt x="703" y="460"/>
                      </a:lnTo>
                      <a:lnTo>
                        <a:pt x="687" y="478"/>
                      </a:lnTo>
                      <a:lnTo>
                        <a:pt x="671" y="497"/>
                      </a:lnTo>
                      <a:lnTo>
                        <a:pt x="657" y="517"/>
                      </a:lnTo>
                      <a:lnTo>
                        <a:pt x="643" y="537"/>
                      </a:lnTo>
                      <a:lnTo>
                        <a:pt x="630" y="559"/>
                      </a:lnTo>
                      <a:lnTo>
                        <a:pt x="619" y="581"/>
                      </a:lnTo>
                      <a:lnTo>
                        <a:pt x="608" y="604"/>
                      </a:lnTo>
                      <a:lnTo>
                        <a:pt x="599" y="627"/>
                      </a:lnTo>
                      <a:lnTo>
                        <a:pt x="589" y="651"/>
                      </a:lnTo>
                      <a:lnTo>
                        <a:pt x="582" y="676"/>
                      </a:lnTo>
                      <a:lnTo>
                        <a:pt x="575" y="700"/>
                      </a:lnTo>
                      <a:lnTo>
                        <a:pt x="568" y="725"/>
                      </a:lnTo>
                      <a:lnTo>
                        <a:pt x="562" y="752"/>
                      </a:lnTo>
                      <a:lnTo>
                        <a:pt x="558" y="777"/>
                      </a:lnTo>
                      <a:lnTo>
                        <a:pt x="554" y="803"/>
                      </a:lnTo>
                      <a:lnTo>
                        <a:pt x="549" y="828"/>
                      </a:lnTo>
                      <a:lnTo>
                        <a:pt x="547" y="854"/>
                      </a:lnTo>
                      <a:lnTo>
                        <a:pt x="545" y="880"/>
                      </a:lnTo>
                      <a:lnTo>
                        <a:pt x="543" y="905"/>
                      </a:lnTo>
                      <a:lnTo>
                        <a:pt x="542" y="930"/>
                      </a:lnTo>
                      <a:lnTo>
                        <a:pt x="542" y="955"/>
                      </a:lnTo>
                      <a:lnTo>
                        <a:pt x="543" y="1006"/>
                      </a:lnTo>
                      <a:lnTo>
                        <a:pt x="546" y="1057"/>
                      </a:lnTo>
                      <a:lnTo>
                        <a:pt x="550" y="1106"/>
                      </a:lnTo>
                      <a:lnTo>
                        <a:pt x="557" y="1155"/>
                      </a:lnTo>
                      <a:lnTo>
                        <a:pt x="565" y="1202"/>
                      </a:lnTo>
                      <a:lnTo>
                        <a:pt x="576" y="1250"/>
                      </a:lnTo>
                      <a:lnTo>
                        <a:pt x="587" y="1295"/>
                      </a:lnTo>
                      <a:lnTo>
                        <a:pt x="602" y="1339"/>
                      </a:lnTo>
                      <a:lnTo>
                        <a:pt x="617" y="1383"/>
                      </a:lnTo>
                      <a:lnTo>
                        <a:pt x="635" y="1425"/>
                      </a:lnTo>
                      <a:lnTo>
                        <a:pt x="653" y="1465"/>
                      </a:lnTo>
                      <a:lnTo>
                        <a:pt x="675" y="1504"/>
                      </a:lnTo>
                      <a:lnTo>
                        <a:pt x="698" y="1543"/>
                      </a:lnTo>
                      <a:lnTo>
                        <a:pt x="722" y="1579"/>
                      </a:lnTo>
                      <a:lnTo>
                        <a:pt x="748" y="1614"/>
                      </a:lnTo>
                      <a:lnTo>
                        <a:pt x="775" y="1648"/>
                      </a:lnTo>
                      <a:lnTo>
                        <a:pt x="805" y="1679"/>
                      </a:lnTo>
                      <a:lnTo>
                        <a:pt x="836" y="1710"/>
                      </a:lnTo>
                      <a:lnTo>
                        <a:pt x="869" y="1738"/>
                      </a:lnTo>
                      <a:lnTo>
                        <a:pt x="904" y="1765"/>
                      </a:lnTo>
                      <a:lnTo>
                        <a:pt x="940" y="1789"/>
                      </a:lnTo>
                      <a:lnTo>
                        <a:pt x="978" y="1812"/>
                      </a:lnTo>
                      <a:lnTo>
                        <a:pt x="1017" y="1833"/>
                      </a:lnTo>
                      <a:lnTo>
                        <a:pt x="1058" y="1853"/>
                      </a:lnTo>
                      <a:lnTo>
                        <a:pt x="1101" y="1870"/>
                      </a:lnTo>
                      <a:lnTo>
                        <a:pt x="1145" y="1885"/>
                      </a:lnTo>
                      <a:lnTo>
                        <a:pt x="1192" y="1897"/>
                      </a:lnTo>
                      <a:lnTo>
                        <a:pt x="1239" y="1908"/>
                      </a:lnTo>
                      <a:lnTo>
                        <a:pt x="1287" y="1916"/>
                      </a:lnTo>
                      <a:lnTo>
                        <a:pt x="1338" y="1922"/>
                      </a:lnTo>
                      <a:lnTo>
                        <a:pt x="1390" y="1926"/>
                      </a:lnTo>
                      <a:lnTo>
                        <a:pt x="1444" y="1928"/>
                      </a:lnTo>
                      <a:lnTo>
                        <a:pt x="1490" y="1927"/>
                      </a:lnTo>
                      <a:lnTo>
                        <a:pt x="1536" y="1924"/>
                      </a:lnTo>
                      <a:lnTo>
                        <a:pt x="1584" y="1920"/>
                      </a:lnTo>
                      <a:lnTo>
                        <a:pt x="1630" y="1915"/>
                      </a:lnTo>
                      <a:lnTo>
                        <a:pt x="1652" y="1912"/>
                      </a:lnTo>
                      <a:lnTo>
                        <a:pt x="1675" y="1908"/>
                      </a:lnTo>
                      <a:lnTo>
                        <a:pt x="1698" y="1904"/>
                      </a:lnTo>
                      <a:lnTo>
                        <a:pt x="1721" y="1898"/>
                      </a:lnTo>
                      <a:lnTo>
                        <a:pt x="1744" y="1893"/>
                      </a:lnTo>
                      <a:lnTo>
                        <a:pt x="1767" y="1887"/>
                      </a:lnTo>
                      <a:lnTo>
                        <a:pt x="1789" y="1879"/>
                      </a:lnTo>
                      <a:lnTo>
                        <a:pt x="1812" y="1872"/>
                      </a:lnTo>
                      <a:lnTo>
                        <a:pt x="1812" y="2184"/>
                      </a:lnTo>
                      <a:lnTo>
                        <a:pt x="1773" y="2196"/>
                      </a:lnTo>
                      <a:lnTo>
                        <a:pt x="1734" y="2207"/>
                      </a:lnTo>
                      <a:lnTo>
                        <a:pt x="1694" y="2217"/>
                      </a:lnTo>
                      <a:lnTo>
                        <a:pt x="1655" y="2227"/>
                      </a:lnTo>
                      <a:lnTo>
                        <a:pt x="1615" y="2236"/>
                      </a:lnTo>
                      <a:lnTo>
                        <a:pt x="1575" y="2244"/>
                      </a:lnTo>
                      <a:lnTo>
                        <a:pt x="1535" y="2251"/>
                      </a:lnTo>
                      <a:lnTo>
                        <a:pt x="1495" y="2259"/>
                      </a:lnTo>
                      <a:lnTo>
                        <a:pt x="1456" y="2265"/>
                      </a:lnTo>
                      <a:lnTo>
                        <a:pt x="1415" y="2270"/>
                      </a:lnTo>
                      <a:lnTo>
                        <a:pt x="1375" y="2275"/>
                      </a:lnTo>
                      <a:lnTo>
                        <a:pt x="1335" y="2279"/>
                      </a:lnTo>
                      <a:lnTo>
                        <a:pt x="1294" y="2281"/>
                      </a:lnTo>
                      <a:lnTo>
                        <a:pt x="1254" y="2283"/>
                      </a:lnTo>
                      <a:lnTo>
                        <a:pt x="1213" y="2285"/>
                      </a:lnTo>
                      <a:lnTo>
                        <a:pt x="1173" y="2285"/>
                      </a:lnTo>
                      <a:lnTo>
                        <a:pt x="1100" y="2284"/>
                      </a:lnTo>
                      <a:lnTo>
                        <a:pt x="1030" y="2280"/>
                      </a:lnTo>
                      <a:lnTo>
                        <a:pt x="963" y="2272"/>
                      </a:lnTo>
                      <a:lnTo>
                        <a:pt x="897" y="2263"/>
                      </a:lnTo>
                      <a:lnTo>
                        <a:pt x="834" y="2250"/>
                      </a:lnTo>
                      <a:lnTo>
                        <a:pt x="773" y="2236"/>
                      </a:lnTo>
                      <a:lnTo>
                        <a:pt x="716" y="2219"/>
                      </a:lnTo>
                      <a:lnTo>
                        <a:pt x="659" y="2199"/>
                      </a:lnTo>
                      <a:lnTo>
                        <a:pt x="605" y="2176"/>
                      </a:lnTo>
                      <a:lnTo>
                        <a:pt x="554" y="2151"/>
                      </a:lnTo>
                      <a:lnTo>
                        <a:pt x="504" y="2124"/>
                      </a:lnTo>
                      <a:lnTo>
                        <a:pt x="458" y="2094"/>
                      </a:lnTo>
                      <a:lnTo>
                        <a:pt x="413" y="2062"/>
                      </a:lnTo>
                      <a:lnTo>
                        <a:pt x="371" y="2027"/>
                      </a:lnTo>
                      <a:lnTo>
                        <a:pt x="331" y="1990"/>
                      </a:lnTo>
                      <a:lnTo>
                        <a:pt x="293" y="1952"/>
                      </a:lnTo>
                      <a:lnTo>
                        <a:pt x="257" y="1910"/>
                      </a:lnTo>
                      <a:lnTo>
                        <a:pt x="224" y="1867"/>
                      </a:lnTo>
                      <a:lnTo>
                        <a:pt x="193" y="1821"/>
                      </a:lnTo>
                      <a:lnTo>
                        <a:pt x="165" y="1772"/>
                      </a:lnTo>
                      <a:lnTo>
                        <a:pt x="137" y="1723"/>
                      </a:lnTo>
                      <a:lnTo>
                        <a:pt x="114" y="1671"/>
                      </a:lnTo>
                      <a:lnTo>
                        <a:pt x="92" y="1617"/>
                      </a:lnTo>
                      <a:lnTo>
                        <a:pt x="72" y="1561"/>
                      </a:lnTo>
                      <a:lnTo>
                        <a:pt x="55" y="1503"/>
                      </a:lnTo>
                      <a:lnTo>
                        <a:pt x="41" y="1443"/>
                      </a:lnTo>
                      <a:lnTo>
                        <a:pt x="28" y="1382"/>
                      </a:lnTo>
                      <a:lnTo>
                        <a:pt x="18" y="1319"/>
                      </a:lnTo>
                      <a:lnTo>
                        <a:pt x="9" y="1253"/>
                      </a:lnTo>
                      <a:lnTo>
                        <a:pt x="4" y="1186"/>
                      </a:lnTo>
                      <a:lnTo>
                        <a:pt x="1" y="1117"/>
                      </a:lnTo>
                      <a:lnTo>
                        <a:pt x="0" y="1046"/>
                      </a:lnTo>
                      <a:lnTo>
                        <a:pt x="1" y="987"/>
                      </a:lnTo>
                      <a:lnTo>
                        <a:pt x="3" y="931"/>
                      </a:lnTo>
                      <a:lnTo>
                        <a:pt x="8" y="874"/>
                      </a:lnTo>
                      <a:lnTo>
                        <a:pt x="15" y="820"/>
                      </a:lnTo>
                      <a:lnTo>
                        <a:pt x="25" y="766"/>
                      </a:lnTo>
                      <a:lnTo>
                        <a:pt x="35" y="715"/>
                      </a:lnTo>
                      <a:lnTo>
                        <a:pt x="48" y="665"/>
                      </a:lnTo>
                      <a:lnTo>
                        <a:pt x="64" y="616"/>
                      </a:lnTo>
                      <a:lnTo>
                        <a:pt x="81" y="569"/>
                      </a:lnTo>
                      <a:lnTo>
                        <a:pt x="100" y="523"/>
                      </a:lnTo>
                      <a:lnTo>
                        <a:pt x="121" y="479"/>
                      </a:lnTo>
                      <a:lnTo>
                        <a:pt x="143" y="437"/>
                      </a:lnTo>
                      <a:lnTo>
                        <a:pt x="168" y="396"/>
                      </a:lnTo>
                      <a:lnTo>
                        <a:pt x="194" y="359"/>
                      </a:lnTo>
                      <a:lnTo>
                        <a:pt x="224" y="321"/>
                      </a:lnTo>
                      <a:lnTo>
                        <a:pt x="254" y="286"/>
                      </a:lnTo>
                      <a:lnTo>
                        <a:pt x="287" y="253"/>
                      </a:lnTo>
                      <a:lnTo>
                        <a:pt x="321" y="221"/>
                      </a:lnTo>
                      <a:lnTo>
                        <a:pt x="357" y="192"/>
                      </a:lnTo>
                      <a:lnTo>
                        <a:pt x="396" y="165"/>
                      </a:lnTo>
                      <a:lnTo>
                        <a:pt x="436" y="140"/>
                      </a:lnTo>
                      <a:lnTo>
                        <a:pt x="478" y="115"/>
                      </a:lnTo>
                      <a:lnTo>
                        <a:pt x="522" y="95"/>
                      </a:lnTo>
                      <a:lnTo>
                        <a:pt x="568" y="75"/>
                      </a:lnTo>
                      <a:lnTo>
                        <a:pt x="616" y="58"/>
                      </a:lnTo>
                      <a:lnTo>
                        <a:pt x="665" y="43"/>
                      </a:lnTo>
                      <a:lnTo>
                        <a:pt x="717" y="31"/>
                      </a:lnTo>
                      <a:lnTo>
                        <a:pt x="770" y="19"/>
                      </a:lnTo>
                      <a:lnTo>
                        <a:pt x="825" y="12"/>
                      </a:lnTo>
                      <a:lnTo>
                        <a:pt x="883" y="5"/>
                      </a:lnTo>
                      <a:lnTo>
                        <a:pt x="942" y="1"/>
                      </a:lnTo>
                      <a:lnTo>
                        <a:pt x="1002" y="0"/>
                      </a:lnTo>
                      <a:lnTo>
                        <a:pt x="1052" y="1"/>
                      </a:lnTo>
                      <a:lnTo>
                        <a:pt x="1099" y="3"/>
                      </a:lnTo>
                      <a:lnTo>
                        <a:pt x="1145" y="8"/>
                      </a:lnTo>
                      <a:lnTo>
                        <a:pt x="1191" y="13"/>
                      </a:lnTo>
                      <a:lnTo>
                        <a:pt x="1235" y="20"/>
                      </a:lnTo>
                      <a:lnTo>
                        <a:pt x="1277" y="28"/>
                      </a:lnTo>
                      <a:lnTo>
                        <a:pt x="1318" y="38"/>
                      </a:lnTo>
                      <a:lnTo>
                        <a:pt x="1358" y="49"/>
                      </a:lnTo>
                      <a:lnTo>
                        <a:pt x="1396" y="63"/>
                      </a:lnTo>
                      <a:lnTo>
                        <a:pt x="1431" y="78"/>
                      </a:lnTo>
                      <a:lnTo>
                        <a:pt x="1466" y="93"/>
                      </a:lnTo>
                      <a:lnTo>
                        <a:pt x="1500" y="111"/>
                      </a:lnTo>
                      <a:lnTo>
                        <a:pt x="1532" y="131"/>
                      </a:lnTo>
                      <a:lnTo>
                        <a:pt x="1563" y="152"/>
                      </a:lnTo>
                      <a:lnTo>
                        <a:pt x="1591" y="174"/>
                      </a:lnTo>
                      <a:lnTo>
                        <a:pt x="1618" y="198"/>
                      </a:lnTo>
                      <a:lnTo>
                        <a:pt x="1644" y="224"/>
                      </a:lnTo>
                      <a:lnTo>
                        <a:pt x="1668" y="252"/>
                      </a:lnTo>
                      <a:lnTo>
                        <a:pt x="1691" y="280"/>
                      </a:lnTo>
                      <a:lnTo>
                        <a:pt x="1712" y="310"/>
                      </a:lnTo>
                      <a:lnTo>
                        <a:pt x="1731" y="342"/>
                      </a:lnTo>
                      <a:lnTo>
                        <a:pt x="1749" y="375"/>
                      </a:lnTo>
                      <a:lnTo>
                        <a:pt x="1766" y="411"/>
                      </a:lnTo>
                      <a:lnTo>
                        <a:pt x="1779" y="448"/>
                      </a:lnTo>
                      <a:lnTo>
                        <a:pt x="1793" y="485"/>
                      </a:lnTo>
                      <a:lnTo>
                        <a:pt x="1803" y="526"/>
                      </a:lnTo>
                      <a:lnTo>
                        <a:pt x="1813" y="567"/>
                      </a:lnTo>
                      <a:lnTo>
                        <a:pt x="1821" y="610"/>
                      </a:lnTo>
                      <a:lnTo>
                        <a:pt x="1827" y="655"/>
                      </a:lnTo>
                      <a:lnTo>
                        <a:pt x="1831" y="701"/>
                      </a:lnTo>
                      <a:lnTo>
                        <a:pt x="1834" y="750"/>
                      </a:lnTo>
                      <a:lnTo>
                        <a:pt x="1835" y="799"/>
                      </a:lnTo>
                      <a:lnTo>
                        <a:pt x="1292"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3" name="Freeform 8"/>
                <p:cNvSpPr>
                  <a:spLocks noEditPoints="1"/>
                </p:cNvSpPr>
                <p:nvPr userDrawn="1"/>
              </p:nvSpPr>
              <p:spPr bwMode="auto">
                <a:xfrm>
                  <a:off x="1782763" y="2555875"/>
                  <a:ext cx="255587" cy="330200"/>
                </a:xfrm>
                <a:custGeom>
                  <a:avLst/>
                  <a:gdLst/>
                  <a:ahLst/>
                  <a:cxnLst>
                    <a:cxn ang="0">
                      <a:pos x="1767" y="788"/>
                    </a:cxn>
                    <a:cxn ang="0">
                      <a:pos x="1742" y="607"/>
                    </a:cxn>
                    <a:cxn ang="0">
                      <a:pos x="1690" y="445"/>
                    </a:cxn>
                    <a:cxn ang="0">
                      <a:pos x="1612" y="305"/>
                    </a:cxn>
                    <a:cxn ang="0">
                      <a:pos x="1508" y="189"/>
                    </a:cxn>
                    <a:cxn ang="0">
                      <a:pos x="1378" y="99"/>
                    </a:cxn>
                    <a:cxn ang="0">
                      <a:pos x="1222" y="37"/>
                    </a:cxn>
                    <a:cxn ang="0">
                      <a:pos x="1040" y="4"/>
                    </a:cxn>
                    <a:cxn ang="0">
                      <a:pos x="820" y="5"/>
                    </a:cxn>
                    <a:cxn ang="0">
                      <a:pos x="609" y="42"/>
                    </a:cxn>
                    <a:cxn ang="0">
                      <a:pos x="431" y="114"/>
                    </a:cxn>
                    <a:cxn ang="0">
                      <a:pos x="285" y="218"/>
                    </a:cxn>
                    <a:cxn ang="0">
                      <a:pos x="171" y="353"/>
                    </a:cxn>
                    <a:cxn ang="0">
                      <a:pos x="87" y="516"/>
                    </a:cxn>
                    <a:cxn ang="0">
                      <a:pos x="31" y="703"/>
                    </a:cxn>
                    <a:cxn ang="0">
                      <a:pos x="3" y="914"/>
                    </a:cxn>
                    <a:cxn ang="0">
                      <a:pos x="3" y="1161"/>
                    </a:cxn>
                    <a:cxn ang="0">
                      <a:pos x="35" y="1412"/>
                    </a:cxn>
                    <a:cxn ang="0">
                      <a:pos x="99" y="1639"/>
                    </a:cxn>
                    <a:cxn ang="0">
                      <a:pos x="198" y="1839"/>
                    </a:cxn>
                    <a:cxn ang="0">
                      <a:pos x="332" y="2006"/>
                    </a:cxn>
                    <a:cxn ang="0">
                      <a:pos x="504" y="2138"/>
                    </a:cxn>
                    <a:cxn ang="0">
                      <a:pos x="713" y="2231"/>
                    </a:cxn>
                    <a:cxn ang="0">
                      <a:pos x="963" y="2279"/>
                    </a:cxn>
                    <a:cxn ang="0">
                      <a:pos x="1182" y="2284"/>
                    </a:cxn>
                    <a:cxn ang="0">
                      <a:pos x="1336" y="2275"/>
                    </a:cxn>
                    <a:cxn ang="0">
                      <a:pos x="1490" y="2254"/>
                    </a:cxn>
                    <a:cxn ang="0">
                      <a:pos x="1641" y="2220"/>
                    </a:cxn>
                    <a:cxn ang="0">
                      <a:pos x="1666" y="1862"/>
                    </a:cxn>
                    <a:cxn ang="0">
                      <a:pos x="1484" y="1909"/>
                    </a:cxn>
                    <a:cxn ang="0">
                      <a:pos x="1376" y="1923"/>
                    </a:cxn>
                    <a:cxn ang="0">
                      <a:pos x="1251" y="1926"/>
                    </a:cxn>
                    <a:cxn ang="0">
                      <a:pos x="1078" y="1896"/>
                    </a:cxn>
                    <a:cxn ang="0">
                      <a:pos x="922" y="1829"/>
                    </a:cxn>
                    <a:cxn ang="0">
                      <a:pos x="787" y="1733"/>
                    </a:cxn>
                    <a:cxn ang="0">
                      <a:pos x="673" y="1609"/>
                    </a:cxn>
                    <a:cxn ang="0">
                      <a:pos x="584" y="1466"/>
                    </a:cxn>
                    <a:cxn ang="0">
                      <a:pos x="520" y="1308"/>
                    </a:cxn>
                    <a:cxn ang="0">
                      <a:pos x="483" y="1139"/>
                    </a:cxn>
                    <a:cxn ang="0">
                      <a:pos x="1771" y="1009"/>
                    </a:cxn>
                    <a:cxn ang="0">
                      <a:pos x="493" y="662"/>
                    </a:cxn>
                    <a:cxn ang="0">
                      <a:pos x="515" y="586"/>
                    </a:cxn>
                    <a:cxn ang="0">
                      <a:pos x="549" y="518"/>
                    </a:cxn>
                    <a:cxn ang="0">
                      <a:pos x="594" y="458"/>
                    </a:cxn>
                    <a:cxn ang="0">
                      <a:pos x="649" y="408"/>
                    </a:cxn>
                    <a:cxn ang="0">
                      <a:pos x="712" y="369"/>
                    </a:cxn>
                    <a:cxn ang="0">
                      <a:pos x="783" y="342"/>
                    </a:cxn>
                    <a:cxn ang="0">
                      <a:pos x="861" y="328"/>
                    </a:cxn>
                    <a:cxn ang="0">
                      <a:pos x="944" y="328"/>
                    </a:cxn>
                    <a:cxn ang="0">
                      <a:pos x="1024" y="341"/>
                    </a:cxn>
                    <a:cxn ang="0">
                      <a:pos x="1096" y="366"/>
                    </a:cxn>
                    <a:cxn ang="0">
                      <a:pos x="1157" y="404"/>
                    </a:cxn>
                    <a:cxn ang="0">
                      <a:pos x="1207" y="452"/>
                    </a:cxn>
                    <a:cxn ang="0">
                      <a:pos x="1246" y="512"/>
                    </a:cxn>
                    <a:cxn ang="0">
                      <a:pos x="1272" y="581"/>
                    </a:cxn>
                    <a:cxn ang="0">
                      <a:pos x="1286" y="659"/>
                    </a:cxn>
                  </a:cxnLst>
                  <a:rect l="0" t="0" r="r" b="b"/>
                  <a:pathLst>
                    <a:path w="1771" h="2285">
                      <a:moveTo>
                        <a:pt x="1771" y="1009"/>
                      </a:moveTo>
                      <a:lnTo>
                        <a:pt x="1771" y="886"/>
                      </a:lnTo>
                      <a:lnTo>
                        <a:pt x="1771" y="837"/>
                      </a:lnTo>
                      <a:lnTo>
                        <a:pt x="1767" y="788"/>
                      </a:lnTo>
                      <a:lnTo>
                        <a:pt x="1764" y="741"/>
                      </a:lnTo>
                      <a:lnTo>
                        <a:pt x="1758" y="695"/>
                      </a:lnTo>
                      <a:lnTo>
                        <a:pt x="1751" y="650"/>
                      </a:lnTo>
                      <a:lnTo>
                        <a:pt x="1742" y="607"/>
                      </a:lnTo>
                      <a:lnTo>
                        <a:pt x="1732" y="564"/>
                      </a:lnTo>
                      <a:lnTo>
                        <a:pt x="1719" y="523"/>
                      </a:lnTo>
                      <a:lnTo>
                        <a:pt x="1705" y="483"/>
                      </a:lnTo>
                      <a:lnTo>
                        <a:pt x="1690" y="445"/>
                      </a:lnTo>
                      <a:lnTo>
                        <a:pt x="1673" y="408"/>
                      </a:lnTo>
                      <a:lnTo>
                        <a:pt x="1654" y="372"/>
                      </a:lnTo>
                      <a:lnTo>
                        <a:pt x="1634" y="338"/>
                      </a:lnTo>
                      <a:lnTo>
                        <a:pt x="1612" y="305"/>
                      </a:lnTo>
                      <a:lnTo>
                        <a:pt x="1589" y="274"/>
                      </a:lnTo>
                      <a:lnTo>
                        <a:pt x="1563" y="243"/>
                      </a:lnTo>
                      <a:lnTo>
                        <a:pt x="1537" y="215"/>
                      </a:lnTo>
                      <a:lnTo>
                        <a:pt x="1508" y="189"/>
                      </a:lnTo>
                      <a:lnTo>
                        <a:pt x="1478" y="164"/>
                      </a:lnTo>
                      <a:lnTo>
                        <a:pt x="1447" y="141"/>
                      </a:lnTo>
                      <a:lnTo>
                        <a:pt x="1413" y="119"/>
                      </a:lnTo>
                      <a:lnTo>
                        <a:pt x="1378" y="99"/>
                      </a:lnTo>
                      <a:lnTo>
                        <a:pt x="1342" y="81"/>
                      </a:lnTo>
                      <a:lnTo>
                        <a:pt x="1304" y="64"/>
                      </a:lnTo>
                      <a:lnTo>
                        <a:pt x="1264" y="49"/>
                      </a:lnTo>
                      <a:lnTo>
                        <a:pt x="1222" y="37"/>
                      </a:lnTo>
                      <a:lnTo>
                        <a:pt x="1179" y="25"/>
                      </a:lnTo>
                      <a:lnTo>
                        <a:pt x="1133" y="17"/>
                      </a:lnTo>
                      <a:lnTo>
                        <a:pt x="1087" y="10"/>
                      </a:lnTo>
                      <a:lnTo>
                        <a:pt x="1040" y="4"/>
                      </a:lnTo>
                      <a:lnTo>
                        <a:pt x="989" y="1"/>
                      </a:lnTo>
                      <a:lnTo>
                        <a:pt x="938" y="0"/>
                      </a:lnTo>
                      <a:lnTo>
                        <a:pt x="878" y="1"/>
                      </a:lnTo>
                      <a:lnTo>
                        <a:pt x="820" y="5"/>
                      </a:lnTo>
                      <a:lnTo>
                        <a:pt x="765" y="11"/>
                      </a:lnTo>
                      <a:lnTo>
                        <a:pt x="711" y="19"/>
                      </a:lnTo>
                      <a:lnTo>
                        <a:pt x="658" y="30"/>
                      </a:lnTo>
                      <a:lnTo>
                        <a:pt x="609" y="42"/>
                      </a:lnTo>
                      <a:lnTo>
                        <a:pt x="562" y="57"/>
                      </a:lnTo>
                      <a:lnTo>
                        <a:pt x="516" y="74"/>
                      </a:lnTo>
                      <a:lnTo>
                        <a:pt x="472" y="93"/>
                      </a:lnTo>
                      <a:lnTo>
                        <a:pt x="431" y="114"/>
                      </a:lnTo>
                      <a:lnTo>
                        <a:pt x="391" y="137"/>
                      </a:lnTo>
                      <a:lnTo>
                        <a:pt x="355" y="163"/>
                      </a:lnTo>
                      <a:lnTo>
                        <a:pt x="319" y="190"/>
                      </a:lnTo>
                      <a:lnTo>
                        <a:pt x="285" y="218"/>
                      </a:lnTo>
                      <a:lnTo>
                        <a:pt x="254" y="250"/>
                      </a:lnTo>
                      <a:lnTo>
                        <a:pt x="224" y="282"/>
                      </a:lnTo>
                      <a:lnTo>
                        <a:pt x="197" y="317"/>
                      </a:lnTo>
                      <a:lnTo>
                        <a:pt x="171" y="353"/>
                      </a:lnTo>
                      <a:lnTo>
                        <a:pt x="146" y="391"/>
                      </a:lnTo>
                      <a:lnTo>
                        <a:pt x="124" y="431"/>
                      </a:lnTo>
                      <a:lnTo>
                        <a:pt x="104" y="473"/>
                      </a:lnTo>
                      <a:lnTo>
                        <a:pt x="87" y="516"/>
                      </a:lnTo>
                      <a:lnTo>
                        <a:pt x="70" y="560"/>
                      </a:lnTo>
                      <a:lnTo>
                        <a:pt x="55" y="606"/>
                      </a:lnTo>
                      <a:lnTo>
                        <a:pt x="41" y="654"/>
                      </a:lnTo>
                      <a:lnTo>
                        <a:pt x="31" y="703"/>
                      </a:lnTo>
                      <a:lnTo>
                        <a:pt x="21" y="754"/>
                      </a:lnTo>
                      <a:lnTo>
                        <a:pt x="14" y="806"/>
                      </a:lnTo>
                      <a:lnTo>
                        <a:pt x="8" y="860"/>
                      </a:lnTo>
                      <a:lnTo>
                        <a:pt x="3" y="914"/>
                      </a:lnTo>
                      <a:lnTo>
                        <a:pt x="0" y="971"/>
                      </a:lnTo>
                      <a:lnTo>
                        <a:pt x="0" y="1028"/>
                      </a:lnTo>
                      <a:lnTo>
                        <a:pt x="1" y="1095"/>
                      </a:lnTo>
                      <a:lnTo>
                        <a:pt x="3" y="1161"/>
                      </a:lnTo>
                      <a:lnTo>
                        <a:pt x="9" y="1225"/>
                      </a:lnTo>
                      <a:lnTo>
                        <a:pt x="15" y="1289"/>
                      </a:lnTo>
                      <a:lnTo>
                        <a:pt x="24" y="1351"/>
                      </a:lnTo>
                      <a:lnTo>
                        <a:pt x="35" y="1412"/>
                      </a:lnTo>
                      <a:lnTo>
                        <a:pt x="48" y="1471"/>
                      </a:lnTo>
                      <a:lnTo>
                        <a:pt x="63" y="1528"/>
                      </a:lnTo>
                      <a:lnTo>
                        <a:pt x="80" y="1585"/>
                      </a:lnTo>
                      <a:lnTo>
                        <a:pt x="99" y="1639"/>
                      </a:lnTo>
                      <a:lnTo>
                        <a:pt x="121" y="1692"/>
                      </a:lnTo>
                      <a:lnTo>
                        <a:pt x="144" y="1742"/>
                      </a:lnTo>
                      <a:lnTo>
                        <a:pt x="170" y="1791"/>
                      </a:lnTo>
                      <a:lnTo>
                        <a:pt x="198" y="1839"/>
                      </a:lnTo>
                      <a:lnTo>
                        <a:pt x="228" y="1884"/>
                      </a:lnTo>
                      <a:lnTo>
                        <a:pt x="261" y="1927"/>
                      </a:lnTo>
                      <a:lnTo>
                        <a:pt x="295" y="1967"/>
                      </a:lnTo>
                      <a:lnTo>
                        <a:pt x="332" y="2006"/>
                      </a:lnTo>
                      <a:lnTo>
                        <a:pt x="371" y="2043"/>
                      </a:lnTo>
                      <a:lnTo>
                        <a:pt x="413" y="2077"/>
                      </a:lnTo>
                      <a:lnTo>
                        <a:pt x="458" y="2109"/>
                      </a:lnTo>
                      <a:lnTo>
                        <a:pt x="504" y="2138"/>
                      </a:lnTo>
                      <a:lnTo>
                        <a:pt x="552" y="2166"/>
                      </a:lnTo>
                      <a:lnTo>
                        <a:pt x="604" y="2190"/>
                      </a:lnTo>
                      <a:lnTo>
                        <a:pt x="657" y="2212"/>
                      </a:lnTo>
                      <a:lnTo>
                        <a:pt x="713" y="2231"/>
                      </a:lnTo>
                      <a:lnTo>
                        <a:pt x="772" y="2247"/>
                      </a:lnTo>
                      <a:lnTo>
                        <a:pt x="834" y="2261"/>
                      </a:lnTo>
                      <a:lnTo>
                        <a:pt x="897" y="2271"/>
                      </a:lnTo>
                      <a:lnTo>
                        <a:pt x="963" y="2279"/>
                      </a:lnTo>
                      <a:lnTo>
                        <a:pt x="1033" y="2284"/>
                      </a:lnTo>
                      <a:lnTo>
                        <a:pt x="1104" y="2285"/>
                      </a:lnTo>
                      <a:lnTo>
                        <a:pt x="1143" y="2285"/>
                      </a:lnTo>
                      <a:lnTo>
                        <a:pt x="1182" y="2284"/>
                      </a:lnTo>
                      <a:lnTo>
                        <a:pt x="1221" y="2283"/>
                      </a:lnTo>
                      <a:lnTo>
                        <a:pt x="1260" y="2281"/>
                      </a:lnTo>
                      <a:lnTo>
                        <a:pt x="1297" y="2278"/>
                      </a:lnTo>
                      <a:lnTo>
                        <a:pt x="1336" y="2275"/>
                      </a:lnTo>
                      <a:lnTo>
                        <a:pt x="1375" y="2270"/>
                      </a:lnTo>
                      <a:lnTo>
                        <a:pt x="1413" y="2265"/>
                      </a:lnTo>
                      <a:lnTo>
                        <a:pt x="1452" y="2260"/>
                      </a:lnTo>
                      <a:lnTo>
                        <a:pt x="1490" y="2254"/>
                      </a:lnTo>
                      <a:lnTo>
                        <a:pt x="1528" y="2246"/>
                      </a:lnTo>
                      <a:lnTo>
                        <a:pt x="1566" y="2239"/>
                      </a:lnTo>
                      <a:lnTo>
                        <a:pt x="1603" y="2229"/>
                      </a:lnTo>
                      <a:lnTo>
                        <a:pt x="1641" y="2220"/>
                      </a:lnTo>
                      <a:lnTo>
                        <a:pt x="1679" y="2210"/>
                      </a:lnTo>
                      <a:lnTo>
                        <a:pt x="1716" y="2198"/>
                      </a:lnTo>
                      <a:lnTo>
                        <a:pt x="1716" y="1845"/>
                      </a:lnTo>
                      <a:lnTo>
                        <a:pt x="1666" y="1862"/>
                      </a:lnTo>
                      <a:lnTo>
                        <a:pt x="1616" y="1877"/>
                      </a:lnTo>
                      <a:lnTo>
                        <a:pt x="1563" y="1891"/>
                      </a:lnTo>
                      <a:lnTo>
                        <a:pt x="1510" y="1904"/>
                      </a:lnTo>
                      <a:lnTo>
                        <a:pt x="1484" y="1909"/>
                      </a:lnTo>
                      <a:lnTo>
                        <a:pt x="1456" y="1913"/>
                      </a:lnTo>
                      <a:lnTo>
                        <a:pt x="1430" y="1917"/>
                      </a:lnTo>
                      <a:lnTo>
                        <a:pt x="1403" y="1920"/>
                      </a:lnTo>
                      <a:lnTo>
                        <a:pt x="1376" y="1923"/>
                      </a:lnTo>
                      <a:lnTo>
                        <a:pt x="1350" y="1926"/>
                      </a:lnTo>
                      <a:lnTo>
                        <a:pt x="1324" y="1927"/>
                      </a:lnTo>
                      <a:lnTo>
                        <a:pt x="1297" y="1928"/>
                      </a:lnTo>
                      <a:lnTo>
                        <a:pt x="1251" y="1926"/>
                      </a:lnTo>
                      <a:lnTo>
                        <a:pt x="1206" y="1922"/>
                      </a:lnTo>
                      <a:lnTo>
                        <a:pt x="1162" y="1916"/>
                      </a:lnTo>
                      <a:lnTo>
                        <a:pt x="1120" y="1907"/>
                      </a:lnTo>
                      <a:lnTo>
                        <a:pt x="1078" y="1896"/>
                      </a:lnTo>
                      <a:lnTo>
                        <a:pt x="1037" y="1883"/>
                      </a:lnTo>
                      <a:lnTo>
                        <a:pt x="997" y="1867"/>
                      </a:lnTo>
                      <a:lnTo>
                        <a:pt x="959" y="1849"/>
                      </a:lnTo>
                      <a:lnTo>
                        <a:pt x="922" y="1829"/>
                      </a:lnTo>
                      <a:lnTo>
                        <a:pt x="886" y="1808"/>
                      </a:lnTo>
                      <a:lnTo>
                        <a:pt x="852" y="1784"/>
                      </a:lnTo>
                      <a:lnTo>
                        <a:pt x="818" y="1759"/>
                      </a:lnTo>
                      <a:lnTo>
                        <a:pt x="787" y="1733"/>
                      </a:lnTo>
                      <a:lnTo>
                        <a:pt x="756" y="1703"/>
                      </a:lnTo>
                      <a:lnTo>
                        <a:pt x="727" y="1674"/>
                      </a:lnTo>
                      <a:lnTo>
                        <a:pt x="699" y="1643"/>
                      </a:lnTo>
                      <a:lnTo>
                        <a:pt x="673" y="1609"/>
                      </a:lnTo>
                      <a:lnTo>
                        <a:pt x="648" y="1575"/>
                      </a:lnTo>
                      <a:lnTo>
                        <a:pt x="625" y="1540"/>
                      </a:lnTo>
                      <a:lnTo>
                        <a:pt x="604" y="1504"/>
                      </a:lnTo>
                      <a:lnTo>
                        <a:pt x="584" y="1466"/>
                      </a:lnTo>
                      <a:lnTo>
                        <a:pt x="565" y="1428"/>
                      </a:lnTo>
                      <a:lnTo>
                        <a:pt x="548" y="1389"/>
                      </a:lnTo>
                      <a:lnTo>
                        <a:pt x="533" y="1349"/>
                      </a:lnTo>
                      <a:lnTo>
                        <a:pt x="520" y="1308"/>
                      </a:lnTo>
                      <a:lnTo>
                        <a:pt x="507" y="1266"/>
                      </a:lnTo>
                      <a:lnTo>
                        <a:pt x="498" y="1224"/>
                      </a:lnTo>
                      <a:lnTo>
                        <a:pt x="489" y="1182"/>
                      </a:lnTo>
                      <a:lnTo>
                        <a:pt x="483" y="1139"/>
                      </a:lnTo>
                      <a:lnTo>
                        <a:pt x="478" y="1096"/>
                      </a:lnTo>
                      <a:lnTo>
                        <a:pt x="475" y="1054"/>
                      </a:lnTo>
                      <a:lnTo>
                        <a:pt x="474" y="1009"/>
                      </a:lnTo>
                      <a:lnTo>
                        <a:pt x="1771" y="1009"/>
                      </a:lnTo>
                      <a:close/>
                      <a:moveTo>
                        <a:pt x="1288" y="702"/>
                      </a:moveTo>
                      <a:lnTo>
                        <a:pt x="488" y="702"/>
                      </a:lnTo>
                      <a:lnTo>
                        <a:pt x="490" y="681"/>
                      </a:lnTo>
                      <a:lnTo>
                        <a:pt x="493" y="662"/>
                      </a:lnTo>
                      <a:lnTo>
                        <a:pt x="498" y="643"/>
                      </a:lnTo>
                      <a:lnTo>
                        <a:pt x="503" y="623"/>
                      </a:lnTo>
                      <a:lnTo>
                        <a:pt x="509" y="604"/>
                      </a:lnTo>
                      <a:lnTo>
                        <a:pt x="515" y="586"/>
                      </a:lnTo>
                      <a:lnTo>
                        <a:pt x="523" y="568"/>
                      </a:lnTo>
                      <a:lnTo>
                        <a:pt x="531" y="550"/>
                      </a:lnTo>
                      <a:lnTo>
                        <a:pt x="540" y="534"/>
                      </a:lnTo>
                      <a:lnTo>
                        <a:pt x="549" y="518"/>
                      </a:lnTo>
                      <a:lnTo>
                        <a:pt x="560" y="502"/>
                      </a:lnTo>
                      <a:lnTo>
                        <a:pt x="570" y="487"/>
                      </a:lnTo>
                      <a:lnTo>
                        <a:pt x="582" y="472"/>
                      </a:lnTo>
                      <a:lnTo>
                        <a:pt x="594" y="458"/>
                      </a:lnTo>
                      <a:lnTo>
                        <a:pt x="607" y="445"/>
                      </a:lnTo>
                      <a:lnTo>
                        <a:pt x="621" y="432"/>
                      </a:lnTo>
                      <a:lnTo>
                        <a:pt x="634" y="419"/>
                      </a:lnTo>
                      <a:lnTo>
                        <a:pt x="649" y="408"/>
                      </a:lnTo>
                      <a:lnTo>
                        <a:pt x="664" y="397"/>
                      </a:lnTo>
                      <a:lnTo>
                        <a:pt x="679" y="387"/>
                      </a:lnTo>
                      <a:lnTo>
                        <a:pt x="696" y="378"/>
                      </a:lnTo>
                      <a:lnTo>
                        <a:pt x="712" y="369"/>
                      </a:lnTo>
                      <a:lnTo>
                        <a:pt x="730" y="362"/>
                      </a:lnTo>
                      <a:lnTo>
                        <a:pt x="747" y="354"/>
                      </a:lnTo>
                      <a:lnTo>
                        <a:pt x="765" y="348"/>
                      </a:lnTo>
                      <a:lnTo>
                        <a:pt x="783" y="342"/>
                      </a:lnTo>
                      <a:lnTo>
                        <a:pt x="802" y="338"/>
                      </a:lnTo>
                      <a:lnTo>
                        <a:pt x="821" y="333"/>
                      </a:lnTo>
                      <a:lnTo>
                        <a:pt x="841" y="330"/>
                      </a:lnTo>
                      <a:lnTo>
                        <a:pt x="861" y="328"/>
                      </a:lnTo>
                      <a:lnTo>
                        <a:pt x="881" y="327"/>
                      </a:lnTo>
                      <a:lnTo>
                        <a:pt x="901" y="326"/>
                      </a:lnTo>
                      <a:lnTo>
                        <a:pt x="923" y="326"/>
                      </a:lnTo>
                      <a:lnTo>
                        <a:pt x="944" y="328"/>
                      </a:lnTo>
                      <a:lnTo>
                        <a:pt x="965" y="330"/>
                      </a:lnTo>
                      <a:lnTo>
                        <a:pt x="985" y="332"/>
                      </a:lnTo>
                      <a:lnTo>
                        <a:pt x="1005" y="337"/>
                      </a:lnTo>
                      <a:lnTo>
                        <a:pt x="1024" y="341"/>
                      </a:lnTo>
                      <a:lnTo>
                        <a:pt x="1043" y="346"/>
                      </a:lnTo>
                      <a:lnTo>
                        <a:pt x="1061" y="352"/>
                      </a:lnTo>
                      <a:lnTo>
                        <a:pt x="1079" y="359"/>
                      </a:lnTo>
                      <a:lnTo>
                        <a:pt x="1096" y="366"/>
                      </a:lnTo>
                      <a:lnTo>
                        <a:pt x="1111" y="374"/>
                      </a:lnTo>
                      <a:lnTo>
                        <a:pt x="1127" y="384"/>
                      </a:lnTo>
                      <a:lnTo>
                        <a:pt x="1142" y="393"/>
                      </a:lnTo>
                      <a:lnTo>
                        <a:pt x="1157" y="404"/>
                      </a:lnTo>
                      <a:lnTo>
                        <a:pt x="1170" y="415"/>
                      </a:lnTo>
                      <a:lnTo>
                        <a:pt x="1183" y="427"/>
                      </a:lnTo>
                      <a:lnTo>
                        <a:pt x="1196" y="439"/>
                      </a:lnTo>
                      <a:lnTo>
                        <a:pt x="1207" y="452"/>
                      </a:lnTo>
                      <a:lnTo>
                        <a:pt x="1218" y="467"/>
                      </a:lnTo>
                      <a:lnTo>
                        <a:pt x="1228" y="480"/>
                      </a:lnTo>
                      <a:lnTo>
                        <a:pt x="1238" y="496"/>
                      </a:lnTo>
                      <a:lnTo>
                        <a:pt x="1246" y="512"/>
                      </a:lnTo>
                      <a:lnTo>
                        <a:pt x="1253" y="528"/>
                      </a:lnTo>
                      <a:lnTo>
                        <a:pt x="1261" y="545"/>
                      </a:lnTo>
                      <a:lnTo>
                        <a:pt x="1267" y="563"/>
                      </a:lnTo>
                      <a:lnTo>
                        <a:pt x="1272" y="581"/>
                      </a:lnTo>
                      <a:lnTo>
                        <a:pt x="1278" y="600"/>
                      </a:lnTo>
                      <a:lnTo>
                        <a:pt x="1281" y="619"/>
                      </a:lnTo>
                      <a:lnTo>
                        <a:pt x="1284" y="640"/>
                      </a:lnTo>
                      <a:lnTo>
                        <a:pt x="1286" y="659"/>
                      </a:lnTo>
                      <a:lnTo>
                        <a:pt x="1288" y="680"/>
                      </a:lnTo>
                      <a:lnTo>
                        <a:pt x="1288"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4" name="Freeform 9"/>
                <p:cNvSpPr>
                  <a:spLocks/>
                </p:cNvSpPr>
                <p:nvPr userDrawn="1"/>
              </p:nvSpPr>
              <p:spPr bwMode="auto">
                <a:xfrm>
                  <a:off x="2076450" y="2555875"/>
                  <a:ext cx="254000" cy="322263"/>
                </a:xfrm>
                <a:custGeom>
                  <a:avLst/>
                  <a:gdLst/>
                  <a:ahLst/>
                  <a:cxnLst>
                    <a:cxn ang="0">
                      <a:pos x="1252" y="940"/>
                    </a:cxn>
                    <a:cxn ang="0">
                      <a:pos x="1250" y="815"/>
                    </a:cxn>
                    <a:cxn ang="0">
                      <a:pos x="1242" y="710"/>
                    </a:cxn>
                    <a:cxn ang="0">
                      <a:pos x="1223" y="612"/>
                    </a:cxn>
                    <a:cxn ang="0">
                      <a:pos x="1208" y="570"/>
                    </a:cxn>
                    <a:cxn ang="0">
                      <a:pos x="1188" y="537"/>
                    </a:cxn>
                    <a:cxn ang="0">
                      <a:pos x="1166" y="513"/>
                    </a:cxn>
                    <a:cxn ang="0">
                      <a:pos x="1142" y="497"/>
                    </a:cxn>
                    <a:cxn ang="0">
                      <a:pos x="1115" y="487"/>
                    </a:cxn>
                    <a:cxn ang="0">
                      <a:pos x="1065" y="479"/>
                    </a:cxn>
                    <a:cxn ang="0">
                      <a:pos x="993" y="479"/>
                    </a:cxn>
                    <a:cxn ang="0">
                      <a:pos x="898" y="500"/>
                    </a:cxn>
                    <a:cxn ang="0">
                      <a:pos x="816" y="544"/>
                    </a:cxn>
                    <a:cxn ang="0">
                      <a:pos x="744" y="607"/>
                    </a:cxn>
                    <a:cxn ang="0">
                      <a:pos x="683" y="685"/>
                    </a:cxn>
                    <a:cxn ang="0">
                      <a:pos x="631" y="774"/>
                    </a:cxn>
                    <a:cxn ang="0">
                      <a:pos x="589" y="870"/>
                    </a:cxn>
                    <a:cxn ang="0">
                      <a:pos x="556" y="972"/>
                    </a:cxn>
                    <a:cxn ang="0">
                      <a:pos x="533" y="1072"/>
                    </a:cxn>
                    <a:cxn ang="0">
                      <a:pos x="519" y="1171"/>
                    </a:cxn>
                    <a:cxn ang="0">
                      <a:pos x="511" y="1262"/>
                    </a:cxn>
                    <a:cxn ang="0">
                      <a:pos x="0" y="2235"/>
                    </a:cxn>
                    <a:cxn ang="0">
                      <a:pos x="511" y="459"/>
                    </a:cxn>
                    <a:cxn ang="0">
                      <a:pos x="543" y="408"/>
                    </a:cxn>
                    <a:cxn ang="0">
                      <a:pos x="582" y="336"/>
                    </a:cxn>
                    <a:cxn ang="0">
                      <a:pos x="626" y="270"/>
                    </a:cxn>
                    <a:cxn ang="0">
                      <a:pos x="676" y="210"/>
                    </a:cxn>
                    <a:cxn ang="0">
                      <a:pos x="731" y="156"/>
                    </a:cxn>
                    <a:cxn ang="0">
                      <a:pos x="791" y="110"/>
                    </a:cxn>
                    <a:cxn ang="0">
                      <a:pos x="856" y="71"/>
                    </a:cxn>
                    <a:cxn ang="0">
                      <a:pos x="927" y="41"/>
                    </a:cxn>
                    <a:cxn ang="0">
                      <a:pos x="1003" y="19"/>
                    </a:cxn>
                    <a:cxn ang="0">
                      <a:pos x="1083" y="5"/>
                    </a:cxn>
                    <a:cxn ang="0">
                      <a:pos x="1169" y="0"/>
                    </a:cxn>
                    <a:cxn ang="0">
                      <a:pos x="1281" y="10"/>
                    </a:cxn>
                    <a:cxn ang="0">
                      <a:pos x="1379" y="35"/>
                    </a:cxn>
                    <a:cxn ang="0">
                      <a:pos x="1466" y="76"/>
                    </a:cxn>
                    <a:cxn ang="0">
                      <a:pos x="1540" y="129"/>
                    </a:cxn>
                    <a:cxn ang="0">
                      <a:pos x="1603" y="195"/>
                    </a:cxn>
                    <a:cxn ang="0">
                      <a:pos x="1656" y="272"/>
                    </a:cxn>
                    <a:cxn ang="0">
                      <a:pos x="1697" y="357"/>
                    </a:cxn>
                    <a:cxn ang="0">
                      <a:pos x="1728" y="450"/>
                    </a:cxn>
                    <a:cxn ang="0">
                      <a:pos x="1748" y="548"/>
                    </a:cxn>
                    <a:cxn ang="0">
                      <a:pos x="1760" y="651"/>
                    </a:cxn>
                    <a:cxn ang="0">
                      <a:pos x="1762" y="2235"/>
                    </a:cxn>
                  </a:cxnLst>
                  <a:rect l="0" t="0" r="r" b="b"/>
                  <a:pathLst>
                    <a:path w="1762" h="2235">
                      <a:moveTo>
                        <a:pt x="1252" y="2235"/>
                      </a:moveTo>
                      <a:lnTo>
                        <a:pt x="1252" y="986"/>
                      </a:lnTo>
                      <a:lnTo>
                        <a:pt x="1252" y="940"/>
                      </a:lnTo>
                      <a:lnTo>
                        <a:pt x="1252" y="881"/>
                      </a:lnTo>
                      <a:lnTo>
                        <a:pt x="1251" y="848"/>
                      </a:lnTo>
                      <a:lnTo>
                        <a:pt x="1250" y="815"/>
                      </a:lnTo>
                      <a:lnTo>
                        <a:pt x="1248" y="779"/>
                      </a:lnTo>
                      <a:lnTo>
                        <a:pt x="1245" y="744"/>
                      </a:lnTo>
                      <a:lnTo>
                        <a:pt x="1242" y="710"/>
                      </a:lnTo>
                      <a:lnTo>
                        <a:pt x="1237" y="675"/>
                      </a:lnTo>
                      <a:lnTo>
                        <a:pt x="1230" y="643"/>
                      </a:lnTo>
                      <a:lnTo>
                        <a:pt x="1223" y="612"/>
                      </a:lnTo>
                      <a:lnTo>
                        <a:pt x="1218" y="598"/>
                      </a:lnTo>
                      <a:lnTo>
                        <a:pt x="1213" y="584"/>
                      </a:lnTo>
                      <a:lnTo>
                        <a:pt x="1208" y="570"/>
                      </a:lnTo>
                      <a:lnTo>
                        <a:pt x="1202" y="559"/>
                      </a:lnTo>
                      <a:lnTo>
                        <a:pt x="1196" y="547"/>
                      </a:lnTo>
                      <a:lnTo>
                        <a:pt x="1188" y="537"/>
                      </a:lnTo>
                      <a:lnTo>
                        <a:pt x="1181" y="527"/>
                      </a:lnTo>
                      <a:lnTo>
                        <a:pt x="1173" y="519"/>
                      </a:lnTo>
                      <a:lnTo>
                        <a:pt x="1166" y="513"/>
                      </a:lnTo>
                      <a:lnTo>
                        <a:pt x="1159" y="506"/>
                      </a:lnTo>
                      <a:lnTo>
                        <a:pt x="1150" y="501"/>
                      </a:lnTo>
                      <a:lnTo>
                        <a:pt x="1142" y="497"/>
                      </a:lnTo>
                      <a:lnTo>
                        <a:pt x="1133" y="493"/>
                      </a:lnTo>
                      <a:lnTo>
                        <a:pt x="1124" y="490"/>
                      </a:lnTo>
                      <a:lnTo>
                        <a:pt x="1115" y="487"/>
                      </a:lnTo>
                      <a:lnTo>
                        <a:pt x="1105" y="484"/>
                      </a:lnTo>
                      <a:lnTo>
                        <a:pt x="1085" y="481"/>
                      </a:lnTo>
                      <a:lnTo>
                        <a:pt x="1065" y="479"/>
                      </a:lnTo>
                      <a:lnTo>
                        <a:pt x="1045" y="478"/>
                      </a:lnTo>
                      <a:lnTo>
                        <a:pt x="1026" y="478"/>
                      </a:lnTo>
                      <a:lnTo>
                        <a:pt x="993" y="479"/>
                      </a:lnTo>
                      <a:lnTo>
                        <a:pt x="960" y="483"/>
                      </a:lnTo>
                      <a:lnTo>
                        <a:pt x="929" y="491"/>
                      </a:lnTo>
                      <a:lnTo>
                        <a:pt x="898" y="500"/>
                      </a:lnTo>
                      <a:lnTo>
                        <a:pt x="870" y="513"/>
                      </a:lnTo>
                      <a:lnTo>
                        <a:pt x="842" y="527"/>
                      </a:lnTo>
                      <a:lnTo>
                        <a:pt x="816" y="544"/>
                      </a:lnTo>
                      <a:lnTo>
                        <a:pt x="791" y="563"/>
                      </a:lnTo>
                      <a:lnTo>
                        <a:pt x="767" y="584"/>
                      </a:lnTo>
                      <a:lnTo>
                        <a:pt x="744" y="607"/>
                      </a:lnTo>
                      <a:lnTo>
                        <a:pt x="721" y="631"/>
                      </a:lnTo>
                      <a:lnTo>
                        <a:pt x="701" y="657"/>
                      </a:lnTo>
                      <a:lnTo>
                        <a:pt x="683" y="685"/>
                      </a:lnTo>
                      <a:lnTo>
                        <a:pt x="664" y="713"/>
                      </a:lnTo>
                      <a:lnTo>
                        <a:pt x="647" y="743"/>
                      </a:lnTo>
                      <a:lnTo>
                        <a:pt x="631" y="774"/>
                      </a:lnTo>
                      <a:lnTo>
                        <a:pt x="615" y="805"/>
                      </a:lnTo>
                      <a:lnTo>
                        <a:pt x="602" y="838"/>
                      </a:lnTo>
                      <a:lnTo>
                        <a:pt x="589" y="870"/>
                      </a:lnTo>
                      <a:lnTo>
                        <a:pt x="577" y="904"/>
                      </a:lnTo>
                      <a:lnTo>
                        <a:pt x="566" y="937"/>
                      </a:lnTo>
                      <a:lnTo>
                        <a:pt x="556" y="972"/>
                      </a:lnTo>
                      <a:lnTo>
                        <a:pt x="548" y="1005"/>
                      </a:lnTo>
                      <a:lnTo>
                        <a:pt x="540" y="1039"/>
                      </a:lnTo>
                      <a:lnTo>
                        <a:pt x="533" y="1072"/>
                      </a:lnTo>
                      <a:lnTo>
                        <a:pt x="527" y="1106"/>
                      </a:lnTo>
                      <a:lnTo>
                        <a:pt x="522" y="1138"/>
                      </a:lnTo>
                      <a:lnTo>
                        <a:pt x="519" y="1171"/>
                      </a:lnTo>
                      <a:lnTo>
                        <a:pt x="515" y="1202"/>
                      </a:lnTo>
                      <a:lnTo>
                        <a:pt x="513" y="1233"/>
                      </a:lnTo>
                      <a:lnTo>
                        <a:pt x="511" y="1262"/>
                      </a:lnTo>
                      <a:lnTo>
                        <a:pt x="511" y="1290"/>
                      </a:lnTo>
                      <a:lnTo>
                        <a:pt x="511" y="2235"/>
                      </a:lnTo>
                      <a:lnTo>
                        <a:pt x="0" y="2235"/>
                      </a:lnTo>
                      <a:lnTo>
                        <a:pt x="0" y="52"/>
                      </a:lnTo>
                      <a:lnTo>
                        <a:pt x="511" y="52"/>
                      </a:lnTo>
                      <a:lnTo>
                        <a:pt x="511" y="459"/>
                      </a:lnTo>
                      <a:lnTo>
                        <a:pt x="521" y="459"/>
                      </a:lnTo>
                      <a:lnTo>
                        <a:pt x="531" y="433"/>
                      </a:lnTo>
                      <a:lnTo>
                        <a:pt x="543" y="408"/>
                      </a:lnTo>
                      <a:lnTo>
                        <a:pt x="555" y="384"/>
                      </a:lnTo>
                      <a:lnTo>
                        <a:pt x="568" y="360"/>
                      </a:lnTo>
                      <a:lnTo>
                        <a:pt x="582" y="336"/>
                      </a:lnTo>
                      <a:lnTo>
                        <a:pt x="596" y="314"/>
                      </a:lnTo>
                      <a:lnTo>
                        <a:pt x="611" y="292"/>
                      </a:lnTo>
                      <a:lnTo>
                        <a:pt x="626" y="270"/>
                      </a:lnTo>
                      <a:lnTo>
                        <a:pt x="642" y="249"/>
                      </a:lnTo>
                      <a:lnTo>
                        <a:pt x="658" y="229"/>
                      </a:lnTo>
                      <a:lnTo>
                        <a:pt x="676" y="210"/>
                      </a:lnTo>
                      <a:lnTo>
                        <a:pt x="693" y="191"/>
                      </a:lnTo>
                      <a:lnTo>
                        <a:pt x="712" y="173"/>
                      </a:lnTo>
                      <a:lnTo>
                        <a:pt x="731" y="156"/>
                      </a:lnTo>
                      <a:lnTo>
                        <a:pt x="750" y="141"/>
                      </a:lnTo>
                      <a:lnTo>
                        <a:pt x="771" y="125"/>
                      </a:lnTo>
                      <a:lnTo>
                        <a:pt x="791" y="110"/>
                      </a:lnTo>
                      <a:lnTo>
                        <a:pt x="812" y="97"/>
                      </a:lnTo>
                      <a:lnTo>
                        <a:pt x="834" y="84"/>
                      </a:lnTo>
                      <a:lnTo>
                        <a:pt x="856" y="71"/>
                      </a:lnTo>
                      <a:lnTo>
                        <a:pt x="879" y="61"/>
                      </a:lnTo>
                      <a:lnTo>
                        <a:pt x="903" y="51"/>
                      </a:lnTo>
                      <a:lnTo>
                        <a:pt x="927" y="41"/>
                      </a:lnTo>
                      <a:lnTo>
                        <a:pt x="952" y="33"/>
                      </a:lnTo>
                      <a:lnTo>
                        <a:pt x="977" y="25"/>
                      </a:lnTo>
                      <a:lnTo>
                        <a:pt x="1003" y="19"/>
                      </a:lnTo>
                      <a:lnTo>
                        <a:pt x="1029" y="14"/>
                      </a:lnTo>
                      <a:lnTo>
                        <a:pt x="1056" y="9"/>
                      </a:lnTo>
                      <a:lnTo>
                        <a:pt x="1083" y="5"/>
                      </a:lnTo>
                      <a:lnTo>
                        <a:pt x="1111" y="2"/>
                      </a:lnTo>
                      <a:lnTo>
                        <a:pt x="1140" y="1"/>
                      </a:lnTo>
                      <a:lnTo>
                        <a:pt x="1169" y="0"/>
                      </a:lnTo>
                      <a:lnTo>
                        <a:pt x="1207" y="1"/>
                      </a:lnTo>
                      <a:lnTo>
                        <a:pt x="1245" y="4"/>
                      </a:lnTo>
                      <a:lnTo>
                        <a:pt x="1281" y="10"/>
                      </a:lnTo>
                      <a:lnTo>
                        <a:pt x="1314" y="16"/>
                      </a:lnTo>
                      <a:lnTo>
                        <a:pt x="1348" y="24"/>
                      </a:lnTo>
                      <a:lnTo>
                        <a:pt x="1379" y="35"/>
                      </a:lnTo>
                      <a:lnTo>
                        <a:pt x="1409" y="46"/>
                      </a:lnTo>
                      <a:lnTo>
                        <a:pt x="1438" y="60"/>
                      </a:lnTo>
                      <a:lnTo>
                        <a:pt x="1466" y="76"/>
                      </a:lnTo>
                      <a:lnTo>
                        <a:pt x="1492" y="91"/>
                      </a:lnTo>
                      <a:lnTo>
                        <a:pt x="1517" y="110"/>
                      </a:lnTo>
                      <a:lnTo>
                        <a:pt x="1540" y="129"/>
                      </a:lnTo>
                      <a:lnTo>
                        <a:pt x="1562" y="150"/>
                      </a:lnTo>
                      <a:lnTo>
                        <a:pt x="1583" y="172"/>
                      </a:lnTo>
                      <a:lnTo>
                        <a:pt x="1603" y="195"/>
                      </a:lnTo>
                      <a:lnTo>
                        <a:pt x="1622" y="219"/>
                      </a:lnTo>
                      <a:lnTo>
                        <a:pt x="1640" y="245"/>
                      </a:lnTo>
                      <a:lnTo>
                        <a:pt x="1656" y="272"/>
                      </a:lnTo>
                      <a:lnTo>
                        <a:pt x="1671" y="299"/>
                      </a:lnTo>
                      <a:lnTo>
                        <a:pt x="1684" y="327"/>
                      </a:lnTo>
                      <a:lnTo>
                        <a:pt x="1697" y="357"/>
                      </a:lnTo>
                      <a:lnTo>
                        <a:pt x="1708" y="387"/>
                      </a:lnTo>
                      <a:lnTo>
                        <a:pt x="1719" y="418"/>
                      </a:lnTo>
                      <a:lnTo>
                        <a:pt x="1728" y="450"/>
                      </a:lnTo>
                      <a:lnTo>
                        <a:pt x="1736" y="482"/>
                      </a:lnTo>
                      <a:lnTo>
                        <a:pt x="1743" y="515"/>
                      </a:lnTo>
                      <a:lnTo>
                        <a:pt x="1748" y="548"/>
                      </a:lnTo>
                      <a:lnTo>
                        <a:pt x="1754" y="582"/>
                      </a:lnTo>
                      <a:lnTo>
                        <a:pt x="1757" y="616"/>
                      </a:lnTo>
                      <a:lnTo>
                        <a:pt x="1760" y="651"/>
                      </a:lnTo>
                      <a:lnTo>
                        <a:pt x="1761" y="686"/>
                      </a:lnTo>
                      <a:lnTo>
                        <a:pt x="1762" y="721"/>
                      </a:lnTo>
                      <a:lnTo>
                        <a:pt x="1762" y="2235"/>
                      </a:lnTo>
                      <a:lnTo>
                        <a:pt x="1252" y="2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5" name="Freeform 10"/>
                <p:cNvSpPr>
                  <a:spLocks/>
                </p:cNvSpPr>
                <p:nvPr userDrawn="1"/>
              </p:nvSpPr>
              <p:spPr bwMode="auto">
                <a:xfrm>
                  <a:off x="2349500" y="2459038"/>
                  <a:ext cx="228600" cy="427038"/>
                </a:xfrm>
                <a:custGeom>
                  <a:avLst/>
                  <a:gdLst/>
                  <a:ahLst/>
                  <a:cxnLst>
                    <a:cxn ang="0">
                      <a:pos x="939" y="2110"/>
                    </a:cxn>
                    <a:cxn ang="0">
                      <a:pos x="941" y="2205"/>
                    </a:cxn>
                    <a:cxn ang="0">
                      <a:pos x="948" y="2296"/>
                    </a:cxn>
                    <a:cxn ang="0">
                      <a:pos x="956" y="2339"/>
                    </a:cxn>
                    <a:cxn ang="0">
                      <a:pos x="964" y="2378"/>
                    </a:cxn>
                    <a:cxn ang="0">
                      <a:pos x="977" y="2417"/>
                    </a:cxn>
                    <a:cxn ang="0">
                      <a:pos x="992" y="2452"/>
                    </a:cxn>
                    <a:cxn ang="0">
                      <a:pos x="1012" y="2484"/>
                    </a:cxn>
                    <a:cxn ang="0">
                      <a:pos x="1036" y="2514"/>
                    </a:cxn>
                    <a:cxn ang="0">
                      <a:pos x="1063" y="2539"/>
                    </a:cxn>
                    <a:cxn ang="0">
                      <a:pos x="1097" y="2561"/>
                    </a:cxn>
                    <a:cxn ang="0">
                      <a:pos x="1134" y="2578"/>
                    </a:cxn>
                    <a:cxn ang="0">
                      <a:pos x="1179" y="2591"/>
                    </a:cxn>
                    <a:cxn ang="0">
                      <a:pos x="1228" y="2598"/>
                    </a:cxn>
                    <a:cxn ang="0">
                      <a:pos x="1285" y="2602"/>
                    </a:cxn>
                    <a:cxn ang="0">
                      <a:pos x="1343" y="2598"/>
                    </a:cxn>
                    <a:cxn ang="0">
                      <a:pos x="1401" y="2590"/>
                    </a:cxn>
                    <a:cxn ang="0">
                      <a:pos x="1460" y="2578"/>
                    </a:cxn>
                    <a:cxn ang="0">
                      <a:pos x="1519" y="2565"/>
                    </a:cxn>
                    <a:cxn ang="0">
                      <a:pos x="1467" y="2931"/>
                    </a:cxn>
                    <a:cxn ang="0">
                      <a:pos x="1361" y="2944"/>
                    </a:cxn>
                    <a:cxn ang="0">
                      <a:pos x="1256" y="2954"/>
                    </a:cxn>
                    <a:cxn ang="0">
                      <a:pos x="1152" y="2958"/>
                    </a:cxn>
                    <a:cxn ang="0">
                      <a:pos x="1059" y="2959"/>
                    </a:cxn>
                    <a:cxn ang="0">
                      <a:pos x="981" y="2955"/>
                    </a:cxn>
                    <a:cxn ang="0">
                      <a:pos x="907" y="2947"/>
                    </a:cxn>
                    <a:cxn ang="0">
                      <a:pos x="839" y="2936"/>
                    </a:cxn>
                    <a:cxn ang="0">
                      <a:pos x="776" y="2920"/>
                    </a:cxn>
                    <a:cxn ang="0">
                      <a:pos x="718" y="2900"/>
                    </a:cxn>
                    <a:cxn ang="0">
                      <a:pos x="666" y="2875"/>
                    </a:cxn>
                    <a:cxn ang="0">
                      <a:pos x="618" y="2846"/>
                    </a:cxn>
                    <a:cxn ang="0">
                      <a:pos x="576" y="2810"/>
                    </a:cxn>
                    <a:cxn ang="0">
                      <a:pos x="539" y="2770"/>
                    </a:cxn>
                    <a:cxn ang="0">
                      <a:pos x="508" y="2724"/>
                    </a:cxn>
                    <a:cxn ang="0">
                      <a:pos x="482" y="2672"/>
                    </a:cxn>
                    <a:cxn ang="0">
                      <a:pos x="461" y="2614"/>
                    </a:cxn>
                    <a:cxn ang="0">
                      <a:pos x="445" y="2549"/>
                    </a:cxn>
                    <a:cxn ang="0">
                      <a:pos x="434" y="2478"/>
                    </a:cxn>
                    <a:cxn ang="0">
                      <a:pos x="429" y="2400"/>
                    </a:cxn>
                    <a:cxn ang="0">
                      <a:pos x="428" y="1079"/>
                    </a:cxn>
                    <a:cxn ang="0">
                      <a:pos x="0" y="726"/>
                    </a:cxn>
                    <a:cxn ang="0">
                      <a:pos x="428" y="207"/>
                    </a:cxn>
                    <a:cxn ang="0">
                      <a:pos x="939" y="726"/>
                    </a:cxn>
                    <a:cxn ang="0">
                      <a:pos x="1587" y="1079"/>
                    </a:cxn>
                  </a:cxnLst>
                  <a:rect l="0" t="0" r="r" b="b"/>
                  <a:pathLst>
                    <a:path w="1587" h="2959">
                      <a:moveTo>
                        <a:pt x="939" y="1079"/>
                      </a:moveTo>
                      <a:lnTo>
                        <a:pt x="939" y="2110"/>
                      </a:lnTo>
                      <a:lnTo>
                        <a:pt x="940" y="2158"/>
                      </a:lnTo>
                      <a:lnTo>
                        <a:pt x="941" y="2205"/>
                      </a:lnTo>
                      <a:lnTo>
                        <a:pt x="944" y="2252"/>
                      </a:lnTo>
                      <a:lnTo>
                        <a:pt x="948" y="2296"/>
                      </a:lnTo>
                      <a:lnTo>
                        <a:pt x="951" y="2317"/>
                      </a:lnTo>
                      <a:lnTo>
                        <a:pt x="956" y="2339"/>
                      </a:lnTo>
                      <a:lnTo>
                        <a:pt x="960" y="2358"/>
                      </a:lnTo>
                      <a:lnTo>
                        <a:pt x="964" y="2378"/>
                      </a:lnTo>
                      <a:lnTo>
                        <a:pt x="970" y="2398"/>
                      </a:lnTo>
                      <a:lnTo>
                        <a:pt x="977" y="2417"/>
                      </a:lnTo>
                      <a:lnTo>
                        <a:pt x="984" y="2435"/>
                      </a:lnTo>
                      <a:lnTo>
                        <a:pt x="992" y="2452"/>
                      </a:lnTo>
                      <a:lnTo>
                        <a:pt x="1002" y="2469"/>
                      </a:lnTo>
                      <a:lnTo>
                        <a:pt x="1012" y="2484"/>
                      </a:lnTo>
                      <a:lnTo>
                        <a:pt x="1023" y="2500"/>
                      </a:lnTo>
                      <a:lnTo>
                        <a:pt x="1036" y="2514"/>
                      </a:lnTo>
                      <a:lnTo>
                        <a:pt x="1049" y="2527"/>
                      </a:lnTo>
                      <a:lnTo>
                        <a:pt x="1063" y="2539"/>
                      </a:lnTo>
                      <a:lnTo>
                        <a:pt x="1079" y="2550"/>
                      </a:lnTo>
                      <a:lnTo>
                        <a:pt x="1097" y="2561"/>
                      </a:lnTo>
                      <a:lnTo>
                        <a:pt x="1114" y="2570"/>
                      </a:lnTo>
                      <a:lnTo>
                        <a:pt x="1134" y="2578"/>
                      </a:lnTo>
                      <a:lnTo>
                        <a:pt x="1155" y="2585"/>
                      </a:lnTo>
                      <a:lnTo>
                        <a:pt x="1179" y="2591"/>
                      </a:lnTo>
                      <a:lnTo>
                        <a:pt x="1203" y="2595"/>
                      </a:lnTo>
                      <a:lnTo>
                        <a:pt x="1228" y="2598"/>
                      </a:lnTo>
                      <a:lnTo>
                        <a:pt x="1255" y="2601"/>
                      </a:lnTo>
                      <a:lnTo>
                        <a:pt x="1285" y="2602"/>
                      </a:lnTo>
                      <a:lnTo>
                        <a:pt x="1313" y="2601"/>
                      </a:lnTo>
                      <a:lnTo>
                        <a:pt x="1343" y="2598"/>
                      </a:lnTo>
                      <a:lnTo>
                        <a:pt x="1372" y="2594"/>
                      </a:lnTo>
                      <a:lnTo>
                        <a:pt x="1401" y="2590"/>
                      </a:lnTo>
                      <a:lnTo>
                        <a:pt x="1431" y="2584"/>
                      </a:lnTo>
                      <a:lnTo>
                        <a:pt x="1460" y="2578"/>
                      </a:lnTo>
                      <a:lnTo>
                        <a:pt x="1490" y="2571"/>
                      </a:lnTo>
                      <a:lnTo>
                        <a:pt x="1519" y="2565"/>
                      </a:lnTo>
                      <a:lnTo>
                        <a:pt x="1519" y="2922"/>
                      </a:lnTo>
                      <a:lnTo>
                        <a:pt x="1467" y="2931"/>
                      </a:lnTo>
                      <a:lnTo>
                        <a:pt x="1414" y="2938"/>
                      </a:lnTo>
                      <a:lnTo>
                        <a:pt x="1361" y="2944"/>
                      </a:lnTo>
                      <a:lnTo>
                        <a:pt x="1309" y="2950"/>
                      </a:lnTo>
                      <a:lnTo>
                        <a:pt x="1256" y="2954"/>
                      </a:lnTo>
                      <a:lnTo>
                        <a:pt x="1205" y="2957"/>
                      </a:lnTo>
                      <a:lnTo>
                        <a:pt x="1152" y="2958"/>
                      </a:lnTo>
                      <a:lnTo>
                        <a:pt x="1101" y="2959"/>
                      </a:lnTo>
                      <a:lnTo>
                        <a:pt x="1059" y="2959"/>
                      </a:lnTo>
                      <a:lnTo>
                        <a:pt x="1019" y="2957"/>
                      </a:lnTo>
                      <a:lnTo>
                        <a:pt x="981" y="2955"/>
                      </a:lnTo>
                      <a:lnTo>
                        <a:pt x="943" y="2952"/>
                      </a:lnTo>
                      <a:lnTo>
                        <a:pt x="907" y="2947"/>
                      </a:lnTo>
                      <a:lnTo>
                        <a:pt x="873" y="2942"/>
                      </a:lnTo>
                      <a:lnTo>
                        <a:pt x="839" y="2936"/>
                      </a:lnTo>
                      <a:lnTo>
                        <a:pt x="806" y="2929"/>
                      </a:lnTo>
                      <a:lnTo>
                        <a:pt x="776" y="2920"/>
                      </a:lnTo>
                      <a:lnTo>
                        <a:pt x="746" y="2911"/>
                      </a:lnTo>
                      <a:lnTo>
                        <a:pt x="718" y="2900"/>
                      </a:lnTo>
                      <a:lnTo>
                        <a:pt x="692" y="2889"/>
                      </a:lnTo>
                      <a:lnTo>
                        <a:pt x="666" y="2875"/>
                      </a:lnTo>
                      <a:lnTo>
                        <a:pt x="641" y="2862"/>
                      </a:lnTo>
                      <a:lnTo>
                        <a:pt x="618" y="2846"/>
                      </a:lnTo>
                      <a:lnTo>
                        <a:pt x="597" y="2829"/>
                      </a:lnTo>
                      <a:lnTo>
                        <a:pt x="576" y="2810"/>
                      </a:lnTo>
                      <a:lnTo>
                        <a:pt x="557" y="2791"/>
                      </a:lnTo>
                      <a:lnTo>
                        <a:pt x="539" y="2770"/>
                      </a:lnTo>
                      <a:lnTo>
                        <a:pt x="524" y="2748"/>
                      </a:lnTo>
                      <a:lnTo>
                        <a:pt x="508" y="2724"/>
                      </a:lnTo>
                      <a:lnTo>
                        <a:pt x="494" y="2699"/>
                      </a:lnTo>
                      <a:lnTo>
                        <a:pt x="482" y="2672"/>
                      </a:lnTo>
                      <a:lnTo>
                        <a:pt x="470" y="2644"/>
                      </a:lnTo>
                      <a:lnTo>
                        <a:pt x="461" y="2614"/>
                      </a:lnTo>
                      <a:lnTo>
                        <a:pt x="452" y="2583"/>
                      </a:lnTo>
                      <a:lnTo>
                        <a:pt x="445" y="2549"/>
                      </a:lnTo>
                      <a:lnTo>
                        <a:pt x="438" y="2515"/>
                      </a:lnTo>
                      <a:lnTo>
                        <a:pt x="434" y="2478"/>
                      </a:lnTo>
                      <a:lnTo>
                        <a:pt x="431" y="2440"/>
                      </a:lnTo>
                      <a:lnTo>
                        <a:pt x="429" y="2400"/>
                      </a:lnTo>
                      <a:lnTo>
                        <a:pt x="428" y="2358"/>
                      </a:lnTo>
                      <a:lnTo>
                        <a:pt x="428" y="1079"/>
                      </a:lnTo>
                      <a:lnTo>
                        <a:pt x="0" y="1079"/>
                      </a:lnTo>
                      <a:lnTo>
                        <a:pt x="0" y="726"/>
                      </a:lnTo>
                      <a:lnTo>
                        <a:pt x="428" y="726"/>
                      </a:lnTo>
                      <a:lnTo>
                        <a:pt x="428" y="207"/>
                      </a:lnTo>
                      <a:lnTo>
                        <a:pt x="939" y="0"/>
                      </a:lnTo>
                      <a:lnTo>
                        <a:pt x="939" y="726"/>
                      </a:lnTo>
                      <a:lnTo>
                        <a:pt x="1587" y="726"/>
                      </a:lnTo>
                      <a:lnTo>
                        <a:pt x="1587" y="1079"/>
                      </a:lnTo>
                      <a:lnTo>
                        <a:pt x="939" y="10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6" name="Freeform 11"/>
                <p:cNvSpPr>
                  <a:spLocks/>
                </p:cNvSpPr>
                <p:nvPr userDrawn="1"/>
              </p:nvSpPr>
              <p:spPr bwMode="auto">
                <a:xfrm>
                  <a:off x="2609850" y="2563813"/>
                  <a:ext cx="255587" cy="322263"/>
                </a:xfrm>
                <a:custGeom>
                  <a:avLst/>
                  <a:gdLst/>
                  <a:ahLst/>
                  <a:cxnLst>
                    <a:cxn ang="0">
                      <a:pos x="1243" y="1774"/>
                    </a:cxn>
                    <a:cxn ang="0">
                      <a:pos x="1208" y="1849"/>
                    </a:cxn>
                    <a:cxn ang="0">
                      <a:pos x="1167" y="1919"/>
                    </a:cxn>
                    <a:cxn ang="0">
                      <a:pos x="1120" y="1983"/>
                    </a:cxn>
                    <a:cxn ang="0">
                      <a:pos x="1068" y="2040"/>
                    </a:cxn>
                    <a:cxn ang="0">
                      <a:pos x="1012" y="2092"/>
                    </a:cxn>
                    <a:cxn ang="0">
                      <a:pos x="949" y="2136"/>
                    </a:cxn>
                    <a:cxn ang="0">
                      <a:pos x="881" y="2172"/>
                    </a:cxn>
                    <a:cxn ang="0">
                      <a:pos x="810" y="2201"/>
                    </a:cxn>
                    <a:cxn ang="0">
                      <a:pos x="733" y="2220"/>
                    </a:cxn>
                    <a:cxn ang="0">
                      <a:pos x="651" y="2231"/>
                    </a:cxn>
                    <a:cxn ang="0">
                      <a:pos x="555" y="2232"/>
                    </a:cxn>
                    <a:cxn ang="0">
                      <a:pos x="448" y="2217"/>
                    </a:cxn>
                    <a:cxn ang="0">
                      <a:pos x="354" y="2187"/>
                    </a:cxn>
                    <a:cxn ang="0">
                      <a:pos x="271" y="2142"/>
                    </a:cxn>
                    <a:cxn ang="0">
                      <a:pos x="200" y="2084"/>
                    </a:cxn>
                    <a:cxn ang="0">
                      <a:pos x="140" y="2014"/>
                    </a:cxn>
                    <a:cxn ang="0">
                      <a:pos x="92" y="1934"/>
                    </a:cxn>
                    <a:cxn ang="0">
                      <a:pos x="54" y="1846"/>
                    </a:cxn>
                    <a:cxn ang="0">
                      <a:pos x="27" y="1752"/>
                    </a:cxn>
                    <a:cxn ang="0">
                      <a:pos x="9" y="1651"/>
                    </a:cxn>
                    <a:cxn ang="0">
                      <a:pos x="1" y="1548"/>
                    </a:cxn>
                    <a:cxn ang="0">
                      <a:pos x="511" y="0"/>
                    </a:cxn>
                    <a:cxn ang="0">
                      <a:pos x="511" y="1353"/>
                    </a:cxn>
                    <a:cxn ang="0">
                      <a:pos x="516" y="1454"/>
                    </a:cxn>
                    <a:cxn ang="0">
                      <a:pos x="526" y="1558"/>
                    </a:cxn>
                    <a:cxn ang="0">
                      <a:pos x="545" y="1637"/>
                    </a:cxn>
                    <a:cxn ang="0">
                      <a:pos x="561" y="1675"/>
                    </a:cxn>
                    <a:cxn ang="0">
                      <a:pos x="582" y="1707"/>
                    </a:cxn>
                    <a:cxn ang="0">
                      <a:pos x="605" y="1727"/>
                    </a:cxn>
                    <a:cxn ang="0">
                      <a:pos x="630" y="1740"/>
                    </a:cxn>
                    <a:cxn ang="0">
                      <a:pos x="658" y="1749"/>
                    </a:cxn>
                    <a:cxn ang="0">
                      <a:pos x="717" y="1755"/>
                    </a:cxn>
                    <a:cxn ang="0">
                      <a:pos x="804" y="1750"/>
                    </a:cxn>
                    <a:cxn ang="0">
                      <a:pos x="894" y="1720"/>
                    </a:cxn>
                    <a:cxn ang="0">
                      <a:pos x="973" y="1670"/>
                    </a:cxn>
                    <a:cxn ang="0">
                      <a:pos x="1041" y="1602"/>
                    </a:cxn>
                    <a:cxn ang="0">
                      <a:pos x="1099" y="1520"/>
                    </a:cxn>
                    <a:cxn ang="0">
                      <a:pos x="1147" y="1428"/>
                    </a:cxn>
                    <a:cxn ang="0">
                      <a:pos x="1186" y="1330"/>
                    </a:cxn>
                    <a:cxn ang="0">
                      <a:pos x="1216" y="1229"/>
                    </a:cxn>
                    <a:cxn ang="0">
                      <a:pos x="1236" y="1128"/>
                    </a:cxn>
                    <a:cxn ang="0">
                      <a:pos x="1248" y="1032"/>
                    </a:cxn>
                    <a:cxn ang="0">
                      <a:pos x="1252" y="944"/>
                    </a:cxn>
                    <a:cxn ang="0">
                      <a:pos x="1762" y="2183"/>
                    </a:cxn>
                  </a:cxnLst>
                  <a:rect l="0" t="0" r="r" b="b"/>
                  <a:pathLst>
                    <a:path w="1762" h="2233">
                      <a:moveTo>
                        <a:pt x="1252" y="2183"/>
                      </a:moveTo>
                      <a:lnTo>
                        <a:pt x="1252" y="1774"/>
                      </a:lnTo>
                      <a:lnTo>
                        <a:pt x="1243" y="1774"/>
                      </a:lnTo>
                      <a:lnTo>
                        <a:pt x="1232" y="1800"/>
                      </a:lnTo>
                      <a:lnTo>
                        <a:pt x="1220" y="1825"/>
                      </a:lnTo>
                      <a:lnTo>
                        <a:pt x="1208" y="1849"/>
                      </a:lnTo>
                      <a:lnTo>
                        <a:pt x="1195" y="1874"/>
                      </a:lnTo>
                      <a:lnTo>
                        <a:pt x="1181" y="1897"/>
                      </a:lnTo>
                      <a:lnTo>
                        <a:pt x="1167" y="1919"/>
                      </a:lnTo>
                      <a:lnTo>
                        <a:pt x="1151" y="1941"/>
                      </a:lnTo>
                      <a:lnTo>
                        <a:pt x="1137" y="1963"/>
                      </a:lnTo>
                      <a:lnTo>
                        <a:pt x="1120" y="1983"/>
                      </a:lnTo>
                      <a:lnTo>
                        <a:pt x="1103" y="2002"/>
                      </a:lnTo>
                      <a:lnTo>
                        <a:pt x="1086" y="2022"/>
                      </a:lnTo>
                      <a:lnTo>
                        <a:pt x="1068" y="2040"/>
                      </a:lnTo>
                      <a:lnTo>
                        <a:pt x="1050" y="2058"/>
                      </a:lnTo>
                      <a:lnTo>
                        <a:pt x="1031" y="2075"/>
                      </a:lnTo>
                      <a:lnTo>
                        <a:pt x="1012" y="2092"/>
                      </a:lnTo>
                      <a:lnTo>
                        <a:pt x="991" y="2107"/>
                      </a:lnTo>
                      <a:lnTo>
                        <a:pt x="971" y="2122"/>
                      </a:lnTo>
                      <a:lnTo>
                        <a:pt x="949" y="2136"/>
                      </a:lnTo>
                      <a:lnTo>
                        <a:pt x="928" y="2148"/>
                      </a:lnTo>
                      <a:lnTo>
                        <a:pt x="904" y="2161"/>
                      </a:lnTo>
                      <a:lnTo>
                        <a:pt x="881" y="2172"/>
                      </a:lnTo>
                      <a:lnTo>
                        <a:pt x="858" y="2182"/>
                      </a:lnTo>
                      <a:lnTo>
                        <a:pt x="834" y="2191"/>
                      </a:lnTo>
                      <a:lnTo>
                        <a:pt x="810" y="2201"/>
                      </a:lnTo>
                      <a:lnTo>
                        <a:pt x="785" y="2208"/>
                      </a:lnTo>
                      <a:lnTo>
                        <a:pt x="758" y="2214"/>
                      </a:lnTo>
                      <a:lnTo>
                        <a:pt x="733" y="2220"/>
                      </a:lnTo>
                      <a:lnTo>
                        <a:pt x="706" y="2225"/>
                      </a:lnTo>
                      <a:lnTo>
                        <a:pt x="678" y="2229"/>
                      </a:lnTo>
                      <a:lnTo>
                        <a:pt x="651" y="2231"/>
                      </a:lnTo>
                      <a:lnTo>
                        <a:pt x="623" y="2233"/>
                      </a:lnTo>
                      <a:lnTo>
                        <a:pt x="594" y="2233"/>
                      </a:lnTo>
                      <a:lnTo>
                        <a:pt x="555" y="2232"/>
                      </a:lnTo>
                      <a:lnTo>
                        <a:pt x="519" y="2229"/>
                      </a:lnTo>
                      <a:lnTo>
                        <a:pt x="483" y="2225"/>
                      </a:lnTo>
                      <a:lnTo>
                        <a:pt x="448" y="2217"/>
                      </a:lnTo>
                      <a:lnTo>
                        <a:pt x="416" y="2209"/>
                      </a:lnTo>
                      <a:lnTo>
                        <a:pt x="384" y="2198"/>
                      </a:lnTo>
                      <a:lnTo>
                        <a:pt x="354" y="2187"/>
                      </a:lnTo>
                      <a:lnTo>
                        <a:pt x="325" y="2173"/>
                      </a:lnTo>
                      <a:lnTo>
                        <a:pt x="297" y="2159"/>
                      </a:lnTo>
                      <a:lnTo>
                        <a:pt x="271" y="2142"/>
                      </a:lnTo>
                      <a:lnTo>
                        <a:pt x="246" y="2124"/>
                      </a:lnTo>
                      <a:lnTo>
                        <a:pt x="222" y="2104"/>
                      </a:lnTo>
                      <a:lnTo>
                        <a:pt x="200" y="2084"/>
                      </a:lnTo>
                      <a:lnTo>
                        <a:pt x="179" y="2062"/>
                      </a:lnTo>
                      <a:lnTo>
                        <a:pt x="159" y="2038"/>
                      </a:lnTo>
                      <a:lnTo>
                        <a:pt x="140" y="2014"/>
                      </a:lnTo>
                      <a:lnTo>
                        <a:pt x="123" y="1989"/>
                      </a:lnTo>
                      <a:lnTo>
                        <a:pt x="107" y="1962"/>
                      </a:lnTo>
                      <a:lnTo>
                        <a:pt x="92" y="1934"/>
                      </a:lnTo>
                      <a:lnTo>
                        <a:pt x="78" y="1906"/>
                      </a:lnTo>
                      <a:lnTo>
                        <a:pt x="66" y="1877"/>
                      </a:lnTo>
                      <a:lnTo>
                        <a:pt x="54" y="1846"/>
                      </a:lnTo>
                      <a:lnTo>
                        <a:pt x="44" y="1816"/>
                      </a:lnTo>
                      <a:lnTo>
                        <a:pt x="35" y="1784"/>
                      </a:lnTo>
                      <a:lnTo>
                        <a:pt x="27" y="1752"/>
                      </a:lnTo>
                      <a:lnTo>
                        <a:pt x="19" y="1719"/>
                      </a:lnTo>
                      <a:lnTo>
                        <a:pt x="14" y="1686"/>
                      </a:lnTo>
                      <a:lnTo>
                        <a:pt x="9" y="1651"/>
                      </a:lnTo>
                      <a:lnTo>
                        <a:pt x="6" y="1618"/>
                      </a:lnTo>
                      <a:lnTo>
                        <a:pt x="3" y="1583"/>
                      </a:lnTo>
                      <a:lnTo>
                        <a:pt x="1" y="1548"/>
                      </a:lnTo>
                      <a:lnTo>
                        <a:pt x="0" y="1513"/>
                      </a:lnTo>
                      <a:lnTo>
                        <a:pt x="0" y="0"/>
                      </a:lnTo>
                      <a:lnTo>
                        <a:pt x="511" y="0"/>
                      </a:lnTo>
                      <a:lnTo>
                        <a:pt x="511" y="1247"/>
                      </a:lnTo>
                      <a:lnTo>
                        <a:pt x="511" y="1294"/>
                      </a:lnTo>
                      <a:lnTo>
                        <a:pt x="511" y="1353"/>
                      </a:lnTo>
                      <a:lnTo>
                        <a:pt x="512" y="1385"/>
                      </a:lnTo>
                      <a:lnTo>
                        <a:pt x="513" y="1420"/>
                      </a:lnTo>
                      <a:lnTo>
                        <a:pt x="516" y="1454"/>
                      </a:lnTo>
                      <a:lnTo>
                        <a:pt x="518" y="1489"/>
                      </a:lnTo>
                      <a:lnTo>
                        <a:pt x="522" y="1525"/>
                      </a:lnTo>
                      <a:lnTo>
                        <a:pt x="526" y="1558"/>
                      </a:lnTo>
                      <a:lnTo>
                        <a:pt x="532" y="1591"/>
                      </a:lnTo>
                      <a:lnTo>
                        <a:pt x="541" y="1622"/>
                      </a:lnTo>
                      <a:lnTo>
                        <a:pt x="545" y="1637"/>
                      </a:lnTo>
                      <a:lnTo>
                        <a:pt x="550" y="1650"/>
                      </a:lnTo>
                      <a:lnTo>
                        <a:pt x="555" y="1663"/>
                      </a:lnTo>
                      <a:lnTo>
                        <a:pt x="561" y="1675"/>
                      </a:lnTo>
                      <a:lnTo>
                        <a:pt x="567" y="1687"/>
                      </a:lnTo>
                      <a:lnTo>
                        <a:pt x="574" y="1697"/>
                      </a:lnTo>
                      <a:lnTo>
                        <a:pt x="582" y="1707"/>
                      </a:lnTo>
                      <a:lnTo>
                        <a:pt x="589" y="1714"/>
                      </a:lnTo>
                      <a:lnTo>
                        <a:pt x="596" y="1722"/>
                      </a:lnTo>
                      <a:lnTo>
                        <a:pt x="605" y="1727"/>
                      </a:lnTo>
                      <a:lnTo>
                        <a:pt x="612" y="1732"/>
                      </a:lnTo>
                      <a:lnTo>
                        <a:pt x="621" y="1736"/>
                      </a:lnTo>
                      <a:lnTo>
                        <a:pt x="630" y="1740"/>
                      </a:lnTo>
                      <a:lnTo>
                        <a:pt x="640" y="1744"/>
                      </a:lnTo>
                      <a:lnTo>
                        <a:pt x="649" y="1747"/>
                      </a:lnTo>
                      <a:lnTo>
                        <a:pt x="658" y="1749"/>
                      </a:lnTo>
                      <a:lnTo>
                        <a:pt x="677" y="1752"/>
                      </a:lnTo>
                      <a:lnTo>
                        <a:pt x="697" y="1754"/>
                      </a:lnTo>
                      <a:lnTo>
                        <a:pt x="717" y="1755"/>
                      </a:lnTo>
                      <a:lnTo>
                        <a:pt x="737" y="1756"/>
                      </a:lnTo>
                      <a:lnTo>
                        <a:pt x="771" y="1754"/>
                      </a:lnTo>
                      <a:lnTo>
                        <a:pt x="804" y="1750"/>
                      </a:lnTo>
                      <a:lnTo>
                        <a:pt x="835" y="1743"/>
                      </a:lnTo>
                      <a:lnTo>
                        <a:pt x="865" y="1733"/>
                      </a:lnTo>
                      <a:lnTo>
                        <a:pt x="894" y="1720"/>
                      </a:lnTo>
                      <a:lnTo>
                        <a:pt x="921" y="1706"/>
                      </a:lnTo>
                      <a:lnTo>
                        <a:pt x="948" y="1689"/>
                      </a:lnTo>
                      <a:lnTo>
                        <a:pt x="973" y="1670"/>
                      </a:lnTo>
                      <a:lnTo>
                        <a:pt x="997" y="1649"/>
                      </a:lnTo>
                      <a:lnTo>
                        <a:pt x="1019" y="1627"/>
                      </a:lnTo>
                      <a:lnTo>
                        <a:pt x="1041" y="1602"/>
                      </a:lnTo>
                      <a:lnTo>
                        <a:pt x="1061" y="1577"/>
                      </a:lnTo>
                      <a:lnTo>
                        <a:pt x="1081" y="1550"/>
                      </a:lnTo>
                      <a:lnTo>
                        <a:pt x="1099" y="1520"/>
                      </a:lnTo>
                      <a:lnTo>
                        <a:pt x="1117" y="1491"/>
                      </a:lnTo>
                      <a:lnTo>
                        <a:pt x="1133" y="1461"/>
                      </a:lnTo>
                      <a:lnTo>
                        <a:pt x="1147" y="1428"/>
                      </a:lnTo>
                      <a:lnTo>
                        <a:pt x="1161" y="1397"/>
                      </a:lnTo>
                      <a:lnTo>
                        <a:pt x="1175" y="1363"/>
                      </a:lnTo>
                      <a:lnTo>
                        <a:pt x="1186" y="1330"/>
                      </a:lnTo>
                      <a:lnTo>
                        <a:pt x="1197" y="1296"/>
                      </a:lnTo>
                      <a:lnTo>
                        <a:pt x="1207" y="1262"/>
                      </a:lnTo>
                      <a:lnTo>
                        <a:pt x="1216" y="1229"/>
                      </a:lnTo>
                      <a:lnTo>
                        <a:pt x="1223" y="1195"/>
                      </a:lnTo>
                      <a:lnTo>
                        <a:pt x="1230" y="1162"/>
                      </a:lnTo>
                      <a:lnTo>
                        <a:pt x="1236" y="1128"/>
                      </a:lnTo>
                      <a:lnTo>
                        <a:pt x="1241" y="1096"/>
                      </a:lnTo>
                      <a:lnTo>
                        <a:pt x="1245" y="1063"/>
                      </a:lnTo>
                      <a:lnTo>
                        <a:pt x="1248" y="1032"/>
                      </a:lnTo>
                      <a:lnTo>
                        <a:pt x="1250" y="1002"/>
                      </a:lnTo>
                      <a:lnTo>
                        <a:pt x="1251" y="972"/>
                      </a:lnTo>
                      <a:lnTo>
                        <a:pt x="1252" y="944"/>
                      </a:lnTo>
                      <a:lnTo>
                        <a:pt x="1252" y="0"/>
                      </a:lnTo>
                      <a:lnTo>
                        <a:pt x="1762" y="0"/>
                      </a:lnTo>
                      <a:lnTo>
                        <a:pt x="1762" y="2183"/>
                      </a:lnTo>
                      <a:lnTo>
                        <a:pt x="1252" y="2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7" name="Freeform 12"/>
                <p:cNvSpPr>
                  <a:spLocks/>
                </p:cNvSpPr>
                <p:nvPr userDrawn="1"/>
              </p:nvSpPr>
              <p:spPr bwMode="auto">
                <a:xfrm>
                  <a:off x="2911475" y="2555875"/>
                  <a:ext cx="177800" cy="322263"/>
                </a:xfrm>
                <a:custGeom>
                  <a:avLst/>
                  <a:gdLst/>
                  <a:ahLst/>
                  <a:cxnLst>
                    <a:cxn ang="0">
                      <a:pos x="511" y="2235"/>
                    </a:cxn>
                    <a:cxn ang="0">
                      <a:pos x="0" y="52"/>
                    </a:cxn>
                    <a:cxn ang="0">
                      <a:pos x="511" y="455"/>
                    </a:cxn>
                    <a:cxn ang="0">
                      <a:pos x="536" y="427"/>
                    </a:cxn>
                    <a:cxn ang="0">
                      <a:pos x="568" y="373"/>
                    </a:cxn>
                    <a:cxn ang="0">
                      <a:pos x="600" y="324"/>
                    </a:cxn>
                    <a:cxn ang="0">
                      <a:pos x="634" y="278"/>
                    </a:cxn>
                    <a:cxn ang="0">
                      <a:pos x="667" y="235"/>
                    </a:cxn>
                    <a:cxn ang="0">
                      <a:pos x="703" y="196"/>
                    </a:cxn>
                    <a:cxn ang="0">
                      <a:pos x="740" y="161"/>
                    </a:cxn>
                    <a:cxn ang="0">
                      <a:pos x="779" y="129"/>
                    </a:cxn>
                    <a:cxn ang="0">
                      <a:pos x="821" y="101"/>
                    </a:cxn>
                    <a:cxn ang="0">
                      <a:pos x="864" y="76"/>
                    </a:cxn>
                    <a:cxn ang="0">
                      <a:pos x="910" y="55"/>
                    </a:cxn>
                    <a:cxn ang="0">
                      <a:pos x="960" y="37"/>
                    </a:cxn>
                    <a:cxn ang="0">
                      <a:pos x="1013" y="22"/>
                    </a:cxn>
                    <a:cxn ang="0">
                      <a:pos x="1069" y="12"/>
                    </a:cxn>
                    <a:cxn ang="0">
                      <a:pos x="1130" y="4"/>
                    </a:cxn>
                    <a:cxn ang="0">
                      <a:pos x="1194" y="1"/>
                    </a:cxn>
                    <a:cxn ang="0">
                      <a:pos x="1228" y="533"/>
                    </a:cxn>
                    <a:cxn ang="0">
                      <a:pos x="1134" y="536"/>
                    </a:cxn>
                    <a:cxn ang="0">
                      <a:pos x="1047" y="543"/>
                    </a:cxn>
                    <a:cxn ang="0">
                      <a:pos x="967" y="558"/>
                    </a:cxn>
                    <a:cxn ang="0">
                      <a:pos x="895" y="577"/>
                    </a:cxn>
                    <a:cxn ang="0">
                      <a:pos x="829" y="602"/>
                    </a:cxn>
                    <a:cxn ang="0">
                      <a:pos x="770" y="632"/>
                    </a:cxn>
                    <a:cxn ang="0">
                      <a:pos x="719" y="669"/>
                    </a:cxn>
                    <a:cxn ang="0">
                      <a:pos x="673" y="712"/>
                    </a:cxn>
                    <a:cxn ang="0">
                      <a:pos x="633" y="760"/>
                    </a:cxn>
                    <a:cxn ang="0">
                      <a:pos x="599" y="815"/>
                    </a:cxn>
                    <a:cxn ang="0">
                      <a:pos x="572" y="875"/>
                    </a:cxn>
                    <a:cxn ang="0">
                      <a:pos x="549" y="943"/>
                    </a:cxn>
                    <a:cxn ang="0">
                      <a:pos x="532" y="1017"/>
                    </a:cxn>
                    <a:cxn ang="0">
                      <a:pos x="520" y="1096"/>
                    </a:cxn>
                    <a:cxn ang="0">
                      <a:pos x="513" y="1182"/>
                    </a:cxn>
                    <a:cxn ang="0">
                      <a:pos x="511" y="1276"/>
                    </a:cxn>
                  </a:cxnLst>
                  <a:rect l="0" t="0" r="r" b="b"/>
                  <a:pathLst>
                    <a:path w="1228" h="2235">
                      <a:moveTo>
                        <a:pt x="511" y="1276"/>
                      </a:moveTo>
                      <a:lnTo>
                        <a:pt x="511" y="2235"/>
                      </a:lnTo>
                      <a:lnTo>
                        <a:pt x="0" y="2235"/>
                      </a:lnTo>
                      <a:lnTo>
                        <a:pt x="0" y="52"/>
                      </a:lnTo>
                      <a:lnTo>
                        <a:pt x="511" y="52"/>
                      </a:lnTo>
                      <a:lnTo>
                        <a:pt x="511" y="455"/>
                      </a:lnTo>
                      <a:lnTo>
                        <a:pt x="519" y="455"/>
                      </a:lnTo>
                      <a:lnTo>
                        <a:pt x="536" y="427"/>
                      </a:lnTo>
                      <a:lnTo>
                        <a:pt x="552" y="400"/>
                      </a:lnTo>
                      <a:lnTo>
                        <a:pt x="568" y="373"/>
                      </a:lnTo>
                      <a:lnTo>
                        <a:pt x="583" y="348"/>
                      </a:lnTo>
                      <a:lnTo>
                        <a:pt x="600" y="324"/>
                      </a:lnTo>
                      <a:lnTo>
                        <a:pt x="617" y="301"/>
                      </a:lnTo>
                      <a:lnTo>
                        <a:pt x="634" y="278"/>
                      </a:lnTo>
                      <a:lnTo>
                        <a:pt x="651" y="256"/>
                      </a:lnTo>
                      <a:lnTo>
                        <a:pt x="667" y="235"/>
                      </a:lnTo>
                      <a:lnTo>
                        <a:pt x="685" y="215"/>
                      </a:lnTo>
                      <a:lnTo>
                        <a:pt x="703" y="196"/>
                      </a:lnTo>
                      <a:lnTo>
                        <a:pt x="721" y="178"/>
                      </a:lnTo>
                      <a:lnTo>
                        <a:pt x="740" y="161"/>
                      </a:lnTo>
                      <a:lnTo>
                        <a:pt x="760" y="145"/>
                      </a:lnTo>
                      <a:lnTo>
                        <a:pt x="779" y="129"/>
                      </a:lnTo>
                      <a:lnTo>
                        <a:pt x="800" y="114"/>
                      </a:lnTo>
                      <a:lnTo>
                        <a:pt x="821" y="101"/>
                      </a:lnTo>
                      <a:lnTo>
                        <a:pt x="842" y="87"/>
                      </a:lnTo>
                      <a:lnTo>
                        <a:pt x="864" y="76"/>
                      </a:lnTo>
                      <a:lnTo>
                        <a:pt x="887" y="64"/>
                      </a:lnTo>
                      <a:lnTo>
                        <a:pt x="910" y="55"/>
                      </a:lnTo>
                      <a:lnTo>
                        <a:pt x="936" y="45"/>
                      </a:lnTo>
                      <a:lnTo>
                        <a:pt x="960" y="37"/>
                      </a:lnTo>
                      <a:lnTo>
                        <a:pt x="986" y="28"/>
                      </a:lnTo>
                      <a:lnTo>
                        <a:pt x="1013" y="22"/>
                      </a:lnTo>
                      <a:lnTo>
                        <a:pt x="1041" y="17"/>
                      </a:lnTo>
                      <a:lnTo>
                        <a:pt x="1069" y="12"/>
                      </a:lnTo>
                      <a:lnTo>
                        <a:pt x="1099" y="8"/>
                      </a:lnTo>
                      <a:lnTo>
                        <a:pt x="1130" y="4"/>
                      </a:lnTo>
                      <a:lnTo>
                        <a:pt x="1162" y="2"/>
                      </a:lnTo>
                      <a:lnTo>
                        <a:pt x="1194" y="1"/>
                      </a:lnTo>
                      <a:lnTo>
                        <a:pt x="1228" y="0"/>
                      </a:lnTo>
                      <a:lnTo>
                        <a:pt x="1228" y="533"/>
                      </a:lnTo>
                      <a:lnTo>
                        <a:pt x="1180" y="534"/>
                      </a:lnTo>
                      <a:lnTo>
                        <a:pt x="1134" y="536"/>
                      </a:lnTo>
                      <a:lnTo>
                        <a:pt x="1089" y="539"/>
                      </a:lnTo>
                      <a:lnTo>
                        <a:pt x="1047" y="543"/>
                      </a:lnTo>
                      <a:lnTo>
                        <a:pt x="1006" y="549"/>
                      </a:lnTo>
                      <a:lnTo>
                        <a:pt x="967" y="558"/>
                      </a:lnTo>
                      <a:lnTo>
                        <a:pt x="930" y="566"/>
                      </a:lnTo>
                      <a:lnTo>
                        <a:pt x="895" y="577"/>
                      </a:lnTo>
                      <a:lnTo>
                        <a:pt x="861" y="588"/>
                      </a:lnTo>
                      <a:lnTo>
                        <a:pt x="829" y="602"/>
                      </a:lnTo>
                      <a:lnTo>
                        <a:pt x="799" y="616"/>
                      </a:lnTo>
                      <a:lnTo>
                        <a:pt x="770" y="632"/>
                      </a:lnTo>
                      <a:lnTo>
                        <a:pt x="744" y="650"/>
                      </a:lnTo>
                      <a:lnTo>
                        <a:pt x="719" y="669"/>
                      </a:lnTo>
                      <a:lnTo>
                        <a:pt x="695" y="690"/>
                      </a:lnTo>
                      <a:lnTo>
                        <a:pt x="673" y="712"/>
                      </a:lnTo>
                      <a:lnTo>
                        <a:pt x="652" y="735"/>
                      </a:lnTo>
                      <a:lnTo>
                        <a:pt x="633" y="760"/>
                      </a:lnTo>
                      <a:lnTo>
                        <a:pt x="616" y="787"/>
                      </a:lnTo>
                      <a:lnTo>
                        <a:pt x="599" y="815"/>
                      </a:lnTo>
                      <a:lnTo>
                        <a:pt x="584" y="845"/>
                      </a:lnTo>
                      <a:lnTo>
                        <a:pt x="572" y="875"/>
                      </a:lnTo>
                      <a:lnTo>
                        <a:pt x="559" y="909"/>
                      </a:lnTo>
                      <a:lnTo>
                        <a:pt x="549" y="943"/>
                      </a:lnTo>
                      <a:lnTo>
                        <a:pt x="539" y="979"/>
                      </a:lnTo>
                      <a:lnTo>
                        <a:pt x="532" y="1017"/>
                      </a:lnTo>
                      <a:lnTo>
                        <a:pt x="526" y="1056"/>
                      </a:lnTo>
                      <a:lnTo>
                        <a:pt x="520" y="1096"/>
                      </a:lnTo>
                      <a:lnTo>
                        <a:pt x="516" y="1138"/>
                      </a:lnTo>
                      <a:lnTo>
                        <a:pt x="513" y="1182"/>
                      </a:lnTo>
                      <a:lnTo>
                        <a:pt x="511" y="1229"/>
                      </a:lnTo>
                      <a:lnTo>
                        <a:pt x="511" y="1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sp>
              <p:nvSpPr>
                <p:cNvPr id="68" name="Freeform 13"/>
                <p:cNvSpPr>
                  <a:spLocks noEditPoints="1"/>
                </p:cNvSpPr>
                <p:nvPr userDrawn="1"/>
              </p:nvSpPr>
              <p:spPr bwMode="auto">
                <a:xfrm>
                  <a:off x="3103563" y="2555875"/>
                  <a:ext cx="255587" cy="330200"/>
                </a:xfrm>
                <a:custGeom>
                  <a:avLst/>
                  <a:gdLst/>
                  <a:ahLst/>
                  <a:cxnLst>
                    <a:cxn ang="0">
                      <a:pos x="1768" y="788"/>
                    </a:cxn>
                    <a:cxn ang="0">
                      <a:pos x="1742" y="607"/>
                    </a:cxn>
                    <a:cxn ang="0">
                      <a:pos x="1690" y="445"/>
                    </a:cxn>
                    <a:cxn ang="0">
                      <a:pos x="1612" y="305"/>
                    </a:cxn>
                    <a:cxn ang="0">
                      <a:pos x="1508" y="189"/>
                    </a:cxn>
                    <a:cxn ang="0">
                      <a:pos x="1378" y="99"/>
                    </a:cxn>
                    <a:cxn ang="0">
                      <a:pos x="1222" y="37"/>
                    </a:cxn>
                    <a:cxn ang="0">
                      <a:pos x="1039" y="4"/>
                    </a:cxn>
                    <a:cxn ang="0">
                      <a:pos x="821" y="5"/>
                    </a:cxn>
                    <a:cxn ang="0">
                      <a:pos x="609" y="42"/>
                    </a:cxn>
                    <a:cxn ang="0">
                      <a:pos x="432" y="114"/>
                    </a:cxn>
                    <a:cxn ang="0">
                      <a:pos x="286" y="218"/>
                    </a:cxn>
                    <a:cxn ang="0">
                      <a:pos x="171" y="353"/>
                    </a:cxn>
                    <a:cxn ang="0">
                      <a:pos x="86" y="516"/>
                    </a:cxn>
                    <a:cxn ang="0">
                      <a:pos x="30" y="703"/>
                    </a:cxn>
                    <a:cxn ang="0">
                      <a:pos x="3" y="914"/>
                    </a:cxn>
                    <a:cxn ang="0">
                      <a:pos x="4" y="1161"/>
                    </a:cxn>
                    <a:cxn ang="0">
                      <a:pos x="35" y="1412"/>
                    </a:cxn>
                    <a:cxn ang="0">
                      <a:pos x="100" y="1639"/>
                    </a:cxn>
                    <a:cxn ang="0">
                      <a:pos x="197" y="1839"/>
                    </a:cxn>
                    <a:cxn ang="0">
                      <a:pos x="332" y="2006"/>
                    </a:cxn>
                    <a:cxn ang="0">
                      <a:pos x="503" y="2138"/>
                    </a:cxn>
                    <a:cxn ang="0">
                      <a:pos x="714" y="2231"/>
                    </a:cxn>
                    <a:cxn ang="0">
                      <a:pos x="964" y="2279"/>
                    </a:cxn>
                    <a:cxn ang="0">
                      <a:pos x="1181" y="2284"/>
                    </a:cxn>
                    <a:cxn ang="0">
                      <a:pos x="1337" y="2275"/>
                    </a:cxn>
                    <a:cxn ang="0">
                      <a:pos x="1490" y="2254"/>
                    </a:cxn>
                    <a:cxn ang="0">
                      <a:pos x="1642" y="2220"/>
                    </a:cxn>
                    <a:cxn ang="0">
                      <a:pos x="1667" y="1862"/>
                    </a:cxn>
                    <a:cxn ang="0">
                      <a:pos x="1483" y="1909"/>
                    </a:cxn>
                    <a:cxn ang="0">
                      <a:pos x="1376" y="1923"/>
                    </a:cxn>
                    <a:cxn ang="0">
                      <a:pos x="1252" y="1926"/>
                    </a:cxn>
                    <a:cxn ang="0">
                      <a:pos x="1077" y="1896"/>
                    </a:cxn>
                    <a:cxn ang="0">
                      <a:pos x="922" y="1829"/>
                    </a:cxn>
                    <a:cxn ang="0">
                      <a:pos x="787" y="1733"/>
                    </a:cxn>
                    <a:cxn ang="0">
                      <a:pos x="674" y="1609"/>
                    </a:cxn>
                    <a:cxn ang="0">
                      <a:pos x="583" y="1466"/>
                    </a:cxn>
                    <a:cxn ang="0">
                      <a:pos x="519" y="1308"/>
                    </a:cxn>
                    <a:cxn ang="0">
                      <a:pos x="482" y="1139"/>
                    </a:cxn>
                    <a:cxn ang="0">
                      <a:pos x="1771" y="1009"/>
                    </a:cxn>
                    <a:cxn ang="0">
                      <a:pos x="494" y="662"/>
                    </a:cxn>
                    <a:cxn ang="0">
                      <a:pos x="515" y="586"/>
                    </a:cxn>
                    <a:cxn ang="0">
                      <a:pos x="550" y="518"/>
                    </a:cxn>
                    <a:cxn ang="0">
                      <a:pos x="594" y="458"/>
                    </a:cxn>
                    <a:cxn ang="0">
                      <a:pos x="648" y="408"/>
                    </a:cxn>
                    <a:cxn ang="0">
                      <a:pos x="712" y="369"/>
                    </a:cxn>
                    <a:cxn ang="0">
                      <a:pos x="783" y="342"/>
                    </a:cxn>
                    <a:cxn ang="0">
                      <a:pos x="861" y="328"/>
                    </a:cxn>
                    <a:cxn ang="0">
                      <a:pos x="945" y="328"/>
                    </a:cxn>
                    <a:cxn ang="0">
                      <a:pos x="1025" y="341"/>
                    </a:cxn>
                    <a:cxn ang="0">
                      <a:pos x="1095" y="366"/>
                    </a:cxn>
                    <a:cxn ang="0">
                      <a:pos x="1156" y="404"/>
                    </a:cxn>
                    <a:cxn ang="0">
                      <a:pos x="1207" y="452"/>
                    </a:cxn>
                    <a:cxn ang="0">
                      <a:pos x="1245" y="512"/>
                    </a:cxn>
                    <a:cxn ang="0">
                      <a:pos x="1273" y="581"/>
                    </a:cxn>
                    <a:cxn ang="0">
                      <a:pos x="1286" y="659"/>
                    </a:cxn>
                  </a:cxnLst>
                  <a:rect l="0" t="0" r="r" b="b"/>
                  <a:pathLst>
                    <a:path w="1771" h="2285">
                      <a:moveTo>
                        <a:pt x="1771" y="1009"/>
                      </a:moveTo>
                      <a:lnTo>
                        <a:pt x="1771" y="886"/>
                      </a:lnTo>
                      <a:lnTo>
                        <a:pt x="1770" y="837"/>
                      </a:lnTo>
                      <a:lnTo>
                        <a:pt x="1768" y="788"/>
                      </a:lnTo>
                      <a:lnTo>
                        <a:pt x="1764" y="741"/>
                      </a:lnTo>
                      <a:lnTo>
                        <a:pt x="1758" y="695"/>
                      </a:lnTo>
                      <a:lnTo>
                        <a:pt x="1751" y="650"/>
                      </a:lnTo>
                      <a:lnTo>
                        <a:pt x="1742" y="607"/>
                      </a:lnTo>
                      <a:lnTo>
                        <a:pt x="1731" y="564"/>
                      </a:lnTo>
                      <a:lnTo>
                        <a:pt x="1719" y="523"/>
                      </a:lnTo>
                      <a:lnTo>
                        <a:pt x="1706" y="483"/>
                      </a:lnTo>
                      <a:lnTo>
                        <a:pt x="1690" y="445"/>
                      </a:lnTo>
                      <a:lnTo>
                        <a:pt x="1673" y="408"/>
                      </a:lnTo>
                      <a:lnTo>
                        <a:pt x="1654" y="372"/>
                      </a:lnTo>
                      <a:lnTo>
                        <a:pt x="1634" y="338"/>
                      </a:lnTo>
                      <a:lnTo>
                        <a:pt x="1612" y="305"/>
                      </a:lnTo>
                      <a:lnTo>
                        <a:pt x="1588" y="274"/>
                      </a:lnTo>
                      <a:lnTo>
                        <a:pt x="1564" y="243"/>
                      </a:lnTo>
                      <a:lnTo>
                        <a:pt x="1537" y="215"/>
                      </a:lnTo>
                      <a:lnTo>
                        <a:pt x="1508" y="189"/>
                      </a:lnTo>
                      <a:lnTo>
                        <a:pt x="1478" y="164"/>
                      </a:lnTo>
                      <a:lnTo>
                        <a:pt x="1446" y="141"/>
                      </a:lnTo>
                      <a:lnTo>
                        <a:pt x="1413" y="119"/>
                      </a:lnTo>
                      <a:lnTo>
                        <a:pt x="1378" y="99"/>
                      </a:lnTo>
                      <a:lnTo>
                        <a:pt x="1341" y="81"/>
                      </a:lnTo>
                      <a:lnTo>
                        <a:pt x="1303" y="64"/>
                      </a:lnTo>
                      <a:lnTo>
                        <a:pt x="1263" y="49"/>
                      </a:lnTo>
                      <a:lnTo>
                        <a:pt x="1222" y="37"/>
                      </a:lnTo>
                      <a:lnTo>
                        <a:pt x="1179" y="25"/>
                      </a:lnTo>
                      <a:lnTo>
                        <a:pt x="1134" y="17"/>
                      </a:lnTo>
                      <a:lnTo>
                        <a:pt x="1088" y="10"/>
                      </a:lnTo>
                      <a:lnTo>
                        <a:pt x="1039" y="4"/>
                      </a:lnTo>
                      <a:lnTo>
                        <a:pt x="990" y="1"/>
                      </a:lnTo>
                      <a:lnTo>
                        <a:pt x="938" y="0"/>
                      </a:lnTo>
                      <a:lnTo>
                        <a:pt x="879" y="1"/>
                      </a:lnTo>
                      <a:lnTo>
                        <a:pt x="821" y="5"/>
                      </a:lnTo>
                      <a:lnTo>
                        <a:pt x="764" y="11"/>
                      </a:lnTo>
                      <a:lnTo>
                        <a:pt x="710" y="19"/>
                      </a:lnTo>
                      <a:lnTo>
                        <a:pt x="659" y="30"/>
                      </a:lnTo>
                      <a:lnTo>
                        <a:pt x="609" y="42"/>
                      </a:lnTo>
                      <a:lnTo>
                        <a:pt x="562" y="57"/>
                      </a:lnTo>
                      <a:lnTo>
                        <a:pt x="516" y="74"/>
                      </a:lnTo>
                      <a:lnTo>
                        <a:pt x="473" y="93"/>
                      </a:lnTo>
                      <a:lnTo>
                        <a:pt x="432" y="114"/>
                      </a:lnTo>
                      <a:lnTo>
                        <a:pt x="392" y="137"/>
                      </a:lnTo>
                      <a:lnTo>
                        <a:pt x="354" y="163"/>
                      </a:lnTo>
                      <a:lnTo>
                        <a:pt x="319" y="190"/>
                      </a:lnTo>
                      <a:lnTo>
                        <a:pt x="286" y="218"/>
                      </a:lnTo>
                      <a:lnTo>
                        <a:pt x="254" y="250"/>
                      </a:lnTo>
                      <a:lnTo>
                        <a:pt x="225" y="282"/>
                      </a:lnTo>
                      <a:lnTo>
                        <a:pt x="196" y="317"/>
                      </a:lnTo>
                      <a:lnTo>
                        <a:pt x="171" y="353"/>
                      </a:lnTo>
                      <a:lnTo>
                        <a:pt x="147" y="391"/>
                      </a:lnTo>
                      <a:lnTo>
                        <a:pt x="125" y="431"/>
                      </a:lnTo>
                      <a:lnTo>
                        <a:pt x="104" y="473"/>
                      </a:lnTo>
                      <a:lnTo>
                        <a:pt x="86" y="516"/>
                      </a:lnTo>
                      <a:lnTo>
                        <a:pt x="69" y="560"/>
                      </a:lnTo>
                      <a:lnTo>
                        <a:pt x="54" y="606"/>
                      </a:lnTo>
                      <a:lnTo>
                        <a:pt x="42" y="654"/>
                      </a:lnTo>
                      <a:lnTo>
                        <a:pt x="30" y="703"/>
                      </a:lnTo>
                      <a:lnTo>
                        <a:pt x="21" y="754"/>
                      </a:lnTo>
                      <a:lnTo>
                        <a:pt x="13" y="806"/>
                      </a:lnTo>
                      <a:lnTo>
                        <a:pt x="7" y="860"/>
                      </a:lnTo>
                      <a:lnTo>
                        <a:pt x="3" y="914"/>
                      </a:lnTo>
                      <a:lnTo>
                        <a:pt x="1" y="971"/>
                      </a:lnTo>
                      <a:lnTo>
                        <a:pt x="0" y="1028"/>
                      </a:lnTo>
                      <a:lnTo>
                        <a:pt x="1" y="1095"/>
                      </a:lnTo>
                      <a:lnTo>
                        <a:pt x="4" y="1161"/>
                      </a:lnTo>
                      <a:lnTo>
                        <a:pt x="8" y="1225"/>
                      </a:lnTo>
                      <a:lnTo>
                        <a:pt x="16" y="1289"/>
                      </a:lnTo>
                      <a:lnTo>
                        <a:pt x="24" y="1351"/>
                      </a:lnTo>
                      <a:lnTo>
                        <a:pt x="35" y="1412"/>
                      </a:lnTo>
                      <a:lnTo>
                        <a:pt x="48" y="1471"/>
                      </a:lnTo>
                      <a:lnTo>
                        <a:pt x="63" y="1528"/>
                      </a:lnTo>
                      <a:lnTo>
                        <a:pt x="80" y="1585"/>
                      </a:lnTo>
                      <a:lnTo>
                        <a:pt x="100" y="1639"/>
                      </a:lnTo>
                      <a:lnTo>
                        <a:pt x="121" y="1692"/>
                      </a:lnTo>
                      <a:lnTo>
                        <a:pt x="144" y="1742"/>
                      </a:lnTo>
                      <a:lnTo>
                        <a:pt x="170" y="1791"/>
                      </a:lnTo>
                      <a:lnTo>
                        <a:pt x="197" y="1839"/>
                      </a:lnTo>
                      <a:lnTo>
                        <a:pt x="228" y="1884"/>
                      </a:lnTo>
                      <a:lnTo>
                        <a:pt x="260" y="1927"/>
                      </a:lnTo>
                      <a:lnTo>
                        <a:pt x="295" y="1967"/>
                      </a:lnTo>
                      <a:lnTo>
                        <a:pt x="332" y="2006"/>
                      </a:lnTo>
                      <a:lnTo>
                        <a:pt x="372" y="2043"/>
                      </a:lnTo>
                      <a:lnTo>
                        <a:pt x="413" y="2077"/>
                      </a:lnTo>
                      <a:lnTo>
                        <a:pt x="457" y="2109"/>
                      </a:lnTo>
                      <a:lnTo>
                        <a:pt x="503" y="2138"/>
                      </a:lnTo>
                      <a:lnTo>
                        <a:pt x="553" y="2166"/>
                      </a:lnTo>
                      <a:lnTo>
                        <a:pt x="603" y="2190"/>
                      </a:lnTo>
                      <a:lnTo>
                        <a:pt x="657" y="2212"/>
                      </a:lnTo>
                      <a:lnTo>
                        <a:pt x="714" y="2231"/>
                      </a:lnTo>
                      <a:lnTo>
                        <a:pt x="772" y="2247"/>
                      </a:lnTo>
                      <a:lnTo>
                        <a:pt x="833" y="2261"/>
                      </a:lnTo>
                      <a:lnTo>
                        <a:pt x="897" y="2271"/>
                      </a:lnTo>
                      <a:lnTo>
                        <a:pt x="964" y="2279"/>
                      </a:lnTo>
                      <a:lnTo>
                        <a:pt x="1032" y="2284"/>
                      </a:lnTo>
                      <a:lnTo>
                        <a:pt x="1105" y="2285"/>
                      </a:lnTo>
                      <a:lnTo>
                        <a:pt x="1142" y="2285"/>
                      </a:lnTo>
                      <a:lnTo>
                        <a:pt x="1181" y="2284"/>
                      </a:lnTo>
                      <a:lnTo>
                        <a:pt x="1220" y="2283"/>
                      </a:lnTo>
                      <a:lnTo>
                        <a:pt x="1259" y="2281"/>
                      </a:lnTo>
                      <a:lnTo>
                        <a:pt x="1298" y="2278"/>
                      </a:lnTo>
                      <a:lnTo>
                        <a:pt x="1337" y="2275"/>
                      </a:lnTo>
                      <a:lnTo>
                        <a:pt x="1375" y="2270"/>
                      </a:lnTo>
                      <a:lnTo>
                        <a:pt x="1414" y="2265"/>
                      </a:lnTo>
                      <a:lnTo>
                        <a:pt x="1451" y="2260"/>
                      </a:lnTo>
                      <a:lnTo>
                        <a:pt x="1490" y="2254"/>
                      </a:lnTo>
                      <a:lnTo>
                        <a:pt x="1528" y="2246"/>
                      </a:lnTo>
                      <a:lnTo>
                        <a:pt x="1566" y="2239"/>
                      </a:lnTo>
                      <a:lnTo>
                        <a:pt x="1604" y="2229"/>
                      </a:lnTo>
                      <a:lnTo>
                        <a:pt x="1642" y="2220"/>
                      </a:lnTo>
                      <a:lnTo>
                        <a:pt x="1678" y="2210"/>
                      </a:lnTo>
                      <a:lnTo>
                        <a:pt x="1715" y="2198"/>
                      </a:lnTo>
                      <a:lnTo>
                        <a:pt x="1715" y="1845"/>
                      </a:lnTo>
                      <a:lnTo>
                        <a:pt x="1667" y="1862"/>
                      </a:lnTo>
                      <a:lnTo>
                        <a:pt x="1615" y="1877"/>
                      </a:lnTo>
                      <a:lnTo>
                        <a:pt x="1563" y="1891"/>
                      </a:lnTo>
                      <a:lnTo>
                        <a:pt x="1510" y="1904"/>
                      </a:lnTo>
                      <a:lnTo>
                        <a:pt x="1483" y="1909"/>
                      </a:lnTo>
                      <a:lnTo>
                        <a:pt x="1457" y="1913"/>
                      </a:lnTo>
                      <a:lnTo>
                        <a:pt x="1429" y="1917"/>
                      </a:lnTo>
                      <a:lnTo>
                        <a:pt x="1403" y="1920"/>
                      </a:lnTo>
                      <a:lnTo>
                        <a:pt x="1376" y="1923"/>
                      </a:lnTo>
                      <a:lnTo>
                        <a:pt x="1349" y="1926"/>
                      </a:lnTo>
                      <a:lnTo>
                        <a:pt x="1323" y="1927"/>
                      </a:lnTo>
                      <a:lnTo>
                        <a:pt x="1298" y="1928"/>
                      </a:lnTo>
                      <a:lnTo>
                        <a:pt x="1252" y="1926"/>
                      </a:lnTo>
                      <a:lnTo>
                        <a:pt x="1207" y="1922"/>
                      </a:lnTo>
                      <a:lnTo>
                        <a:pt x="1162" y="1916"/>
                      </a:lnTo>
                      <a:lnTo>
                        <a:pt x="1119" y="1907"/>
                      </a:lnTo>
                      <a:lnTo>
                        <a:pt x="1077" y="1896"/>
                      </a:lnTo>
                      <a:lnTo>
                        <a:pt x="1037" y="1883"/>
                      </a:lnTo>
                      <a:lnTo>
                        <a:pt x="997" y="1867"/>
                      </a:lnTo>
                      <a:lnTo>
                        <a:pt x="959" y="1849"/>
                      </a:lnTo>
                      <a:lnTo>
                        <a:pt x="922" y="1829"/>
                      </a:lnTo>
                      <a:lnTo>
                        <a:pt x="886" y="1808"/>
                      </a:lnTo>
                      <a:lnTo>
                        <a:pt x="851" y="1784"/>
                      </a:lnTo>
                      <a:lnTo>
                        <a:pt x="819" y="1759"/>
                      </a:lnTo>
                      <a:lnTo>
                        <a:pt x="787" y="1733"/>
                      </a:lnTo>
                      <a:lnTo>
                        <a:pt x="757" y="1703"/>
                      </a:lnTo>
                      <a:lnTo>
                        <a:pt x="727" y="1674"/>
                      </a:lnTo>
                      <a:lnTo>
                        <a:pt x="700" y="1643"/>
                      </a:lnTo>
                      <a:lnTo>
                        <a:pt x="674" y="1609"/>
                      </a:lnTo>
                      <a:lnTo>
                        <a:pt x="648" y="1575"/>
                      </a:lnTo>
                      <a:lnTo>
                        <a:pt x="625" y="1540"/>
                      </a:lnTo>
                      <a:lnTo>
                        <a:pt x="603" y="1504"/>
                      </a:lnTo>
                      <a:lnTo>
                        <a:pt x="583" y="1466"/>
                      </a:lnTo>
                      <a:lnTo>
                        <a:pt x="565" y="1428"/>
                      </a:lnTo>
                      <a:lnTo>
                        <a:pt x="548" y="1389"/>
                      </a:lnTo>
                      <a:lnTo>
                        <a:pt x="533" y="1349"/>
                      </a:lnTo>
                      <a:lnTo>
                        <a:pt x="519" y="1308"/>
                      </a:lnTo>
                      <a:lnTo>
                        <a:pt x="507" y="1266"/>
                      </a:lnTo>
                      <a:lnTo>
                        <a:pt x="497" y="1224"/>
                      </a:lnTo>
                      <a:lnTo>
                        <a:pt x="489" y="1182"/>
                      </a:lnTo>
                      <a:lnTo>
                        <a:pt x="482" y="1139"/>
                      </a:lnTo>
                      <a:lnTo>
                        <a:pt x="478" y="1096"/>
                      </a:lnTo>
                      <a:lnTo>
                        <a:pt x="475" y="1054"/>
                      </a:lnTo>
                      <a:lnTo>
                        <a:pt x="474" y="1009"/>
                      </a:lnTo>
                      <a:lnTo>
                        <a:pt x="1771" y="1009"/>
                      </a:lnTo>
                      <a:close/>
                      <a:moveTo>
                        <a:pt x="1289" y="702"/>
                      </a:moveTo>
                      <a:lnTo>
                        <a:pt x="488" y="702"/>
                      </a:lnTo>
                      <a:lnTo>
                        <a:pt x="490" y="681"/>
                      </a:lnTo>
                      <a:lnTo>
                        <a:pt x="494" y="662"/>
                      </a:lnTo>
                      <a:lnTo>
                        <a:pt x="498" y="643"/>
                      </a:lnTo>
                      <a:lnTo>
                        <a:pt x="503" y="623"/>
                      </a:lnTo>
                      <a:lnTo>
                        <a:pt x="509" y="604"/>
                      </a:lnTo>
                      <a:lnTo>
                        <a:pt x="515" y="586"/>
                      </a:lnTo>
                      <a:lnTo>
                        <a:pt x="522" y="568"/>
                      </a:lnTo>
                      <a:lnTo>
                        <a:pt x="531" y="550"/>
                      </a:lnTo>
                      <a:lnTo>
                        <a:pt x="540" y="534"/>
                      </a:lnTo>
                      <a:lnTo>
                        <a:pt x="550" y="518"/>
                      </a:lnTo>
                      <a:lnTo>
                        <a:pt x="559" y="502"/>
                      </a:lnTo>
                      <a:lnTo>
                        <a:pt x="571" y="487"/>
                      </a:lnTo>
                      <a:lnTo>
                        <a:pt x="582" y="472"/>
                      </a:lnTo>
                      <a:lnTo>
                        <a:pt x="594" y="458"/>
                      </a:lnTo>
                      <a:lnTo>
                        <a:pt x="607" y="445"/>
                      </a:lnTo>
                      <a:lnTo>
                        <a:pt x="620" y="432"/>
                      </a:lnTo>
                      <a:lnTo>
                        <a:pt x="635" y="419"/>
                      </a:lnTo>
                      <a:lnTo>
                        <a:pt x="648" y="408"/>
                      </a:lnTo>
                      <a:lnTo>
                        <a:pt x="664" y="397"/>
                      </a:lnTo>
                      <a:lnTo>
                        <a:pt x="680" y="387"/>
                      </a:lnTo>
                      <a:lnTo>
                        <a:pt x="696" y="378"/>
                      </a:lnTo>
                      <a:lnTo>
                        <a:pt x="712" y="369"/>
                      </a:lnTo>
                      <a:lnTo>
                        <a:pt x="729" y="362"/>
                      </a:lnTo>
                      <a:lnTo>
                        <a:pt x="747" y="354"/>
                      </a:lnTo>
                      <a:lnTo>
                        <a:pt x="765" y="348"/>
                      </a:lnTo>
                      <a:lnTo>
                        <a:pt x="783" y="342"/>
                      </a:lnTo>
                      <a:lnTo>
                        <a:pt x="802" y="338"/>
                      </a:lnTo>
                      <a:lnTo>
                        <a:pt x="821" y="333"/>
                      </a:lnTo>
                      <a:lnTo>
                        <a:pt x="841" y="330"/>
                      </a:lnTo>
                      <a:lnTo>
                        <a:pt x="861" y="328"/>
                      </a:lnTo>
                      <a:lnTo>
                        <a:pt x="881" y="327"/>
                      </a:lnTo>
                      <a:lnTo>
                        <a:pt x="902" y="326"/>
                      </a:lnTo>
                      <a:lnTo>
                        <a:pt x="923" y="326"/>
                      </a:lnTo>
                      <a:lnTo>
                        <a:pt x="945" y="328"/>
                      </a:lnTo>
                      <a:lnTo>
                        <a:pt x="965" y="330"/>
                      </a:lnTo>
                      <a:lnTo>
                        <a:pt x="986" y="332"/>
                      </a:lnTo>
                      <a:lnTo>
                        <a:pt x="1005" y="337"/>
                      </a:lnTo>
                      <a:lnTo>
                        <a:pt x="1025" y="341"/>
                      </a:lnTo>
                      <a:lnTo>
                        <a:pt x="1043" y="346"/>
                      </a:lnTo>
                      <a:lnTo>
                        <a:pt x="1061" y="352"/>
                      </a:lnTo>
                      <a:lnTo>
                        <a:pt x="1078" y="359"/>
                      </a:lnTo>
                      <a:lnTo>
                        <a:pt x="1095" y="366"/>
                      </a:lnTo>
                      <a:lnTo>
                        <a:pt x="1111" y="374"/>
                      </a:lnTo>
                      <a:lnTo>
                        <a:pt x="1127" y="384"/>
                      </a:lnTo>
                      <a:lnTo>
                        <a:pt x="1142" y="393"/>
                      </a:lnTo>
                      <a:lnTo>
                        <a:pt x="1156" y="404"/>
                      </a:lnTo>
                      <a:lnTo>
                        <a:pt x="1170" y="415"/>
                      </a:lnTo>
                      <a:lnTo>
                        <a:pt x="1182" y="427"/>
                      </a:lnTo>
                      <a:lnTo>
                        <a:pt x="1195" y="439"/>
                      </a:lnTo>
                      <a:lnTo>
                        <a:pt x="1207" y="452"/>
                      </a:lnTo>
                      <a:lnTo>
                        <a:pt x="1217" y="467"/>
                      </a:lnTo>
                      <a:lnTo>
                        <a:pt x="1228" y="480"/>
                      </a:lnTo>
                      <a:lnTo>
                        <a:pt x="1237" y="496"/>
                      </a:lnTo>
                      <a:lnTo>
                        <a:pt x="1245" y="512"/>
                      </a:lnTo>
                      <a:lnTo>
                        <a:pt x="1254" y="528"/>
                      </a:lnTo>
                      <a:lnTo>
                        <a:pt x="1261" y="545"/>
                      </a:lnTo>
                      <a:lnTo>
                        <a:pt x="1267" y="563"/>
                      </a:lnTo>
                      <a:lnTo>
                        <a:pt x="1273" y="581"/>
                      </a:lnTo>
                      <a:lnTo>
                        <a:pt x="1277" y="600"/>
                      </a:lnTo>
                      <a:lnTo>
                        <a:pt x="1281" y="619"/>
                      </a:lnTo>
                      <a:lnTo>
                        <a:pt x="1284" y="640"/>
                      </a:lnTo>
                      <a:lnTo>
                        <a:pt x="1286" y="659"/>
                      </a:lnTo>
                      <a:lnTo>
                        <a:pt x="1287" y="680"/>
                      </a:lnTo>
                      <a:lnTo>
                        <a:pt x="1289"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767">
                    <a:defRPr/>
                  </a:pPr>
                  <a:endParaRPr lang="pt-BR" sz="1350" kern="0" dirty="0">
                    <a:solidFill>
                      <a:sysClr val="windowText" lastClr="000000"/>
                    </a:solidFill>
                  </a:endParaRPr>
                </a:p>
              </p:txBody>
            </p:sp>
          </p:grpSp>
        </p:grpSp>
      </p:grpSp>
      <p:sp>
        <p:nvSpPr>
          <p:cNvPr id="69" name="Freeform 5"/>
          <p:cNvSpPr>
            <a:spLocks noChangeAspect="1" noEditPoints="1"/>
          </p:cNvSpPr>
          <p:nvPr userDrawn="1"/>
        </p:nvSpPr>
        <p:spPr bwMode="auto">
          <a:xfrm>
            <a:off x="5095815" y="845968"/>
            <a:ext cx="3618831" cy="188723"/>
          </a:xfrm>
          <a:custGeom>
            <a:avLst/>
            <a:gdLst>
              <a:gd name="T0" fmla="*/ 140 w 13706"/>
              <a:gd name="T1" fmla="*/ 64 h 628"/>
              <a:gd name="T2" fmla="*/ 13662 w 13706"/>
              <a:gd name="T3" fmla="*/ 399 h 628"/>
              <a:gd name="T4" fmla="*/ 13634 w 13706"/>
              <a:gd name="T5" fmla="*/ 304 h 628"/>
              <a:gd name="T6" fmla="*/ 13214 w 13706"/>
              <a:gd name="T7" fmla="*/ 479 h 628"/>
              <a:gd name="T8" fmla="*/ 13011 w 13706"/>
              <a:gd name="T9" fmla="*/ 199 h 628"/>
              <a:gd name="T10" fmla="*/ 12760 w 13706"/>
              <a:gd name="T11" fmla="*/ 169 h 628"/>
              <a:gd name="T12" fmla="*/ 12653 w 13706"/>
              <a:gd name="T13" fmla="*/ 486 h 628"/>
              <a:gd name="T14" fmla="*/ 12694 w 13706"/>
              <a:gd name="T15" fmla="*/ 206 h 628"/>
              <a:gd name="T16" fmla="*/ 12403 w 13706"/>
              <a:gd name="T17" fmla="*/ 338 h 628"/>
              <a:gd name="T18" fmla="*/ 12281 w 13706"/>
              <a:gd name="T19" fmla="*/ 248 h 628"/>
              <a:gd name="T20" fmla="*/ 12096 w 13706"/>
              <a:gd name="T21" fmla="*/ 229 h 628"/>
              <a:gd name="T22" fmla="*/ 11969 w 13706"/>
              <a:gd name="T23" fmla="*/ 477 h 628"/>
              <a:gd name="T24" fmla="*/ 11969 w 13706"/>
              <a:gd name="T25" fmla="*/ 477 h 628"/>
              <a:gd name="T26" fmla="*/ 11505 w 13706"/>
              <a:gd name="T27" fmla="*/ 221 h 628"/>
              <a:gd name="T28" fmla="*/ 11116 w 13706"/>
              <a:gd name="T29" fmla="*/ 253 h 628"/>
              <a:gd name="T30" fmla="*/ 10813 w 13706"/>
              <a:gd name="T31" fmla="*/ 0 h 628"/>
              <a:gd name="T32" fmla="*/ 10560 w 13706"/>
              <a:gd name="T33" fmla="*/ 169 h 628"/>
              <a:gd name="T34" fmla="*/ 10112 w 13706"/>
              <a:gd name="T35" fmla="*/ 479 h 628"/>
              <a:gd name="T36" fmla="*/ 10024 w 13706"/>
              <a:gd name="T37" fmla="*/ 559 h 628"/>
              <a:gd name="T38" fmla="*/ 9827 w 13706"/>
              <a:gd name="T39" fmla="*/ 161 h 628"/>
              <a:gd name="T40" fmla="*/ 9369 w 13706"/>
              <a:gd name="T41" fmla="*/ 199 h 628"/>
              <a:gd name="T42" fmla="*/ 9123 w 13706"/>
              <a:gd name="T43" fmla="*/ 307 h 628"/>
              <a:gd name="T44" fmla="*/ 9167 w 13706"/>
              <a:gd name="T45" fmla="*/ 257 h 628"/>
              <a:gd name="T46" fmla="*/ 8669 w 13706"/>
              <a:gd name="T47" fmla="*/ 29 h 628"/>
              <a:gd name="T48" fmla="*/ 8458 w 13706"/>
              <a:gd name="T49" fmla="*/ 161 h 628"/>
              <a:gd name="T50" fmla="*/ 8103 w 13706"/>
              <a:gd name="T51" fmla="*/ 257 h 628"/>
              <a:gd name="T52" fmla="*/ 8210 w 13706"/>
              <a:gd name="T53" fmla="*/ 449 h 628"/>
              <a:gd name="T54" fmla="*/ 7930 w 13706"/>
              <a:gd name="T55" fmla="*/ 479 h 628"/>
              <a:gd name="T56" fmla="*/ 7250 w 13706"/>
              <a:gd name="T57" fmla="*/ 479 h 628"/>
              <a:gd name="T58" fmla="*/ 7061 w 13706"/>
              <a:gd name="T59" fmla="*/ 438 h 628"/>
              <a:gd name="T60" fmla="*/ 7105 w 13706"/>
              <a:gd name="T61" fmla="*/ 479 h 628"/>
              <a:gd name="T62" fmla="*/ 6762 w 13706"/>
              <a:gd name="T63" fmla="*/ 68 h 628"/>
              <a:gd name="T64" fmla="*/ 6549 w 13706"/>
              <a:gd name="T65" fmla="*/ 169 h 628"/>
              <a:gd name="T66" fmla="*/ 6330 w 13706"/>
              <a:gd name="T67" fmla="*/ 199 h 628"/>
              <a:gd name="T68" fmla="*/ 6403 w 13706"/>
              <a:gd name="T69" fmla="*/ 219 h 628"/>
              <a:gd name="T70" fmla="*/ 6091 w 13706"/>
              <a:gd name="T71" fmla="*/ 479 h 628"/>
              <a:gd name="T72" fmla="*/ 5808 w 13706"/>
              <a:gd name="T73" fmla="*/ 437 h 628"/>
              <a:gd name="T74" fmla="*/ 5823 w 13706"/>
              <a:gd name="T75" fmla="*/ 29 h 628"/>
              <a:gd name="T76" fmla="*/ 5107 w 13706"/>
              <a:gd name="T77" fmla="*/ 318 h 628"/>
              <a:gd name="T78" fmla="*/ 5105 w 13706"/>
              <a:gd name="T79" fmla="*/ 219 h 628"/>
              <a:gd name="T80" fmla="*/ 5107 w 13706"/>
              <a:gd name="T81" fmla="*/ 420 h 628"/>
              <a:gd name="T82" fmla="*/ 4667 w 13706"/>
              <a:gd name="T83" fmla="*/ 240 h 628"/>
              <a:gd name="T84" fmla="*/ 4467 w 13706"/>
              <a:gd name="T85" fmla="*/ 88 h 628"/>
              <a:gd name="T86" fmla="*/ 4230 w 13706"/>
              <a:gd name="T87" fmla="*/ 169 h 628"/>
              <a:gd name="T88" fmla="*/ 4406 w 13706"/>
              <a:gd name="T89" fmla="*/ 443 h 628"/>
              <a:gd name="T90" fmla="*/ 3866 w 13706"/>
              <a:gd name="T91" fmla="*/ 486 h 628"/>
              <a:gd name="T92" fmla="*/ 3964 w 13706"/>
              <a:gd name="T93" fmla="*/ 479 h 628"/>
              <a:gd name="T94" fmla="*/ 3634 w 13706"/>
              <a:gd name="T95" fmla="*/ 199 h 628"/>
              <a:gd name="T96" fmla="*/ 3367 w 13706"/>
              <a:gd name="T97" fmla="*/ 206 h 628"/>
              <a:gd name="T98" fmla="*/ 3457 w 13706"/>
              <a:gd name="T99" fmla="*/ 479 h 628"/>
              <a:gd name="T100" fmla="*/ 3031 w 13706"/>
              <a:gd name="T101" fmla="*/ 486 h 628"/>
              <a:gd name="T102" fmla="*/ 2749 w 13706"/>
              <a:gd name="T103" fmla="*/ 444 h 628"/>
              <a:gd name="T104" fmla="*/ 1793 w 13706"/>
              <a:gd name="T105" fmla="*/ 169 h 628"/>
              <a:gd name="T106" fmla="*/ 1562 w 13706"/>
              <a:gd name="T107" fmla="*/ 326 h 628"/>
              <a:gd name="T108" fmla="*/ 1699 w 13706"/>
              <a:gd name="T109" fmla="*/ 169 h 628"/>
              <a:gd name="T110" fmla="*/ 1349 w 13706"/>
              <a:gd name="T111" fmla="*/ 199 h 628"/>
              <a:gd name="T112" fmla="*/ 1281 w 13706"/>
              <a:gd name="T113" fmla="*/ 313 h 628"/>
              <a:gd name="T114" fmla="*/ 1061 w 13706"/>
              <a:gd name="T115" fmla="*/ 169 h 628"/>
              <a:gd name="T116" fmla="*/ 1187 w 13706"/>
              <a:gd name="T117" fmla="*/ 483 h 628"/>
              <a:gd name="T118" fmla="*/ 803 w 13706"/>
              <a:gd name="T119" fmla="*/ 486 h 628"/>
              <a:gd name="T120" fmla="*/ 899 w 13706"/>
              <a:gd name="T121" fmla="*/ 479 h 628"/>
              <a:gd name="T122" fmla="*/ 545 w 13706"/>
              <a:gd name="T123" fmla="*/ 479 h 628"/>
              <a:gd name="T124" fmla="*/ 400 w 13706"/>
              <a:gd name="T125" fmla="*/ 1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6" h="628">
                <a:moveTo>
                  <a:pt x="5" y="420"/>
                </a:moveTo>
                <a:cubicBezTo>
                  <a:pt x="40" y="435"/>
                  <a:pt x="76" y="444"/>
                  <a:pt x="115" y="444"/>
                </a:cubicBezTo>
                <a:cubicBezTo>
                  <a:pt x="163" y="444"/>
                  <a:pt x="212" y="422"/>
                  <a:pt x="212" y="367"/>
                </a:cubicBezTo>
                <a:cubicBezTo>
                  <a:pt x="212" y="317"/>
                  <a:pt x="176" y="299"/>
                  <a:pt x="137" y="276"/>
                </a:cubicBezTo>
                <a:lnTo>
                  <a:pt x="97" y="254"/>
                </a:lnTo>
                <a:cubicBezTo>
                  <a:pt x="48" y="227"/>
                  <a:pt x="0" y="203"/>
                  <a:pt x="0" y="137"/>
                </a:cubicBezTo>
                <a:cubicBezTo>
                  <a:pt x="0" y="53"/>
                  <a:pt x="72" y="22"/>
                  <a:pt x="145" y="22"/>
                </a:cubicBezTo>
                <a:cubicBezTo>
                  <a:pt x="177" y="22"/>
                  <a:pt x="208" y="28"/>
                  <a:pt x="239" y="34"/>
                </a:cubicBezTo>
                <a:lnTo>
                  <a:pt x="239" y="84"/>
                </a:lnTo>
                <a:cubicBezTo>
                  <a:pt x="208" y="71"/>
                  <a:pt x="174" y="64"/>
                  <a:pt x="140" y="64"/>
                </a:cubicBezTo>
                <a:cubicBezTo>
                  <a:pt x="97" y="64"/>
                  <a:pt x="56" y="84"/>
                  <a:pt x="56" y="133"/>
                </a:cubicBezTo>
                <a:cubicBezTo>
                  <a:pt x="56" y="174"/>
                  <a:pt x="99" y="195"/>
                  <a:pt x="131" y="213"/>
                </a:cubicBezTo>
                <a:lnTo>
                  <a:pt x="172" y="236"/>
                </a:lnTo>
                <a:cubicBezTo>
                  <a:pt x="225" y="266"/>
                  <a:pt x="268" y="292"/>
                  <a:pt x="268" y="360"/>
                </a:cubicBezTo>
                <a:cubicBezTo>
                  <a:pt x="268" y="454"/>
                  <a:pt x="191" y="486"/>
                  <a:pt x="109" y="486"/>
                </a:cubicBezTo>
                <a:cubicBezTo>
                  <a:pt x="73" y="486"/>
                  <a:pt x="39" y="481"/>
                  <a:pt x="5" y="473"/>
                </a:cubicBezTo>
                <a:lnTo>
                  <a:pt x="5" y="420"/>
                </a:lnTo>
                <a:close/>
                <a:moveTo>
                  <a:pt x="13506" y="433"/>
                </a:moveTo>
                <a:cubicBezTo>
                  <a:pt x="13532" y="441"/>
                  <a:pt x="13558" y="449"/>
                  <a:pt x="13586" y="449"/>
                </a:cubicBezTo>
                <a:cubicBezTo>
                  <a:pt x="13619" y="449"/>
                  <a:pt x="13662" y="440"/>
                  <a:pt x="13662" y="399"/>
                </a:cubicBezTo>
                <a:cubicBezTo>
                  <a:pt x="13662" y="368"/>
                  <a:pt x="13628" y="355"/>
                  <a:pt x="13606" y="343"/>
                </a:cubicBezTo>
                <a:lnTo>
                  <a:pt x="13577" y="328"/>
                </a:lnTo>
                <a:cubicBezTo>
                  <a:pt x="13541" y="309"/>
                  <a:pt x="13507" y="291"/>
                  <a:pt x="13507" y="244"/>
                </a:cubicBezTo>
                <a:cubicBezTo>
                  <a:pt x="13507" y="183"/>
                  <a:pt x="13560" y="161"/>
                  <a:pt x="13613" y="161"/>
                </a:cubicBezTo>
                <a:cubicBezTo>
                  <a:pt x="13639" y="161"/>
                  <a:pt x="13662" y="166"/>
                  <a:pt x="13686" y="172"/>
                </a:cubicBezTo>
                <a:lnTo>
                  <a:pt x="13686" y="213"/>
                </a:lnTo>
                <a:cubicBezTo>
                  <a:pt x="13664" y="205"/>
                  <a:pt x="13637" y="199"/>
                  <a:pt x="13614" y="199"/>
                </a:cubicBezTo>
                <a:cubicBezTo>
                  <a:pt x="13590" y="199"/>
                  <a:pt x="13551" y="209"/>
                  <a:pt x="13551" y="239"/>
                </a:cubicBezTo>
                <a:cubicBezTo>
                  <a:pt x="13551" y="265"/>
                  <a:pt x="13589" y="277"/>
                  <a:pt x="13607" y="288"/>
                </a:cubicBezTo>
                <a:lnTo>
                  <a:pt x="13634" y="304"/>
                </a:lnTo>
                <a:cubicBezTo>
                  <a:pt x="13672" y="326"/>
                  <a:pt x="13706" y="342"/>
                  <a:pt x="13706" y="392"/>
                </a:cubicBezTo>
                <a:cubicBezTo>
                  <a:pt x="13706" y="462"/>
                  <a:pt x="13652" y="486"/>
                  <a:pt x="13590" y="486"/>
                </a:cubicBezTo>
                <a:cubicBezTo>
                  <a:pt x="13562" y="486"/>
                  <a:pt x="13534" y="482"/>
                  <a:pt x="13506" y="473"/>
                </a:cubicBezTo>
                <a:lnTo>
                  <a:pt x="13506" y="433"/>
                </a:lnTo>
                <a:close/>
                <a:moveTo>
                  <a:pt x="13392" y="479"/>
                </a:moveTo>
                <a:lnTo>
                  <a:pt x="13392" y="307"/>
                </a:lnTo>
                <a:cubicBezTo>
                  <a:pt x="13392" y="272"/>
                  <a:pt x="13398" y="206"/>
                  <a:pt x="13346" y="206"/>
                </a:cubicBezTo>
                <a:cubicBezTo>
                  <a:pt x="13284" y="206"/>
                  <a:pt x="13258" y="303"/>
                  <a:pt x="13258" y="351"/>
                </a:cubicBezTo>
                <a:lnTo>
                  <a:pt x="13258" y="479"/>
                </a:lnTo>
                <a:lnTo>
                  <a:pt x="13214" y="479"/>
                </a:lnTo>
                <a:lnTo>
                  <a:pt x="13214" y="169"/>
                </a:lnTo>
                <a:lnTo>
                  <a:pt x="13258" y="169"/>
                </a:lnTo>
                <a:lnTo>
                  <a:pt x="13258" y="240"/>
                </a:lnTo>
                <a:lnTo>
                  <a:pt x="13260" y="240"/>
                </a:lnTo>
                <a:cubicBezTo>
                  <a:pt x="13275" y="192"/>
                  <a:pt x="13303" y="161"/>
                  <a:pt x="13357" y="161"/>
                </a:cubicBezTo>
                <a:cubicBezTo>
                  <a:pt x="13411" y="161"/>
                  <a:pt x="13436" y="208"/>
                  <a:pt x="13436" y="257"/>
                </a:cubicBezTo>
                <a:lnTo>
                  <a:pt x="13436" y="479"/>
                </a:lnTo>
                <a:lnTo>
                  <a:pt x="13392" y="479"/>
                </a:lnTo>
                <a:close/>
                <a:moveTo>
                  <a:pt x="13088" y="324"/>
                </a:moveTo>
                <a:cubicBezTo>
                  <a:pt x="13088" y="274"/>
                  <a:pt x="13076" y="199"/>
                  <a:pt x="13011" y="199"/>
                </a:cubicBezTo>
                <a:cubicBezTo>
                  <a:pt x="12946" y="199"/>
                  <a:pt x="12935" y="274"/>
                  <a:pt x="12935" y="324"/>
                </a:cubicBezTo>
                <a:cubicBezTo>
                  <a:pt x="12935" y="373"/>
                  <a:pt x="12946" y="449"/>
                  <a:pt x="13011" y="449"/>
                </a:cubicBezTo>
                <a:cubicBezTo>
                  <a:pt x="13076" y="449"/>
                  <a:pt x="13088" y="374"/>
                  <a:pt x="13088" y="324"/>
                </a:cubicBezTo>
                <a:close/>
                <a:moveTo>
                  <a:pt x="12884" y="325"/>
                </a:moveTo>
                <a:cubicBezTo>
                  <a:pt x="12884" y="241"/>
                  <a:pt x="12914" y="161"/>
                  <a:pt x="13011" y="161"/>
                </a:cubicBezTo>
                <a:cubicBezTo>
                  <a:pt x="13108" y="161"/>
                  <a:pt x="13139" y="241"/>
                  <a:pt x="13139" y="325"/>
                </a:cubicBezTo>
                <a:cubicBezTo>
                  <a:pt x="13139" y="409"/>
                  <a:pt x="13108" y="486"/>
                  <a:pt x="13011" y="486"/>
                </a:cubicBezTo>
                <a:cubicBezTo>
                  <a:pt x="12914" y="486"/>
                  <a:pt x="12884" y="409"/>
                  <a:pt x="12884" y="325"/>
                </a:cubicBezTo>
                <a:close/>
                <a:moveTo>
                  <a:pt x="12760" y="479"/>
                </a:moveTo>
                <a:lnTo>
                  <a:pt x="12760" y="169"/>
                </a:lnTo>
                <a:lnTo>
                  <a:pt x="12804" y="169"/>
                </a:lnTo>
                <a:lnTo>
                  <a:pt x="12804" y="479"/>
                </a:lnTo>
                <a:lnTo>
                  <a:pt x="12760" y="479"/>
                </a:lnTo>
                <a:close/>
                <a:moveTo>
                  <a:pt x="12752" y="88"/>
                </a:moveTo>
                <a:lnTo>
                  <a:pt x="12752" y="29"/>
                </a:lnTo>
                <a:lnTo>
                  <a:pt x="12811" y="29"/>
                </a:lnTo>
                <a:lnTo>
                  <a:pt x="12811" y="88"/>
                </a:lnTo>
                <a:lnTo>
                  <a:pt x="12752" y="88"/>
                </a:lnTo>
                <a:close/>
                <a:moveTo>
                  <a:pt x="12692" y="483"/>
                </a:moveTo>
                <a:cubicBezTo>
                  <a:pt x="12679" y="485"/>
                  <a:pt x="12666" y="486"/>
                  <a:pt x="12653" y="486"/>
                </a:cubicBezTo>
                <a:cubicBezTo>
                  <a:pt x="12594" y="486"/>
                  <a:pt x="12567" y="467"/>
                  <a:pt x="12567" y="406"/>
                </a:cubicBezTo>
                <a:lnTo>
                  <a:pt x="12567" y="206"/>
                </a:lnTo>
                <a:lnTo>
                  <a:pt x="12516" y="206"/>
                </a:lnTo>
                <a:lnTo>
                  <a:pt x="12516" y="169"/>
                </a:lnTo>
                <a:lnTo>
                  <a:pt x="12567" y="169"/>
                </a:lnTo>
                <a:lnTo>
                  <a:pt x="12567" y="96"/>
                </a:lnTo>
                <a:lnTo>
                  <a:pt x="12611" y="68"/>
                </a:lnTo>
                <a:lnTo>
                  <a:pt x="12611" y="169"/>
                </a:lnTo>
                <a:lnTo>
                  <a:pt x="12694" y="169"/>
                </a:lnTo>
                <a:lnTo>
                  <a:pt x="12694" y="206"/>
                </a:lnTo>
                <a:lnTo>
                  <a:pt x="12611" y="206"/>
                </a:lnTo>
                <a:lnTo>
                  <a:pt x="12611" y="397"/>
                </a:lnTo>
                <a:cubicBezTo>
                  <a:pt x="12611" y="430"/>
                  <a:pt x="12626" y="449"/>
                  <a:pt x="12662" y="449"/>
                </a:cubicBezTo>
                <a:cubicBezTo>
                  <a:pt x="12674" y="449"/>
                  <a:pt x="12681" y="448"/>
                  <a:pt x="12692" y="443"/>
                </a:cubicBezTo>
                <a:lnTo>
                  <a:pt x="12692" y="483"/>
                </a:lnTo>
                <a:close/>
                <a:moveTo>
                  <a:pt x="12377" y="338"/>
                </a:moveTo>
                <a:cubicBezTo>
                  <a:pt x="12338" y="338"/>
                  <a:pt x="12276" y="355"/>
                  <a:pt x="12276" y="404"/>
                </a:cubicBezTo>
                <a:cubicBezTo>
                  <a:pt x="12276" y="430"/>
                  <a:pt x="12293" y="449"/>
                  <a:pt x="12319" y="449"/>
                </a:cubicBezTo>
                <a:cubicBezTo>
                  <a:pt x="12349" y="449"/>
                  <a:pt x="12379" y="429"/>
                  <a:pt x="12392" y="401"/>
                </a:cubicBezTo>
                <a:cubicBezTo>
                  <a:pt x="12402" y="378"/>
                  <a:pt x="12403" y="364"/>
                  <a:pt x="12403" y="338"/>
                </a:cubicBezTo>
                <a:lnTo>
                  <a:pt x="12377" y="338"/>
                </a:lnTo>
                <a:close/>
                <a:moveTo>
                  <a:pt x="12405" y="479"/>
                </a:moveTo>
                <a:lnTo>
                  <a:pt x="12405" y="438"/>
                </a:lnTo>
                <a:lnTo>
                  <a:pt x="12403" y="438"/>
                </a:lnTo>
                <a:cubicBezTo>
                  <a:pt x="12386" y="471"/>
                  <a:pt x="12343" y="486"/>
                  <a:pt x="12308" y="486"/>
                </a:cubicBezTo>
                <a:cubicBezTo>
                  <a:pt x="12254" y="486"/>
                  <a:pt x="12225" y="452"/>
                  <a:pt x="12225" y="400"/>
                </a:cubicBezTo>
                <a:cubicBezTo>
                  <a:pt x="12225" y="330"/>
                  <a:pt x="12305" y="301"/>
                  <a:pt x="12403" y="301"/>
                </a:cubicBezTo>
                <a:lnTo>
                  <a:pt x="12403" y="295"/>
                </a:lnTo>
                <a:cubicBezTo>
                  <a:pt x="12403" y="248"/>
                  <a:pt x="12406" y="199"/>
                  <a:pt x="12345" y="199"/>
                </a:cubicBezTo>
                <a:cubicBezTo>
                  <a:pt x="12307" y="199"/>
                  <a:pt x="12287" y="211"/>
                  <a:pt x="12281" y="248"/>
                </a:cubicBezTo>
                <a:lnTo>
                  <a:pt x="12232" y="248"/>
                </a:lnTo>
                <a:cubicBezTo>
                  <a:pt x="12234" y="186"/>
                  <a:pt x="12287" y="161"/>
                  <a:pt x="12343" y="161"/>
                </a:cubicBezTo>
                <a:cubicBezTo>
                  <a:pt x="12414" y="161"/>
                  <a:pt x="12448" y="191"/>
                  <a:pt x="12448" y="261"/>
                </a:cubicBezTo>
                <a:lnTo>
                  <a:pt x="12448" y="479"/>
                </a:lnTo>
                <a:lnTo>
                  <a:pt x="12405" y="479"/>
                </a:lnTo>
                <a:close/>
                <a:moveTo>
                  <a:pt x="12050" y="479"/>
                </a:moveTo>
                <a:lnTo>
                  <a:pt x="12050" y="169"/>
                </a:lnTo>
                <a:lnTo>
                  <a:pt x="12095" y="169"/>
                </a:lnTo>
                <a:lnTo>
                  <a:pt x="12095" y="229"/>
                </a:lnTo>
                <a:lnTo>
                  <a:pt x="12096" y="229"/>
                </a:lnTo>
                <a:cubicBezTo>
                  <a:pt x="12116" y="184"/>
                  <a:pt x="12150" y="161"/>
                  <a:pt x="12200" y="161"/>
                </a:cubicBezTo>
                <a:lnTo>
                  <a:pt x="12200" y="209"/>
                </a:lnTo>
                <a:cubicBezTo>
                  <a:pt x="12119" y="209"/>
                  <a:pt x="12095" y="283"/>
                  <a:pt x="12095" y="351"/>
                </a:cubicBezTo>
                <a:lnTo>
                  <a:pt x="12095" y="479"/>
                </a:lnTo>
                <a:lnTo>
                  <a:pt x="12050" y="479"/>
                </a:lnTo>
                <a:close/>
                <a:moveTo>
                  <a:pt x="11925" y="257"/>
                </a:moveTo>
                <a:cubicBezTo>
                  <a:pt x="11925" y="223"/>
                  <a:pt x="11900" y="199"/>
                  <a:pt x="11866" y="199"/>
                </a:cubicBezTo>
                <a:cubicBezTo>
                  <a:pt x="11828" y="199"/>
                  <a:pt x="11808" y="223"/>
                  <a:pt x="11800" y="257"/>
                </a:cubicBezTo>
                <a:lnTo>
                  <a:pt x="11925" y="257"/>
                </a:lnTo>
                <a:close/>
                <a:moveTo>
                  <a:pt x="11969" y="477"/>
                </a:moveTo>
                <a:cubicBezTo>
                  <a:pt x="11946" y="484"/>
                  <a:pt x="11922" y="486"/>
                  <a:pt x="11898" y="486"/>
                </a:cubicBezTo>
                <a:cubicBezTo>
                  <a:pt x="11790" y="486"/>
                  <a:pt x="11746" y="415"/>
                  <a:pt x="11746" y="313"/>
                </a:cubicBezTo>
                <a:cubicBezTo>
                  <a:pt x="11746" y="233"/>
                  <a:pt x="11776" y="161"/>
                  <a:pt x="11868" y="161"/>
                </a:cubicBezTo>
                <a:cubicBezTo>
                  <a:pt x="11939" y="161"/>
                  <a:pt x="11976" y="210"/>
                  <a:pt x="11976" y="280"/>
                </a:cubicBezTo>
                <a:lnTo>
                  <a:pt x="11976" y="295"/>
                </a:lnTo>
                <a:lnTo>
                  <a:pt x="11797" y="295"/>
                </a:lnTo>
                <a:lnTo>
                  <a:pt x="11797" y="313"/>
                </a:lnTo>
                <a:cubicBezTo>
                  <a:pt x="11797" y="381"/>
                  <a:pt x="11831" y="449"/>
                  <a:pt x="11907" y="449"/>
                </a:cubicBezTo>
                <a:cubicBezTo>
                  <a:pt x="11929" y="449"/>
                  <a:pt x="11948" y="446"/>
                  <a:pt x="11969" y="441"/>
                </a:cubicBezTo>
                <a:lnTo>
                  <a:pt x="11969" y="477"/>
                </a:lnTo>
                <a:close/>
                <a:moveTo>
                  <a:pt x="11642" y="313"/>
                </a:moveTo>
                <a:cubicBezTo>
                  <a:pt x="11642" y="270"/>
                  <a:pt x="11634" y="199"/>
                  <a:pt x="11577" y="199"/>
                </a:cubicBezTo>
                <a:cubicBezTo>
                  <a:pt x="11520" y="199"/>
                  <a:pt x="11504" y="279"/>
                  <a:pt x="11504" y="323"/>
                </a:cubicBezTo>
                <a:cubicBezTo>
                  <a:pt x="11504" y="366"/>
                  <a:pt x="11517" y="449"/>
                  <a:pt x="11576" y="449"/>
                </a:cubicBezTo>
                <a:cubicBezTo>
                  <a:pt x="11637" y="449"/>
                  <a:pt x="11642" y="356"/>
                  <a:pt x="11642" y="313"/>
                </a:cubicBezTo>
                <a:close/>
                <a:moveTo>
                  <a:pt x="11460" y="619"/>
                </a:moveTo>
                <a:lnTo>
                  <a:pt x="11460" y="169"/>
                </a:lnTo>
                <a:lnTo>
                  <a:pt x="11504" y="169"/>
                </a:lnTo>
                <a:lnTo>
                  <a:pt x="11504" y="221"/>
                </a:lnTo>
                <a:lnTo>
                  <a:pt x="11505" y="221"/>
                </a:lnTo>
                <a:cubicBezTo>
                  <a:pt x="11516" y="185"/>
                  <a:pt x="11548" y="161"/>
                  <a:pt x="11586" y="161"/>
                </a:cubicBezTo>
                <a:cubicBezTo>
                  <a:pt x="11676" y="161"/>
                  <a:pt x="11693" y="249"/>
                  <a:pt x="11693" y="321"/>
                </a:cubicBezTo>
                <a:cubicBezTo>
                  <a:pt x="11693" y="388"/>
                  <a:pt x="11672" y="486"/>
                  <a:pt x="11587" y="486"/>
                </a:cubicBezTo>
                <a:cubicBezTo>
                  <a:pt x="11547" y="486"/>
                  <a:pt x="11518" y="467"/>
                  <a:pt x="11505" y="428"/>
                </a:cubicBezTo>
                <a:lnTo>
                  <a:pt x="11504" y="428"/>
                </a:lnTo>
                <a:lnTo>
                  <a:pt x="11504" y="619"/>
                </a:lnTo>
                <a:lnTo>
                  <a:pt x="11460" y="619"/>
                </a:lnTo>
                <a:close/>
                <a:moveTo>
                  <a:pt x="11325" y="253"/>
                </a:moveTo>
                <a:cubicBezTo>
                  <a:pt x="11325" y="182"/>
                  <a:pt x="11315" y="64"/>
                  <a:pt x="11221" y="64"/>
                </a:cubicBezTo>
                <a:cubicBezTo>
                  <a:pt x="11126" y="64"/>
                  <a:pt x="11116" y="182"/>
                  <a:pt x="11116" y="253"/>
                </a:cubicBezTo>
                <a:cubicBezTo>
                  <a:pt x="11116" y="324"/>
                  <a:pt x="11126" y="444"/>
                  <a:pt x="11221" y="444"/>
                </a:cubicBezTo>
                <a:cubicBezTo>
                  <a:pt x="11315" y="444"/>
                  <a:pt x="11325" y="323"/>
                  <a:pt x="11325" y="253"/>
                </a:cubicBezTo>
                <a:close/>
                <a:moveTo>
                  <a:pt x="11060" y="253"/>
                </a:moveTo>
                <a:cubicBezTo>
                  <a:pt x="11060" y="144"/>
                  <a:pt x="11088" y="22"/>
                  <a:pt x="11221" y="22"/>
                </a:cubicBezTo>
                <a:cubicBezTo>
                  <a:pt x="11353" y="22"/>
                  <a:pt x="11381" y="146"/>
                  <a:pt x="11381" y="253"/>
                </a:cubicBezTo>
                <a:cubicBezTo>
                  <a:pt x="11381" y="360"/>
                  <a:pt x="11353" y="486"/>
                  <a:pt x="11221" y="486"/>
                </a:cubicBezTo>
                <a:cubicBezTo>
                  <a:pt x="11088" y="486"/>
                  <a:pt x="11060" y="360"/>
                  <a:pt x="11060" y="253"/>
                </a:cubicBezTo>
                <a:close/>
                <a:moveTo>
                  <a:pt x="10779" y="628"/>
                </a:moveTo>
                <a:lnTo>
                  <a:pt x="10779" y="0"/>
                </a:lnTo>
                <a:lnTo>
                  <a:pt x="10813" y="0"/>
                </a:lnTo>
                <a:lnTo>
                  <a:pt x="10813" y="628"/>
                </a:lnTo>
                <a:lnTo>
                  <a:pt x="10779" y="628"/>
                </a:lnTo>
                <a:close/>
                <a:moveTo>
                  <a:pt x="10364" y="605"/>
                </a:moveTo>
                <a:lnTo>
                  <a:pt x="10408" y="479"/>
                </a:lnTo>
                <a:lnTo>
                  <a:pt x="10289" y="169"/>
                </a:lnTo>
                <a:lnTo>
                  <a:pt x="10337" y="169"/>
                </a:lnTo>
                <a:lnTo>
                  <a:pt x="10427" y="413"/>
                </a:lnTo>
                <a:lnTo>
                  <a:pt x="10429" y="413"/>
                </a:lnTo>
                <a:lnTo>
                  <a:pt x="10512" y="169"/>
                </a:lnTo>
                <a:lnTo>
                  <a:pt x="10560" y="169"/>
                </a:lnTo>
                <a:lnTo>
                  <a:pt x="10410" y="605"/>
                </a:lnTo>
                <a:lnTo>
                  <a:pt x="10364" y="605"/>
                </a:lnTo>
                <a:close/>
                <a:moveTo>
                  <a:pt x="10196" y="318"/>
                </a:moveTo>
                <a:cubicBezTo>
                  <a:pt x="10196" y="275"/>
                  <a:pt x="10178" y="199"/>
                  <a:pt x="10123" y="199"/>
                </a:cubicBezTo>
                <a:cubicBezTo>
                  <a:pt x="10065" y="199"/>
                  <a:pt x="10058" y="286"/>
                  <a:pt x="10058" y="326"/>
                </a:cubicBezTo>
                <a:cubicBezTo>
                  <a:pt x="10058" y="367"/>
                  <a:pt x="10066" y="442"/>
                  <a:pt x="10121" y="442"/>
                </a:cubicBezTo>
                <a:cubicBezTo>
                  <a:pt x="10178" y="442"/>
                  <a:pt x="10196" y="362"/>
                  <a:pt x="10196" y="318"/>
                </a:cubicBezTo>
                <a:close/>
                <a:moveTo>
                  <a:pt x="10196" y="420"/>
                </a:moveTo>
                <a:lnTo>
                  <a:pt x="10194" y="420"/>
                </a:lnTo>
                <a:cubicBezTo>
                  <a:pt x="10182" y="457"/>
                  <a:pt x="10151" y="479"/>
                  <a:pt x="10112" y="479"/>
                </a:cubicBezTo>
                <a:cubicBezTo>
                  <a:pt x="10027" y="479"/>
                  <a:pt x="10007" y="396"/>
                  <a:pt x="10007" y="326"/>
                </a:cubicBezTo>
                <a:cubicBezTo>
                  <a:pt x="10007" y="259"/>
                  <a:pt x="10028" y="161"/>
                  <a:pt x="10113" y="161"/>
                </a:cubicBezTo>
                <a:cubicBezTo>
                  <a:pt x="10151" y="161"/>
                  <a:pt x="10184" y="183"/>
                  <a:pt x="10194" y="219"/>
                </a:cubicBezTo>
                <a:lnTo>
                  <a:pt x="10196" y="219"/>
                </a:lnTo>
                <a:lnTo>
                  <a:pt x="10196" y="169"/>
                </a:lnTo>
                <a:lnTo>
                  <a:pt x="10240" y="169"/>
                </a:lnTo>
                <a:lnTo>
                  <a:pt x="10240" y="480"/>
                </a:lnTo>
                <a:cubicBezTo>
                  <a:pt x="10240" y="569"/>
                  <a:pt x="10198" y="615"/>
                  <a:pt x="10108" y="615"/>
                </a:cubicBezTo>
                <a:cubicBezTo>
                  <a:pt x="10078" y="615"/>
                  <a:pt x="10053" y="610"/>
                  <a:pt x="10024" y="604"/>
                </a:cubicBezTo>
                <a:lnTo>
                  <a:pt x="10024" y="559"/>
                </a:lnTo>
                <a:cubicBezTo>
                  <a:pt x="10049" y="572"/>
                  <a:pt x="10074" y="578"/>
                  <a:pt x="10102" y="578"/>
                </a:cubicBezTo>
                <a:cubicBezTo>
                  <a:pt x="10173" y="578"/>
                  <a:pt x="10196" y="541"/>
                  <a:pt x="10196" y="475"/>
                </a:cubicBezTo>
                <a:lnTo>
                  <a:pt x="10196" y="420"/>
                </a:lnTo>
                <a:close/>
                <a:moveTo>
                  <a:pt x="9904" y="324"/>
                </a:moveTo>
                <a:cubicBezTo>
                  <a:pt x="9904" y="274"/>
                  <a:pt x="9892" y="199"/>
                  <a:pt x="9827" y="199"/>
                </a:cubicBezTo>
                <a:cubicBezTo>
                  <a:pt x="9762" y="199"/>
                  <a:pt x="9751" y="274"/>
                  <a:pt x="9751" y="324"/>
                </a:cubicBezTo>
                <a:cubicBezTo>
                  <a:pt x="9751" y="373"/>
                  <a:pt x="9762" y="449"/>
                  <a:pt x="9827" y="449"/>
                </a:cubicBezTo>
                <a:cubicBezTo>
                  <a:pt x="9892" y="449"/>
                  <a:pt x="9904" y="374"/>
                  <a:pt x="9904" y="324"/>
                </a:cubicBezTo>
                <a:close/>
                <a:moveTo>
                  <a:pt x="9700" y="325"/>
                </a:moveTo>
                <a:cubicBezTo>
                  <a:pt x="9700" y="241"/>
                  <a:pt x="9730" y="161"/>
                  <a:pt x="9827" y="161"/>
                </a:cubicBezTo>
                <a:cubicBezTo>
                  <a:pt x="9924" y="161"/>
                  <a:pt x="9955" y="241"/>
                  <a:pt x="9955" y="325"/>
                </a:cubicBezTo>
                <a:cubicBezTo>
                  <a:pt x="9955" y="409"/>
                  <a:pt x="9924" y="486"/>
                  <a:pt x="9827" y="486"/>
                </a:cubicBezTo>
                <a:cubicBezTo>
                  <a:pt x="9730" y="486"/>
                  <a:pt x="9700" y="409"/>
                  <a:pt x="9700" y="325"/>
                </a:cubicBezTo>
                <a:close/>
                <a:moveTo>
                  <a:pt x="9576" y="479"/>
                </a:moveTo>
                <a:lnTo>
                  <a:pt x="9576" y="29"/>
                </a:lnTo>
                <a:lnTo>
                  <a:pt x="9620" y="29"/>
                </a:lnTo>
                <a:lnTo>
                  <a:pt x="9620" y="479"/>
                </a:lnTo>
                <a:lnTo>
                  <a:pt x="9576" y="479"/>
                </a:lnTo>
                <a:close/>
                <a:moveTo>
                  <a:pt x="9446" y="324"/>
                </a:moveTo>
                <a:cubicBezTo>
                  <a:pt x="9446" y="274"/>
                  <a:pt x="9433" y="199"/>
                  <a:pt x="9369" y="199"/>
                </a:cubicBezTo>
                <a:cubicBezTo>
                  <a:pt x="9304" y="199"/>
                  <a:pt x="9293" y="274"/>
                  <a:pt x="9293" y="324"/>
                </a:cubicBezTo>
                <a:cubicBezTo>
                  <a:pt x="9293" y="373"/>
                  <a:pt x="9304" y="449"/>
                  <a:pt x="9369" y="449"/>
                </a:cubicBezTo>
                <a:cubicBezTo>
                  <a:pt x="9434" y="449"/>
                  <a:pt x="9446" y="374"/>
                  <a:pt x="9446" y="324"/>
                </a:cubicBezTo>
                <a:close/>
                <a:moveTo>
                  <a:pt x="9242" y="325"/>
                </a:moveTo>
                <a:cubicBezTo>
                  <a:pt x="9242" y="241"/>
                  <a:pt x="9272" y="161"/>
                  <a:pt x="9369" y="161"/>
                </a:cubicBezTo>
                <a:cubicBezTo>
                  <a:pt x="9466" y="161"/>
                  <a:pt x="9497" y="241"/>
                  <a:pt x="9497" y="325"/>
                </a:cubicBezTo>
                <a:cubicBezTo>
                  <a:pt x="9497" y="409"/>
                  <a:pt x="9466" y="486"/>
                  <a:pt x="9369" y="486"/>
                </a:cubicBezTo>
                <a:cubicBezTo>
                  <a:pt x="9272" y="486"/>
                  <a:pt x="9242" y="409"/>
                  <a:pt x="9242" y="325"/>
                </a:cubicBezTo>
                <a:close/>
                <a:moveTo>
                  <a:pt x="9123" y="479"/>
                </a:moveTo>
                <a:lnTo>
                  <a:pt x="9123" y="307"/>
                </a:lnTo>
                <a:cubicBezTo>
                  <a:pt x="9123" y="272"/>
                  <a:pt x="9129" y="206"/>
                  <a:pt x="9077" y="206"/>
                </a:cubicBezTo>
                <a:cubicBezTo>
                  <a:pt x="9015" y="206"/>
                  <a:pt x="8989" y="303"/>
                  <a:pt x="8989" y="351"/>
                </a:cubicBezTo>
                <a:lnTo>
                  <a:pt x="8989" y="479"/>
                </a:lnTo>
                <a:lnTo>
                  <a:pt x="8945" y="479"/>
                </a:lnTo>
                <a:lnTo>
                  <a:pt x="8945" y="169"/>
                </a:lnTo>
                <a:lnTo>
                  <a:pt x="8989" y="169"/>
                </a:lnTo>
                <a:lnTo>
                  <a:pt x="8989" y="240"/>
                </a:lnTo>
                <a:lnTo>
                  <a:pt x="8990" y="240"/>
                </a:lnTo>
                <a:cubicBezTo>
                  <a:pt x="9006" y="192"/>
                  <a:pt x="9033" y="161"/>
                  <a:pt x="9087" y="161"/>
                </a:cubicBezTo>
                <a:cubicBezTo>
                  <a:pt x="9142" y="161"/>
                  <a:pt x="9167" y="208"/>
                  <a:pt x="9167" y="257"/>
                </a:cubicBezTo>
                <a:lnTo>
                  <a:pt x="9167" y="479"/>
                </a:lnTo>
                <a:lnTo>
                  <a:pt x="9123" y="479"/>
                </a:lnTo>
                <a:close/>
                <a:moveTo>
                  <a:pt x="8803" y="479"/>
                </a:moveTo>
                <a:lnTo>
                  <a:pt x="8803" y="307"/>
                </a:lnTo>
                <a:cubicBezTo>
                  <a:pt x="8803" y="272"/>
                  <a:pt x="8809" y="206"/>
                  <a:pt x="8757" y="206"/>
                </a:cubicBezTo>
                <a:cubicBezTo>
                  <a:pt x="8695" y="206"/>
                  <a:pt x="8669" y="303"/>
                  <a:pt x="8669" y="351"/>
                </a:cubicBezTo>
                <a:lnTo>
                  <a:pt x="8669" y="479"/>
                </a:lnTo>
                <a:lnTo>
                  <a:pt x="8625" y="479"/>
                </a:lnTo>
                <a:lnTo>
                  <a:pt x="8625" y="29"/>
                </a:lnTo>
                <a:lnTo>
                  <a:pt x="8669" y="29"/>
                </a:lnTo>
                <a:lnTo>
                  <a:pt x="8669" y="240"/>
                </a:lnTo>
                <a:lnTo>
                  <a:pt x="8670" y="240"/>
                </a:lnTo>
                <a:cubicBezTo>
                  <a:pt x="8686" y="192"/>
                  <a:pt x="8714" y="161"/>
                  <a:pt x="8768" y="161"/>
                </a:cubicBezTo>
                <a:cubicBezTo>
                  <a:pt x="8822" y="161"/>
                  <a:pt x="8847" y="208"/>
                  <a:pt x="8847" y="257"/>
                </a:cubicBezTo>
                <a:lnTo>
                  <a:pt x="8847" y="479"/>
                </a:lnTo>
                <a:lnTo>
                  <a:pt x="8803" y="479"/>
                </a:lnTo>
                <a:close/>
                <a:moveTo>
                  <a:pt x="8556" y="478"/>
                </a:moveTo>
                <a:cubicBezTo>
                  <a:pt x="8534" y="484"/>
                  <a:pt x="8514" y="486"/>
                  <a:pt x="8491" y="486"/>
                </a:cubicBezTo>
                <a:cubicBezTo>
                  <a:pt x="8384" y="486"/>
                  <a:pt x="8331" y="421"/>
                  <a:pt x="8331" y="317"/>
                </a:cubicBezTo>
                <a:cubicBezTo>
                  <a:pt x="8331" y="232"/>
                  <a:pt x="8362" y="161"/>
                  <a:pt x="8458" y="161"/>
                </a:cubicBezTo>
                <a:cubicBezTo>
                  <a:pt x="8523" y="161"/>
                  <a:pt x="8564" y="196"/>
                  <a:pt x="8564" y="263"/>
                </a:cubicBezTo>
                <a:lnTo>
                  <a:pt x="8511" y="263"/>
                </a:lnTo>
                <a:cubicBezTo>
                  <a:pt x="8511" y="227"/>
                  <a:pt x="8495" y="199"/>
                  <a:pt x="8456" y="199"/>
                </a:cubicBezTo>
                <a:cubicBezTo>
                  <a:pt x="8399" y="199"/>
                  <a:pt x="8382" y="261"/>
                  <a:pt x="8382" y="307"/>
                </a:cubicBezTo>
                <a:cubicBezTo>
                  <a:pt x="8382" y="387"/>
                  <a:pt x="8417" y="449"/>
                  <a:pt x="8505" y="449"/>
                </a:cubicBezTo>
                <a:cubicBezTo>
                  <a:pt x="8523" y="449"/>
                  <a:pt x="8540" y="448"/>
                  <a:pt x="8556" y="443"/>
                </a:cubicBezTo>
                <a:lnTo>
                  <a:pt x="8556" y="478"/>
                </a:lnTo>
                <a:close/>
                <a:moveTo>
                  <a:pt x="8228" y="257"/>
                </a:moveTo>
                <a:cubicBezTo>
                  <a:pt x="8228" y="223"/>
                  <a:pt x="8203" y="199"/>
                  <a:pt x="8169" y="199"/>
                </a:cubicBezTo>
                <a:cubicBezTo>
                  <a:pt x="8131" y="199"/>
                  <a:pt x="8111" y="223"/>
                  <a:pt x="8103" y="257"/>
                </a:cubicBezTo>
                <a:lnTo>
                  <a:pt x="8228" y="257"/>
                </a:lnTo>
                <a:close/>
                <a:moveTo>
                  <a:pt x="8272" y="477"/>
                </a:moveTo>
                <a:cubicBezTo>
                  <a:pt x="8249" y="484"/>
                  <a:pt x="8225" y="486"/>
                  <a:pt x="8201" y="486"/>
                </a:cubicBezTo>
                <a:cubicBezTo>
                  <a:pt x="8093" y="486"/>
                  <a:pt x="8049" y="415"/>
                  <a:pt x="8049" y="313"/>
                </a:cubicBezTo>
                <a:cubicBezTo>
                  <a:pt x="8049" y="233"/>
                  <a:pt x="8079" y="161"/>
                  <a:pt x="8171" y="161"/>
                </a:cubicBezTo>
                <a:cubicBezTo>
                  <a:pt x="8242" y="161"/>
                  <a:pt x="8279" y="210"/>
                  <a:pt x="8279" y="280"/>
                </a:cubicBezTo>
                <a:lnTo>
                  <a:pt x="8279" y="295"/>
                </a:lnTo>
                <a:lnTo>
                  <a:pt x="8100" y="295"/>
                </a:lnTo>
                <a:lnTo>
                  <a:pt x="8100" y="313"/>
                </a:lnTo>
                <a:cubicBezTo>
                  <a:pt x="8100" y="381"/>
                  <a:pt x="8134" y="449"/>
                  <a:pt x="8210" y="449"/>
                </a:cubicBezTo>
                <a:cubicBezTo>
                  <a:pt x="8232" y="449"/>
                  <a:pt x="8251" y="446"/>
                  <a:pt x="8272" y="441"/>
                </a:cubicBezTo>
                <a:lnTo>
                  <a:pt x="8272" y="477"/>
                </a:lnTo>
                <a:close/>
                <a:moveTo>
                  <a:pt x="7879" y="479"/>
                </a:moveTo>
                <a:lnTo>
                  <a:pt x="7879" y="71"/>
                </a:lnTo>
                <a:lnTo>
                  <a:pt x="7771" y="71"/>
                </a:lnTo>
                <a:lnTo>
                  <a:pt x="7771" y="29"/>
                </a:lnTo>
                <a:lnTo>
                  <a:pt x="8037" y="29"/>
                </a:lnTo>
                <a:lnTo>
                  <a:pt x="8037" y="71"/>
                </a:lnTo>
                <a:lnTo>
                  <a:pt x="7930" y="71"/>
                </a:lnTo>
                <a:lnTo>
                  <a:pt x="7930" y="479"/>
                </a:lnTo>
                <a:lnTo>
                  <a:pt x="7879" y="479"/>
                </a:lnTo>
                <a:close/>
                <a:moveTo>
                  <a:pt x="7523" y="628"/>
                </a:moveTo>
                <a:lnTo>
                  <a:pt x="7523" y="0"/>
                </a:lnTo>
                <a:lnTo>
                  <a:pt x="7557" y="0"/>
                </a:lnTo>
                <a:lnTo>
                  <a:pt x="7557" y="628"/>
                </a:lnTo>
                <a:lnTo>
                  <a:pt x="7523" y="628"/>
                </a:lnTo>
                <a:close/>
                <a:moveTo>
                  <a:pt x="7206" y="479"/>
                </a:moveTo>
                <a:lnTo>
                  <a:pt x="7206" y="29"/>
                </a:lnTo>
                <a:lnTo>
                  <a:pt x="7250" y="29"/>
                </a:lnTo>
                <a:lnTo>
                  <a:pt x="7250" y="479"/>
                </a:lnTo>
                <a:lnTo>
                  <a:pt x="7206" y="479"/>
                </a:lnTo>
                <a:close/>
                <a:moveTo>
                  <a:pt x="7034" y="338"/>
                </a:moveTo>
                <a:cubicBezTo>
                  <a:pt x="6995" y="338"/>
                  <a:pt x="6933" y="355"/>
                  <a:pt x="6933" y="404"/>
                </a:cubicBezTo>
                <a:cubicBezTo>
                  <a:pt x="6933" y="430"/>
                  <a:pt x="6950" y="449"/>
                  <a:pt x="6976" y="449"/>
                </a:cubicBezTo>
                <a:cubicBezTo>
                  <a:pt x="7006" y="449"/>
                  <a:pt x="7036" y="429"/>
                  <a:pt x="7049" y="401"/>
                </a:cubicBezTo>
                <a:cubicBezTo>
                  <a:pt x="7059" y="378"/>
                  <a:pt x="7061" y="364"/>
                  <a:pt x="7061" y="338"/>
                </a:cubicBezTo>
                <a:lnTo>
                  <a:pt x="7034" y="338"/>
                </a:lnTo>
                <a:close/>
                <a:moveTo>
                  <a:pt x="7062" y="479"/>
                </a:moveTo>
                <a:lnTo>
                  <a:pt x="7062" y="438"/>
                </a:lnTo>
                <a:lnTo>
                  <a:pt x="7061" y="438"/>
                </a:lnTo>
                <a:cubicBezTo>
                  <a:pt x="7044" y="471"/>
                  <a:pt x="7000" y="486"/>
                  <a:pt x="6965" y="486"/>
                </a:cubicBezTo>
                <a:cubicBezTo>
                  <a:pt x="6911" y="486"/>
                  <a:pt x="6882" y="452"/>
                  <a:pt x="6882" y="400"/>
                </a:cubicBezTo>
                <a:cubicBezTo>
                  <a:pt x="6882" y="330"/>
                  <a:pt x="6963" y="301"/>
                  <a:pt x="7061" y="301"/>
                </a:cubicBezTo>
                <a:lnTo>
                  <a:pt x="7061" y="295"/>
                </a:lnTo>
                <a:cubicBezTo>
                  <a:pt x="7061" y="248"/>
                  <a:pt x="7063" y="199"/>
                  <a:pt x="7002" y="199"/>
                </a:cubicBezTo>
                <a:cubicBezTo>
                  <a:pt x="6965" y="199"/>
                  <a:pt x="6944" y="211"/>
                  <a:pt x="6939" y="248"/>
                </a:cubicBezTo>
                <a:lnTo>
                  <a:pt x="6889" y="248"/>
                </a:lnTo>
                <a:cubicBezTo>
                  <a:pt x="6891" y="186"/>
                  <a:pt x="6944" y="161"/>
                  <a:pt x="7001" y="161"/>
                </a:cubicBezTo>
                <a:cubicBezTo>
                  <a:pt x="7071" y="161"/>
                  <a:pt x="7105" y="191"/>
                  <a:pt x="7105" y="261"/>
                </a:cubicBezTo>
                <a:lnTo>
                  <a:pt x="7105" y="479"/>
                </a:lnTo>
                <a:lnTo>
                  <a:pt x="7062" y="479"/>
                </a:lnTo>
                <a:close/>
                <a:moveTo>
                  <a:pt x="6843" y="483"/>
                </a:moveTo>
                <a:cubicBezTo>
                  <a:pt x="6829" y="485"/>
                  <a:pt x="6816" y="486"/>
                  <a:pt x="6803" y="486"/>
                </a:cubicBezTo>
                <a:cubicBezTo>
                  <a:pt x="6745" y="486"/>
                  <a:pt x="6717" y="467"/>
                  <a:pt x="6717" y="406"/>
                </a:cubicBezTo>
                <a:lnTo>
                  <a:pt x="6717" y="206"/>
                </a:lnTo>
                <a:lnTo>
                  <a:pt x="6666" y="206"/>
                </a:lnTo>
                <a:lnTo>
                  <a:pt x="6666" y="169"/>
                </a:lnTo>
                <a:lnTo>
                  <a:pt x="6717" y="169"/>
                </a:lnTo>
                <a:lnTo>
                  <a:pt x="6717" y="96"/>
                </a:lnTo>
                <a:lnTo>
                  <a:pt x="6762" y="68"/>
                </a:lnTo>
                <a:lnTo>
                  <a:pt x="6762" y="169"/>
                </a:lnTo>
                <a:lnTo>
                  <a:pt x="6845" y="169"/>
                </a:lnTo>
                <a:lnTo>
                  <a:pt x="6845" y="206"/>
                </a:lnTo>
                <a:lnTo>
                  <a:pt x="6762" y="206"/>
                </a:lnTo>
                <a:lnTo>
                  <a:pt x="6762" y="397"/>
                </a:lnTo>
                <a:cubicBezTo>
                  <a:pt x="6762" y="430"/>
                  <a:pt x="6777" y="449"/>
                  <a:pt x="6813" y="449"/>
                </a:cubicBezTo>
                <a:cubicBezTo>
                  <a:pt x="6825" y="449"/>
                  <a:pt x="6832" y="448"/>
                  <a:pt x="6843" y="443"/>
                </a:cubicBezTo>
                <a:lnTo>
                  <a:pt x="6843" y="483"/>
                </a:lnTo>
                <a:close/>
                <a:moveTo>
                  <a:pt x="6549" y="479"/>
                </a:moveTo>
                <a:lnTo>
                  <a:pt x="6549" y="169"/>
                </a:lnTo>
                <a:lnTo>
                  <a:pt x="6593" y="169"/>
                </a:lnTo>
                <a:lnTo>
                  <a:pt x="6593" y="479"/>
                </a:lnTo>
                <a:lnTo>
                  <a:pt x="6549" y="479"/>
                </a:lnTo>
                <a:close/>
                <a:moveTo>
                  <a:pt x="6542" y="88"/>
                </a:moveTo>
                <a:lnTo>
                  <a:pt x="6542" y="29"/>
                </a:lnTo>
                <a:lnTo>
                  <a:pt x="6600" y="29"/>
                </a:lnTo>
                <a:lnTo>
                  <a:pt x="6600" y="88"/>
                </a:lnTo>
                <a:lnTo>
                  <a:pt x="6542" y="88"/>
                </a:lnTo>
                <a:close/>
                <a:moveTo>
                  <a:pt x="6403" y="318"/>
                </a:moveTo>
                <a:cubicBezTo>
                  <a:pt x="6403" y="275"/>
                  <a:pt x="6386" y="199"/>
                  <a:pt x="6330" y="199"/>
                </a:cubicBezTo>
                <a:cubicBezTo>
                  <a:pt x="6273" y="199"/>
                  <a:pt x="6266" y="286"/>
                  <a:pt x="6266" y="326"/>
                </a:cubicBezTo>
                <a:cubicBezTo>
                  <a:pt x="6266" y="367"/>
                  <a:pt x="6274" y="442"/>
                  <a:pt x="6329" y="442"/>
                </a:cubicBezTo>
                <a:cubicBezTo>
                  <a:pt x="6386" y="442"/>
                  <a:pt x="6403" y="362"/>
                  <a:pt x="6403" y="318"/>
                </a:cubicBezTo>
                <a:close/>
                <a:moveTo>
                  <a:pt x="6403" y="420"/>
                </a:moveTo>
                <a:lnTo>
                  <a:pt x="6402" y="420"/>
                </a:lnTo>
                <a:cubicBezTo>
                  <a:pt x="6390" y="457"/>
                  <a:pt x="6358" y="479"/>
                  <a:pt x="6320" y="479"/>
                </a:cubicBezTo>
                <a:cubicBezTo>
                  <a:pt x="6234" y="479"/>
                  <a:pt x="6215" y="396"/>
                  <a:pt x="6215" y="326"/>
                </a:cubicBezTo>
                <a:cubicBezTo>
                  <a:pt x="6215" y="259"/>
                  <a:pt x="6236" y="161"/>
                  <a:pt x="6321" y="161"/>
                </a:cubicBezTo>
                <a:cubicBezTo>
                  <a:pt x="6358" y="161"/>
                  <a:pt x="6392" y="183"/>
                  <a:pt x="6402" y="219"/>
                </a:cubicBezTo>
                <a:lnTo>
                  <a:pt x="6403" y="219"/>
                </a:lnTo>
                <a:lnTo>
                  <a:pt x="6403" y="169"/>
                </a:lnTo>
                <a:lnTo>
                  <a:pt x="6448" y="169"/>
                </a:lnTo>
                <a:lnTo>
                  <a:pt x="6448" y="480"/>
                </a:lnTo>
                <a:cubicBezTo>
                  <a:pt x="6448" y="569"/>
                  <a:pt x="6405" y="615"/>
                  <a:pt x="6316" y="615"/>
                </a:cubicBezTo>
                <a:cubicBezTo>
                  <a:pt x="6285" y="615"/>
                  <a:pt x="6260" y="610"/>
                  <a:pt x="6232" y="604"/>
                </a:cubicBezTo>
                <a:lnTo>
                  <a:pt x="6232" y="559"/>
                </a:lnTo>
                <a:cubicBezTo>
                  <a:pt x="6257" y="572"/>
                  <a:pt x="6281" y="578"/>
                  <a:pt x="6309" y="578"/>
                </a:cubicBezTo>
                <a:cubicBezTo>
                  <a:pt x="6381" y="578"/>
                  <a:pt x="6403" y="541"/>
                  <a:pt x="6403" y="475"/>
                </a:cubicBezTo>
                <a:lnTo>
                  <a:pt x="6403" y="420"/>
                </a:lnTo>
                <a:close/>
                <a:moveTo>
                  <a:pt x="6091" y="479"/>
                </a:moveTo>
                <a:lnTo>
                  <a:pt x="6091" y="169"/>
                </a:lnTo>
                <a:lnTo>
                  <a:pt x="6135" y="169"/>
                </a:lnTo>
                <a:lnTo>
                  <a:pt x="6135" y="479"/>
                </a:lnTo>
                <a:lnTo>
                  <a:pt x="6091" y="479"/>
                </a:lnTo>
                <a:close/>
                <a:moveTo>
                  <a:pt x="6084" y="88"/>
                </a:moveTo>
                <a:lnTo>
                  <a:pt x="6084" y="29"/>
                </a:lnTo>
                <a:lnTo>
                  <a:pt x="6142" y="29"/>
                </a:lnTo>
                <a:lnTo>
                  <a:pt x="6142" y="88"/>
                </a:lnTo>
                <a:lnTo>
                  <a:pt x="6084" y="88"/>
                </a:lnTo>
                <a:close/>
                <a:moveTo>
                  <a:pt x="5808" y="437"/>
                </a:moveTo>
                <a:cubicBezTo>
                  <a:pt x="5833" y="437"/>
                  <a:pt x="5860" y="435"/>
                  <a:pt x="5884" y="424"/>
                </a:cubicBezTo>
                <a:cubicBezTo>
                  <a:pt x="5947" y="395"/>
                  <a:pt x="5952" y="313"/>
                  <a:pt x="5952" y="253"/>
                </a:cubicBezTo>
                <a:cubicBezTo>
                  <a:pt x="5952" y="189"/>
                  <a:pt x="5946" y="107"/>
                  <a:pt x="5875" y="81"/>
                </a:cubicBezTo>
                <a:cubicBezTo>
                  <a:pt x="5852" y="73"/>
                  <a:pt x="5827" y="71"/>
                  <a:pt x="5802" y="71"/>
                </a:cubicBezTo>
                <a:lnTo>
                  <a:pt x="5773" y="71"/>
                </a:lnTo>
                <a:lnTo>
                  <a:pt x="5773" y="437"/>
                </a:lnTo>
                <a:lnTo>
                  <a:pt x="5808" y="437"/>
                </a:lnTo>
                <a:close/>
                <a:moveTo>
                  <a:pt x="5722" y="479"/>
                </a:moveTo>
                <a:lnTo>
                  <a:pt x="5722" y="29"/>
                </a:lnTo>
                <a:lnTo>
                  <a:pt x="5823" y="29"/>
                </a:lnTo>
                <a:cubicBezTo>
                  <a:pt x="5968" y="29"/>
                  <a:pt x="6008" y="123"/>
                  <a:pt x="6008" y="253"/>
                </a:cubicBezTo>
                <a:cubicBezTo>
                  <a:pt x="6008" y="338"/>
                  <a:pt x="5992" y="435"/>
                  <a:pt x="5901" y="467"/>
                </a:cubicBezTo>
                <a:cubicBezTo>
                  <a:pt x="5870" y="477"/>
                  <a:pt x="5838" y="479"/>
                  <a:pt x="5807" y="479"/>
                </a:cubicBezTo>
                <a:lnTo>
                  <a:pt x="5722" y="479"/>
                </a:lnTo>
                <a:close/>
                <a:moveTo>
                  <a:pt x="5419" y="628"/>
                </a:moveTo>
                <a:lnTo>
                  <a:pt x="5419" y="0"/>
                </a:lnTo>
                <a:lnTo>
                  <a:pt x="5452" y="0"/>
                </a:lnTo>
                <a:lnTo>
                  <a:pt x="5452" y="628"/>
                </a:lnTo>
                <a:lnTo>
                  <a:pt x="5419" y="628"/>
                </a:lnTo>
                <a:close/>
                <a:moveTo>
                  <a:pt x="5107" y="318"/>
                </a:moveTo>
                <a:cubicBezTo>
                  <a:pt x="5107" y="275"/>
                  <a:pt x="5089" y="199"/>
                  <a:pt x="5034" y="199"/>
                </a:cubicBezTo>
                <a:cubicBezTo>
                  <a:pt x="4976" y="199"/>
                  <a:pt x="4969" y="286"/>
                  <a:pt x="4969" y="326"/>
                </a:cubicBezTo>
                <a:cubicBezTo>
                  <a:pt x="4969" y="367"/>
                  <a:pt x="4977" y="442"/>
                  <a:pt x="5032" y="442"/>
                </a:cubicBezTo>
                <a:cubicBezTo>
                  <a:pt x="5089" y="442"/>
                  <a:pt x="5107" y="362"/>
                  <a:pt x="5107" y="318"/>
                </a:cubicBezTo>
                <a:close/>
                <a:moveTo>
                  <a:pt x="5107" y="420"/>
                </a:moveTo>
                <a:lnTo>
                  <a:pt x="5105" y="420"/>
                </a:lnTo>
                <a:cubicBezTo>
                  <a:pt x="5093" y="457"/>
                  <a:pt x="5062" y="479"/>
                  <a:pt x="5023" y="479"/>
                </a:cubicBezTo>
                <a:cubicBezTo>
                  <a:pt x="4938" y="479"/>
                  <a:pt x="4918" y="396"/>
                  <a:pt x="4918" y="326"/>
                </a:cubicBezTo>
                <a:cubicBezTo>
                  <a:pt x="4918" y="259"/>
                  <a:pt x="4939" y="161"/>
                  <a:pt x="5025" y="161"/>
                </a:cubicBezTo>
                <a:cubicBezTo>
                  <a:pt x="5062" y="161"/>
                  <a:pt x="5095" y="183"/>
                  <a:pt x="5105" y="219"/>
                </a:cubicBezTo>
                <a:lnTo>
                  <a:pt x="5107" y="219"/>
                </a:lnTo>
                <a:lnTo>
                  <a:pt x="5107" y="169"/>
                </a:lnTo>
                <a:lnTo>
                  <a:pt x="5151" y="169"/>
                </a:lnTo>
                <a:lnTo>
                  <a:pt x="5151" y="480"/>
                </a:lnTo>
                <a:cubicBezTo>
                  <a:pt x="5151" y="569"/>
                  <a:pt x="5109" y="615"/>
                  <a:pt x="5019" y="615"/>
                </a:cubicBezTo>
                <a:cubicBezTo>
                  <a:pt x="4989" y="615"/>
                  <a:pt x="4964" y="610"/>
                  <a:pt x="4935" y="604"/>
                </a:cubicBezTo>
                <a:lnTo>
                  <a:pt x="4935" y="559"/>
                </a:lnTo>
                <a:cubicBezTo>
                  <a:pt x="4961" y="572"/>
                  <a:pt x="4985" y="578"/>
                  <a:pt x="5013" y="578"/>
                </a:cubicBezTo>
                <a:cubicBezTo>
                  <a:pt x="5085" y="578"/>
                  <a:pt x="5107" y="541"/>
                  <a:pt x="5107" y="475"/>
                </a:cubicBezTo>
                <a:lnTo>
                  <a:pt x="5107" y="420"/>
                </a:lnTo>
                <a:close/>
                <a:moveTo>
                  <a:pt x="4799" y="479"/>
                </a:moveTo>
                <a:lnTo>
                  <a:pt x="4799" y="307"/>
                </a:lnTo>
                <a:cubicBezTo>
                  <a:pt x="4799" y="272"/>
                  <a:pt x="4805" y="206"/>
                  <a:pt x="4754" y="206"/>
                </a:cubicBezTo>
                <a:cubicBezTo>
                  <a:pt x="4692" y="206"/>
                  <a:pt x="4666" y="303"/>
                  <a:pt x="4666" y="351"/>
                </a:cubicBezTo>
                <a:lnTo>
                  <a:pt x="4666" y="479"/>
                </a:lnTo>
                <a:lnTo>
                  <a:pt x="4621" y="479"/>
                </a:lnTo>
                <a:lnTo>
                  <a:pt x="4621" y="169"/>
                </a:lnTo>
                <a:lnTo>
                  <a:pt x="4666" y="169"/>
                </a:lnTo>
                <a:lnTo>
                  <a:pt x="4666" y="240"/>
                </a:lnTo>
                <a:lnTo>
                  <a:pt x="4667" y="240"/>
                </a:lnTo>
                <a:cubicBezTo>
                  <a:pt x="4683" y="192"/>
                  <a:pt x="4710" y="161"/>
                  <a:pt x="4764" y="161"/>
                </a:cubicBezTo>
                <a:cubicBezTo>
                  <a:pt x="4818" y="161"/>
                  <a:pt x="4844" y="208"/>
                  <a:pt x="4844" y="257"/>
                </a:cubicBezTo>
                <a:lnTo>
                  <a:pt x="4844" y="479"/>
                </a:lnTo>
                <a:lnTo>
                  <a:pt x="4799" y="479"/>
                </a:lnTo>
                <a:close/>
                <a:moveTo>
                  <a:pt x="4474" y="479"/>
                </a:moveTo>
                <a:lnTo>
                  <a:pt x="4474" y="169"/>
                </a:lnTo>
                <a:lnTo>
                  <a:pt x="4519" y="169"/>
                </a:lnTo>
                <a:lnTo>
                  <a:pt x="4519" y="479"/>
                </a:lnTo>
                <a:lnTo>
                  <a:pt x="4474" y="479"/>
                </a:lnTo>
                <a:close/>
                <a:moveTo>
                  <a:pt x="4467" y="88"/>
                </a:moveTo>
                <a:lnTo>
                  <a:pt x="4467" y="29"/>
                </a:lnTo>
                <a:lnTo>
                  <a:pt x="4526" y="29"/>
                </a:lnTo>
                <a:lnTo>
                  <a:pt x="4526" y="88"/>
                </a:lnTo>
                <a:lnTo>
                  <a:pt x="4467" y="88"/>
                </a:lnTo>
                <a:close/>
                <a:moveTo>
                  <a:pt x="4406" y="483"/>
                </a:moveTo>
                <a:cubicBezTo>
                  <a:pt x="4393" y="485"/>
                  <a:pt x="4380" y="486"/>
                  <a:pt x="4367" y="486"/>
                </a:cubicBezTo>
                <a:cubicBezTo>
                  <a:pt x="4309" y="486"/>
                  <a:pt x="4281" y="467"/>
                  <a:pt x="4281" y="406"/>
                </a:cubicBezTo>
                <a:lnTo>
                  <a:pt x="4281" y="206"/>
                </a:lnTo>
                <a:lnTo>
                  <a:pt x="4230" y="206"/>
                </a:lnTo>
                <a:lnTo>
                  <a:pt x="4230" y="169"/>
                </a:lnTo>
                <a:lnTo>
                  <a:pt x="4281" y="169"/>
                </a:lnTo>
                <a:lnTo>
                  <a:pt x="4281" y="96"/>
                </a:lnTo>
                <a:lnTo>
                  <a:pt x="4326" y="68"/>
                </a:lnTo>
                <a:lnTo>
                  <a:pt x="4326" y="169"/>
                </a:lnTo>
                <a:lnTo>
                  <a:pt x="4409" y="169"/>
                </a:lnTo>
                <a:lnTo>
                  <a:pt x="4409" y="206"/>
                </a:lnTo>
                <a:lnTo>
                  <a:pt x="4326" y="206"/>
                </a:lnTo>
                <a:lnTo>
                  <a:pt x="4326" y="397"/>
                </a:lnTo>
                <a:cubicBezTo>
                  <a:pt x="4326" y="430"/>
                  <a:pt x="4341" y="449"/>
                  <a:pt x="4376" y="449"/>
                </a:cubicBezTo>
                <a:cubicBezTo>
                  <a:pt x="4389" y="449"/>
                  <a:pt x="4395" y="448"/>
                  <a:pt x="4406" y="443"/>
                </a:cubicBezTo>
                <a:lnTo>
                  <a:pt x="4406" y="483"/>
                </a:lnTo>
                <a:close/>
                <a:moveTo>
                  <a:pt x="4113" y="479"/>
                </a:moveTo>
                <a:lnTo>
                  <a:pt x="4113" y="29"/>
                </a:lnTo>
                <a:lnTo>
                  <a:pt x="4157" y="29"/>
                </a:lnTo>
                <a:lnTo>
                  <a:pt x="4157" y="479"/>
                </a:lnTo>
                <a:lnTo>
                  <a:pt x="4113" y="479"/>
                </a:lnTo>
                <a:close/>
                <a:moveTo>
                  <a:pt x="3964" y="479"/>
                </a:moveTo>
                <a:lnTo>
                  <a:pt x="3964" y="407"/>
                </a:lnTo>
                <a:lnTo>
                  <a:pt x="3963" y="407"/>
                </a:lnTo>
                <a:cubicBezTo>
                  <a:pt x="3948" y="455"/>
                  <a:pt x="3919" y="486"/>
                  <a:pt x="3866" y="486"/>
                </a:cubicBezTo>
                <a:cubicBezTo>
                  <a:pt x="3812" y="486"/>
                  <a:pt x="3787" y="441"/>
                  <a:pt x="3787" y="390"/>
                </a:cubicBezTo>
                <a:lnTo>
                  <a:pt x="3787" y="169"/>
                </a:lnTo>
                <a:lnTo>
                  <a:pt x="3831" y="169"/>
                </a:lnTo>
                <a:lnTo>
                  <a:pt x="3831" y="341"/>
                </a:lnTo>
                <a:cubicBezTo>
                  <a:pt x="3831" y="375"/>
                  <a:pt x="3826" y="442"/>
                  <a:pt x="3877" y="442"/>
                </a:cubicBezTo>
                <a:cubicBezTo>
                  <a:pt x="3939" y="442"/>
                  <a:pt x="3964" y="345"/>
                  <a:pt x="3964" y="296"/>
                </a:cubicBezTo>
                <a:lnTo>
                  <a:pt x="3964" y="169"/>
                </a:lnTo>
                <a:lnTo>
                  <a:pt x="4008" y="169"/>
                </a:lnTo>
                <a:lnTo>
                  <a:pt x="4008" y="479"/>
                </a:lnTo>
                <a:lnTo>
                  <a:pt x="3964" y="479"/>
                </a:lnTo>
                <a:close/>
                <a:moveTo>
                  <a:pt x="3526" y="433"/>
                </a:moveTo>
                <a:cubicBezTo>
                  <a:pt x="3552" y="441"/>
                  <a:pt x="3578" y="449"/>
                  <a:pt x="3606" y="449"/>
                </a:cubicBezTo>
                <a:cubicBezTo>
                  <a:pt x="3640" y="449"/>
                  <a:pt x="3682" y="440"/>
                  <a:pt x="3682" y="399"/>
                </a:cubicBezTo>
                <a:cubicBezTo>
                  <a:pt x="3682" y="368"/>
                  <a:pt x="3649" y="355"/>
                  <a:pt x="3626" y="343"/>
                </a:cubicBezTo>
                <a:lnTo>
                  <a:pt x="3598" y="328"/>
                </a:lnTo>
                <a:cubicBezTo>
                  <a:pt x="3561" y="309"/>
                  <a:pt x="3527" y="291"/>
                  <a:pt x="3527" y="244"/>
                </a:cubicBezTo>
                <a:cubicBezTo>
                  <a:pt x="3527" y="183"/>
                  <a:pt x="3580" y="161"/>
                  <a:pt x="3634" y="161"/>
                </a:cubicBezTo>
                <a:cubicBezTo>
                  <a:pt x="3659" y="161"/>
                  <a:pt x="3683" y="166"/>
                  <a:pt x="3707" y="172"/>
                </a:cubicBezTo>
                <a:lnTo>
                  <a:pt x="3707" y="213"/>
                </a:lnTo>
                <a:cubicBezTo>
                  <a:pt x="3684" y="205"/>
                  <a:pt x="3658" y="199"/>
                  <a:pt x="3634" y="199"/>
                </a:cubicBezTo>
                <a:cubicBezTo>
                  <a:pt x="3610" y="199"/>
                  <a:pt x="3572" y="209"/>
                  <a:pt x="3572" y="239"/>
                </a:cubicBezTo>
                <a:cubicBezTo>
                  <a:pt x="3572" y="265"/>
                  <a:pt x="3610" y="277"/>
                  <a:pt x="3628" y="288"/>
                </a:cubicBezTo>
                <a:lnTo>
                  <a:pt x="3654" y="304"/>
                </a:lnTo>
                <a:cubicBezTo>
                  <a:pt x="3692" y="326"/>
                  <a:pt x="3726" y="342"/>
                  <a:pt x="3726" y="392"/>
                </a:cubicBezTo>
                <a:cubicBezTo>
                  <a:pt x="3726" y="462"/>
                  <a:pt x="3673" y="486"/>
                  <a:pt x="3611" y="486"/>
                </a:cubicBezTo>
                <a:cubicBezTo>
                  <a:pt x="3582" y="486"/>
                  <a:pt x="3554" y="482"/>
                  <a:pt x="3526" y="473"/>
                </a:cubicBezTo>
                <a:lnTo>
                  <a:pt x="3526" y="433"/>
                </a:lnTo>
                <a:close/>
                <a:moveTo>
                  <a:pt x="3412" y="479"/>
                </a:moveTo>
                <a:lnTo>
                  <a:pt x="3412" y="307"/>
                </a:lnTo>
                <a:cubicBezTo>
                  <a:pt x="3412" y="272"/>
                  <a:pt x="3418" y="206"/>
                  <a:pt x="3367" y="206"/>
                </a:cubicBezTo>
                <a:cubicBezTo>
                  <a:pt x="3305" y="206"/>
                  <a:pt x="3279" y="303"/>
                  <a:pt x="3279" y="351"/>
                </a:cubicBezTo>
                <a:lnTo>
                  <a:pt x="3279" y="479"/>
                </a:lnTo>
                <a:lnTo>
                  <a:pt x="3234" y="479"/>
                </a:lnTo>
                <a:lnTo>
                  <a:pt x="3234" y="169"/>
                </a:lnTo>
                <a:lnTo>
                  <a:pt x="3279" y="169"/>
                </a:lnTo>
                <a:lnTo>
                  <a:pt x="3279" y="240"/>
                </a:lnTo>
                <a:lnTo>
                  <a:pt x="3280" y="240"/>
                </a:lnTo>
                <a:cubicBezTo>
                  <a:pt x="3296" y="192"/>
                  <a:pt x="3323" y="161"/>
                  <a:pt x="3377" y="161"/>
                </a:cubicBezTo>
                <a:cubicBezTo>
                  <a:pt x="3431" y="161"/>
                  <a:pt x="3457" y="208"/>
                  <a:pt x="3457" y="257"/>
                </a:cubicBezTo>
                <a:lnTo>
                  <a:pt x="3457" y="479"/>
                </a:lnTo>
                <a:lnTo>
                  <a:pt x="3412" y="479"/>
                </a:lnTo>
                <a:close/>
                <a:moveTo>
                  <a:pt x="3108" y="324"/>
                </a:moveTo>
                <a:cubicBezTo>
                  <a:pt x="3108" y="274"/>
                  <a:pt x="3096" y="199"/>
                  <a:pt x="3031" y="199"/>
                </a:cubicBezTo>
                <a:cubicBezTo>
                  <a:pt x="2967" y="199"/>
                  <a:pt x="2956" y="274"/>
                  <a:pt x="2956" y="324"/>
                </a:cubicBezTo>
                <a:cubicBezTo>
                  <a:pt x="2956" y="373"/>
                  <a:pt x="2967" y="449"/>
                  <a:pt x="3031" y="449"/>
                </a:cubicBezTo>
                <a:cubicBezTo>
                  <a:pt x="3097" y="449"/>
                  <a:pt x="3108" y="374"/>
                  <a:pt x="3108" y="324"/>
                </a:cubicBezTo>
                <a:close/>
                <a:moveTo>
                  <a:pt x="2905" y="325"/>
                </a:moveTo>
                <a:cubicBezTo>
                  <a:pt x="2905" y="241"/>
                  <a:pt x="2935" y="161"/>
                  <a:pt x="3031" y="161"/>
                </a:cubicBezTo>
                <a:cubicBezTo>
                  <a:pt x="3129" y="161"/>
                  <a:pt x="3159" y="241"/>
                  <a:pt x="3159" y="325"/>
                </a:cubicBezTo>
                <a:cubicBezTo>
                  <a:pt x="3159" y="409"/>
                  <a:pt x="3129" y="486"/>
                  <a:pt x="3031" y="486"/>
                </a:cubicBezTo>
                <a:cubicBezTo>
                  <a:pt x="2935" y="486"/>
                  <a:pt x="2905" y="409"/>
                  <a:pt x="2905" y="325"/>
                </a:cubicBezTo>
                <a:close/>
                <a:moveTo>
                  <a:pt x="2856" y="460"/>
                </a:moveTo>
                <a:cubicBezTo>
                  <a:pt x="2814" y="477"/>
                  <a:pt x="2785" y="486"/>
                  <a:pt x="2737" y="486"/>
                </a:cubicBezTo>
                <a:cubicBezTo>
                  <a:pt x="2602" y="486"/>
                  <a:pt x="2564" y="358"/>
                  <a:pt x="2564" y="246"/>
                </a:cubicBezTo>
                <a:cubicBezTo>
                  <a:pt x="2564" y="133"/>
                  <a:pt x="2603" y="22"/>
                  <a:pt x="2734" y="22"/>
                </a:cubicBezTo>
                <a:cubicBezTo>
                  <a:pt x="2813" y="22"/>
                  <a:pt x="2873" y="69"/>
                  <a:pt x="2873" y="152"/>
                </a:cubicBezTo>
                <a:lnTo>
                  <a:pt x="2816" y="152"/>
                </a:lnTo>
                <a:cubicBezTo>
                  <a:pt x="2816" y="101"/>
                  <a:pt x="2786" y="64"/>
                  <a:pt x="2734" y="64"/>
                </a:cubicBezTo>
                <a:cubicBezTo>
                  <a:pt x="2635" y="64"/>
                  <a:pt x="2620" y="171"/>
                  <a:pt x="2620" y="248"/>
                </a:cubicBezTo>
                <a:cubicBezTo>
                  <a:pt x="2620" y="333"/>
                  <a:pt x="2643" y="444"/>
                  <a:pt x="2749" y="444"/>
                </a:cubicBezTo>
                <a:cubicBezTo>
                  <a:pt x="2789" y="444"/>
                  <a:pt x="2826" y="431"/>
                  <a:pt x="2856" y="407"/>
                </a:cubicBezTo>
                <a:lnTo>
                  <a:pt x="2856" y="460"/>
                </a:lnTo>
                <a:close/>
                <a:moveTo>
                  <a:pt x="2283" y="628"/>
                </a:moveTo>
                <a:lnTo>
                  <a:pt x="2283" y="0"/>
                </a:lnTo>
                <a:lnTo>
                  <a:pt x="2317" y="0"/>
                </a:lnTo>
                <a:lnTo>
                  <a:pt x="2317" y="628"/>
                </a:lnTo>
                <a:lnTo>
                  <a:pt x="2283" y="628"/>
                </a:lnTo>
                <a:close/>
                <a:moveTo>
                  <a:pt x="1868" y="605"/>
                </a:moveTo>
                <a:lnTo>
                  <a:pt x="1912" y="479"/>
                </a:lnTo>
                <a:lnTo>
                  <a:pt x="1793" y="169"/>
                </a:lnTo>
                <a:lnTo>
                  <a:pt x="1840" y="169"/>
                </a:lnTo>
                <a:lnTo>
                  <a:pt x="1931" y="413"/>
                </a:lnTo>
                <a:lnTo>
                  <a:pt x="1932" y="413"/>
                </a:lnTo>
                <a:lnTo>
                  <a:pt x="2016" y="169"/>
                </a:lnTo>
                <a:lnTo>
                  <a:pt x="2064" y="169"/>
                </a:lnTo>
                <a:lnTo>
                  <a:pt x="1914" y="605"/>
                </a:lnTo>
                <a:lnTo>
                  <a:pt x="1868" y="605"/>
                </a:lnTo>
                <a:close/>
                <a:moveTo>
                  <a:pt x="1699" y="318"/>
                </a:moveTo>
                <a:cubicBezTo>
                  <a:pt x="1699" y="275"/>
                  <a:pt x="1682" y="199"/>
                  <a:pt x="1626" y="199"/>
                </a:cubicBezTo>
                <a:cubicBezTo>
                  <a:pt x="1569" y="199"/>
                  <a:pt x="1562" y="286"/>
                  <a:pt x="1562" y="326"/>
                </a:cubicBezTo>
                <a:cubicBezTo>
                  <a:pt x="1562" y="367"/>
                  <a:pt x="1570" y="442"/>
                  <a:pt x="1625" y="442"/>
                </a:cubicBezTo>
                <a:cubicBezTo>
                  <a:pt x="1682" y="442"/>
                  <a:pt x="1699" y="362"/>
                  <a:pt x="1699" y="318"/>
                </a:cubicBezTo>
                <a:close/>
                <a:moveTo>
                  <a:pt x="1699" y="420"/>
                </a:moveTo>
                <a:lnTo>
                  <a:pt x="1698" y="420"/>
                </a:lnTo>
                <a:cubicBezTo>
                  <a:pt x="1686" y="457"/>
                  <a:pt x="1654" y="479"/>
                  <a:pt x="1616" y="479"/>
                </a:cubicBezTo>
                <a:cubicBezTo>
                  <a:pt x="1531" y="479"/>
                  <a:pt x="1511" y="396"/>
                  <a:pt x="1511" y="326"/>
                </a:cubicBezTo>
                <a:cubicBezTo>
                  <a:pt x="1511" y="259"/>
                  <a:pt x="1532" y="161"/>
                  <a:pt x="1617" y="161"/>
                </a:cubicBezTo>
                <a:cubicBezTo>
                  <a:pt x="1654" y="161"/>
                  <a:pt x="1688" y="183"/>
                  <a:pt x="1698" y="219"/>
                </a:cubicBezTo>
                <a:lnTo>
                  <a:pt x="1699" y="219"/>
                </a:lnTo>
                <a:lnTo>
                  <a:pt x="1699" y="169"/>
                </a:lnTo>
                <a:lnTo>
                  <a:pt x="1744" y="169"/>
                </a:lnTo>
                <a:lnTo>
                  <a:pt x="1744" y="480"/>
                </a:lnTo>
                <a:cubicBezTo>
                  <a:pt x="1744" y="569"/>
                  <a:pt x="1701" y="615"/>
                  <a:pt x="1612" y="615"/>
                </a:cubicBezTo>
                <a:cubicBezTo>
                  <a:pt x="1581" y="615"/>
                  <a:pt x="1557" y="610"/>
                  <a:pt x="1528" y="604"/>
                </a:cubicBezTo>
                <a:lnTo>
                  <a:pt x="1528" y="559"/>
                </a:lnTo>
                <a:cubicBezTo>
                  <a:pt x="1553" y="572"/>
                  <a:pt x="1577" y="578"/>
                  <a:pt x="1606" y="578"/>
                </a:cubicBezTo>
                <a:cubicBezTo>
                  <a:pt x="1677" y="578"/>
                  <a:pt x="1699" y="541"/>
                  <a:pt x="1699" y="475"/>
                </a:cubicBezTo>
                <a:lnTo>
                  <a:pt x="1699" y="420"/>
                </a:lnTo>
                <a:close/>
                <a:moveTo>
                  <a:pt x="1408" y="257"/>
                </a:moveTo>
                <a:cubicBezTo>
                  <a:pt x="1408" y="223"/>
                  <a:pt x="1383" y="199"/>
                  <a:pt x="1349" y="199"/>
                </a:cubicBezTo>
                <a:cubicBezTo>
                  <a:pt x="1312" y="199"/>
                  <a:pt x="1291" y="223"/>
                  <a:pt x="1284" y="257"/>
                </a:cubicBezTo>
                <a:lnTo>
                  <a:pt x="1408" y="257"/>
                </a:lnTo>
                <a:close/>
                <a:moveTo>
                  <a:pt x="1452" y="477"/>
                </a:moveTo>
                <a:cubicBezTo>
                  <a:pt x="1429" y="484"/>
                  <a:pt x="1405" y="486"/>
                  <a:pt x="1381" y="486"/>
                </a:cubicBezTo>
                <a:cubicBezTo>
                  <a:pt x="1273" y="486"/>
                  <a:pt x="1230" y="415"/>
                  <a:pt x="1230" y="313"/>
                </a:cubicBezTo>
                <a:cubicBezTo>
                  <a:pt x="1230" y="233"/>
                  <a:pt x="1260" y="161"/>
                  <a:pt x="1351" y="161"/>
                </a:cubicBezTo>
                <a:cubicBezTo>
                  <a:pt x="1423" y="161"/>
                  <a:pt x="1459" y="210"/>
                  <a:pt x="1459" y="280"/>
                </a:cubicBezTo>
                <a:lnTo>
                  <a:pt x="1459" y="295"/>
                </a:lnTo>
                <a:lnTo>
                  <a:pt x="1281" y="295"/>
                </a:lnTo>
                <a:lnTo>
                  <a:pt x="1281" y="313"/>
                </a:lnTo>
                <a:cubicBezTo>
                  <a:pt x="1281" y="381"/>
                  <a:pt x="1314" y="449"/>
                  <a:pt x="1391" y="449"/>
                </a:cubicBezTo>
                <a:cubicBezTo>
                  <a:pt x="1412" y="449"/>
                  <a:pt x="1431" y="446"/>
                  <a:pt x="1452" y="441"/>
                </a:cubicBezTo>
                <a:lnTo>
                  <a:pt x="1452" y="477"/>
                </a:lnTo>
                <a:close/>
                <a:moveTo>
                  <a:pt x="1187" y="483"/>
                </a:moveTo>
                <a:cubicBezTo>
                  <a:pt x="1173" y="485"/>
                  <a:pt x="1160" y="486"/>
                  <a:pt x="1147" y="486"/>
                </a:cubicBezTo>
                <a:cubicBezTo>
                  <a:pt x="1089" y="486"/>
                  <a:pt x="1061" y="467"/>
                  <a:pt x="1061" y="406"/>
                </a:cubicBezTo>
                <a:lnTo>
                  <a:pt x="1061" y="206"/>
                </a:lnTo>
                <a:lnTo>
                  <a:pt x="1010" y="206"/>
                </a:lnTo>
                <a:lnTo>
                  <a:pt x="1010" y="169"/>
                </a:lnTo>
                <a:lnTo>
                  <a:pt x="1061" y="169"/>
                </a:lnTo>
                <a:lnTo>
                  <a:pt x="1061" y="96"/>
                </a:lnTo>
                <a:lnTo>
                  <a:pt x="1106" y="68"/>
                </a:lnTo>
                <a:lnTo>
                  <a:pt x="1106" y="169"/>
                </a:lnTo>
                <a:lnTo>
                  <a:pt x="1189" y="169"/>
                </a:lnTo>
                <a:lnTo>
                  <a:pt x="1189" y="206"/>
                </a:lnTo>
                <a:lnTo>
                  <a:pt x="1106" y="206"/>
                </a:lnTo>
                <a:lnTo>
                  <a:pt x="1106" y="397"/>
                </a:lnTo>
                <a:cubicBezTo>
                  <a:pt x="1106" y="430"/>
                  <a:pt x="1121" y="449"/>
                  <a:pt x="1157" y="449"/>
                </a:cubicBezTo>
                <a:cubicBezTo>
                  <a:pt x="1169" y="449"/>
                  <a:pt x="1175" y="448"/>
                  <a:pt x="1187" y="443"/>
                </a:cubicBezTo>
                <a:lnTo>
                  <a:pt x="1187" y="483"/>
                </a:lnTo>
                <a:close/>
                <a:moveTo>
                  <a:pt x="872" y="338"/>
                </a:moveTo>
                <a:cubicBezTo>
                  <a:pt x="833" y="338"/>
                  <a:pt x="770" y="355"/>
                  <a:pt x="770" y="404"/>
                </a:cubicBezTo>
                <a:cubicBezTo>
                  <a:pt x="770" y="430"/>
                  <a:pt x="788" y="449"/>
                  <a:pt x="814" y="449"/>
                </a:cubicBezTo>
                <a:cubicBezTo>
                  <a:pt x="844" y="449"/>
                  <a:pt x="874" y="429"/>
                  <a:pt x="886" y="401"/>
                </a:cubicBezTo>
                <a:cubicBezTo>
                  <a:pt x="897" y="378"/>
                  <a:pt x="898" y="364"/>
                  <a:pt x="898" y="338"/>
                </a:cubicBezTo>
                <a:lnTo>
                  <a:pt x="872" y="338"/>
                </a:lnTo>
                <a:close/>
                <a:moveTo>
                  <a:pt x="899" y="479"/>
                </a:moveTo>
                <a:lnTo>
                  <a:pt x="899" y="438"/>
                </a:lnTo>
                <a:lnTo>
                  <a:pt x="898" y="438"/>
                </a:lnTo>
                <a:cubicBezTo>
                  <a:pt x="881" y="471"/>
                  <a:pt x="837" y="486"/>
                  <a:pt x="803" y="486"/>
                </a:cubicBezTo>
                <a:cubicBezTo>
                  <a:pt x="749" y="486"/>
                  <a:pt x="719" y="452"/>
                  <a:pt x="719" y="400"/>
                </a:cubicBezTo>
                <a:cubicBezTo>
                  <a:pt x="719" y="330"/>
                  <a:pt x="800" y="301"/>
                  <a:pt x="898" y="301"/>
                </a:cubicBezTo>
                <a:lnTo>
                  <a:pt x="898" y="295"/>
                </a:lnTo>
                <a:cubicBezTo>
                  <a:pt x="898" y="248"/>
                  <a:pt x="901" y="199"/>
                  <a:pt x="839" y="199"/>
                </a:cubicBezTo>
                <a:cubicBezTo>
                  <a:pt x="802" y="199"/>
                  <a:pt x="781" y="211"/>
                  <a:pt x="776" y="248"/>
                </a:cubicBezTo>
                <a:lnTo>
                  <a:pt x="726" y="248"/>
                </a:lnTo>
                <a:cubicBezTo>
                  <a:pt x="728" y="186"/>
                  <a:pt x="782" y="161"/>
                  <a:pt x="838" y="161"/>
                </a:cubicBezTo>
                <a:cubicBezTo>
                  <a:pt x="908" y="161"/>
                  <a:pt x="942" y="191"/>
                  <a:pt x="942" y="261"/>
                </a:cubicBezTo>
                <a:lnTo>
                  <a:pt x="942" y="479"/>
                </a:lnTo>
                <a:lnTo>
                  <a:pt x="899" y="479"/>
                </a:lnTo>
                <a:close/>
                <a:moveTo>
                  <a:pt x="545" y="479"/>
                </a:moveTo>
                <a:lnTo>
                  <a:pt x="545" y="169"/>
                </a:lnTo>
                <a:lnTo>
                  <a:pt x="589" y="169"/>
                </a:lnTo>
                <a:lnTo>
                  <a:pt x="589" y="229"/>
                </a:lnTo>
                <a:lnTo>
                  <a:pt x="591" y="229"/>
                </a:lnTo>
                <a:cubicBezTo>
                  <a:pt x="610" y="184"/>
                  <a:pt x="645" y="161"/>
                  <a:pt x="694" y="161"/>
                </a:cubicBezTo>
                <a:lnTo>
                  <a:pt x="694" y="209"/>
                </a:lnTo>
                <a:cubicBezTo>
                  <a:pt x="614" y="209"/>
                  <a:pt x="589" y="283"/>
                  <a:pt x="589" y="351"/>
                </a:cubicBezTo>
                <a:lnTo>
                  <a:pt x="589" y="479"/>
                </a:lnTo>
                <a:lnTo>
                  <a:pt x="545" y="479"/>
                </a:lnTo>
                <a:close/>
                <a:moveTo>
                  <a:pt x="481" y="483"/>
                </a:moveTo>
                <a:cubicBezTo>
                  <a:pt x="468" y="485"/>
                  <a:pt x="455" y="486"/>
                  <a:pt x="442" y="486"/>
                </a:cubicBezTo>
                <a:cubicBezTo>
                  <a:pt x="383" y="486"/>
                  <a:pt x="356" y="467"/>
                  <a:pt x="356" y="406"/>
                </a:cubicBezTo>
                <a:lnTo>
                  <a:pt x="356" y="206"/>
                </a:lnTo>
                <a:lnTo>
                  <a:pt x="305" y="206"/>
                </a:lnTo>
                <a:lnTo>
                  <a:pt x="305" y="169"/>
                </a:lnTo>
                <a:lnTo>
                  <a:pt x="356" y="169"/>
                </a:lnTo>
                <a:lnTo>
                  <a:pt x="356" y="96"/>
                </a:lnTo>
                <a:lnTo>
                  <a:pt x="400" y="68"/>
                </a:lnTo>
                <a:lnTo>
                  <a:pt x="400" y="169"/>
                </a:lnTo>
                <a:lnTo>
                  <a:pt x="484" y="169"/>
                </a:lnTo>
                <a:lnTo>
                  <a:pt x="484" y="206"/>
                </a:lnTo>
                <a:lnTo>
                  <a:pt x="400" y="206"/>
                </a:lnTo>
                <a:lnTo>
                  <a:pt x="400" y="397"/>
                </a:lnTo>
                <a:cubicBezTo>
                  <a:pt x="400" y="430"/>
                  <a:pt x="415" y="449"/>
                  <a:pt x="451" y="449"/>
                </a:cubicBezTo>
                <a:cubicBezTo>
                  <a:pt x="463" y="449"/>
                  <a:pt x="470" y="448"/>
                  <a:pt x="481" y="443"/>
                </a:cubicBezTo>
                <a:lnTo>
                  <a:pt x="481" y="483"/>
                </a:lnTo>
                <a:close/>
              </a:path>
            </a:pathLst>
          </a:custGeom>
          <a:solidFill>
            <a:srgbClr val="0304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pt-BR" sz="1350" dirty="0">
              <a:solidFill>
                <a:prstClr val="black"/>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11345" y="1240610"/>
            <a:ext cx="1652822" cy="636380"/>
          </a:xfrm>
          <a:prstGeom prst="rect">
            <a:avLst/>
          </a:prstGeom>
        </p:spPr>
      </p:pic>
    </p:spTree>
    <p:extLst>
      <p:ext uri="{BB962C8B-B14F-4D97-AF65-F5344CB8AC3E}">
        <p14:creationId xmlns:p14="http://schemas.microsoft.com/office/powerpoint/2010/main" val="25273522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35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3689730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46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25571635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2_Title Slid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a:off x="2" y="0"/>
            <a:ext cx="9143999" cy="6858000"/>
          </a:xfrm>
          <a:prstGeom prst="rect">
            <a:avLst/>
          </a:prstGeom>
          <a:solidFill>
            <a:srgbClr val="1F497D">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spTree>
    <p:extLst>
      <p:ext uri="{BB962C8B-B14F-4D97-AF65-F5344CB8AC3E}">
        <p14:creationId xmlns:p14="http://schemas.microsoft.com/office/powerpoint/2010/main" val="33543049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56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Title 3"/>
          <p:cNvSpPr>
            <a:spLocks noGrp="1"/>
          </p:cNvSpPr>
          <p:nvPr>
            <p:ph type="title"/>
          </p:nvPr>
        </p:nvSpPr>
        <p:spPr>
          <a:xfrm>
            <a:off x="349034" y="0"/>
            <a:ext cx="8462457" cy="1058400"/>
          </a:xfrm>
        </p:spPr>
        <p:txBody>
          <a:bodyPr/>
          <a:lstStyle>
            <a:lvl1pPr>
              <a:defRPr lang="pt-BR" sz="1800" b="0" dirty="0" smtClean="0">
                <a:solidFill>
                  <a:srgbClr val="002060"/>
                </a:solidFill>
                <a:latin typeface="+mj-lt"/>
                <a:ea typeface="+mj-ea"/>
                <a:cs typeface="+mj-cs"/>
              </a:defRPr>
            </a:lvl1pPr>
          </a:lstStyle>
          <a:p>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5" name="Text Placeholder 4"/>
          <p:cNvSpPr>
            <a:spLocks noGrp="1"/>
          </p:cNvSpPr>
          <p:nvPr>
            <p:ph type="body" sz="quarter" idx="10" hasCustomPrompt="1"/>
          </p:nvPr>
        </p:nvSpPr>
        <p:spPr bwMode="auto">
          <a:xfrm>
            <a:off x="349034" y="1192551"/>
            <a:ext cx="4293000" cy="179536"/>
          </a:xfrm>
        </p:spPr>
        <p:txBody>
          <a:bodyPr/>
          <a:lstStyle>
            <a:lvl1pPr marL="0" indent="0">
              <a:spcBef>
                <a:spcPts val="0"/>
              </a:spcBef>
              <a:buNone/>
              <a:defRPr lang="pt-BR" sz="1050" dirty="0" smtClean="0">
                <a:solidFill>
                  <a:srgbClr val="2F539C"/>
                </a:solidFill>
                <a:latin typeface="+mn-lt"/>
                <a:ea typeface="+mn-ea"/>
                <a:cs typeface="+mn-cs"/>
              </a:defRPr>
            </a:lvl1pPr>
          </a:lstStyle>
          <a:p>
            <a:pPr marL="0" lvl="0" indent="0" algn="l" rtl="0" eaLnBrk="1" fontAlgn="base" hangingPunct="1">
              <a:lnSpc>
                <a:spcPts val="1382"/>
              </a:lnSpc>
              <a:spcBef>
                <a:spcPts val="0"/>
              </a:spcBef>
              <a:spcAft>
                <a:spcPct val="0"/>
              </a:spcAft>
              <a:buNone/>
            </a:pPr>
            <a:r>
              <a:rPr lang="pt-BR" dirty="0" err="1"/>
              <a:t>Title</a:t>
            </a:r>
            <a:endParaRPr lang="pt-BR" dirty="0"/>
          </a:p>
        </p:txBody>
      </p:sp>
    </p:spTree>
    <p:extLst>
      <p:ext uri="{BB962C8B-B14F-4D97-AF65-F5344CB8AC3E}">
        <p14:creationId xmlns:p14="http://schemas.microsoft.com/office/powerpoint/2010/main" val="31146773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7.vml"/><Relationship Id="rId13" Type="http://schemas.openxmlformats.org/officeDocument/2006/relationships/image" Target="../media/image4.emf"/><Relationship Id="rId3" Type="http://schemas.openxmlformats.org/officeDocument/2006/relationships/slideLayout" Target="../slideLayouts/slideLayout97.xml"/><Relationship Id="rId7" Type="http://schemas.openxmlformats.org/officeDocument/2006/relationships/theme" Target="../theme/theme10.xml"/><Relationship Id="rId12" Type="http://schemas.openxmlformats.org/officeDocument/2006/relationships/oleObject" Target="../embeddings/oleObject7.bin"/><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ags" Target="../tags/tag11.xml"/><Relationship Id="rId5" Type="http://schemas.openxmlformats.org/officeDocument/2006/relationships/slideLayout" Target="../slideLayouts/slideLayout99.xml"/><Relationship Id="rId10" Type="http://schemas.openxmlformats.org/officeDocument/2006/relationships/tags" Target="../tags/tag10.xml"/><Relationship Id="rId4" Type="http://schemas.openxmlformats.org/officeDocument/2006/relationships/slideLayout" Target="../slideLayouts/slideLayout98.xml"/><Relationship Id="rId9" Type="http://schemas.openxmlformats.org/officeDocument/2006/relationships/tags" Target="../tags/tag9.xml"/></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12.vml"/><Relationship Id="rId13" Type="http://schemas.openxmlformats.org/officeDocument/2006/relationships/image" Target="../media/image4.emf"/><Relationship Id="rId3" Type="http://schemas.openxmlformats.org/officeDocument/2006/relationships/slideLayout" Target="../slideLayouts/slideLayout103.xml"/><Relationship Id="rId7" Type="http://schemas.openxmlformats.org/officeDocument/2006/relationships/theme" Target="../theme/theme11.xml"/><Relationship Id="rId12" Type="http://schemas.openxmlformats.org/officeDocument/2006/relationships/oleObject" Target="../embeddings/oleObject12.bin"/><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ags" Target="../tags/tag18.xml"/><Relationship Id="rId5" Type="http://schemas.openxmlformats.org/officeDocument/2006/relationships/slideLayout" Target="../slideLayouts/slideLayout105.xml"/><Relationship Id="rId10" Type="http://schemas.openxmlformats.org/officeDocument/2006/relationships/tags" Target="../tags/tag17.xml"/><Relationship Id="rId4" Type="http://schemas.openxmlformats.org/officeDocument/2006/relationships/slideLayout" Target="../slideLayouts/slideLayout104.xml"/><Relationship Id="rId9" Type="http://schemas.openxmlformats.org/officeDocument/2006/relationships/tags" Target="../tags/tag16.xml"/></Relationships>
</file>

<file path=ppt/slideMasters/_rels/slideMaster12.xml.rels><?xml version="1.0" encoding="UTF-8" standalone="yes"?>
<Relationships xmlns="http://schemas.openxmlformats.org/package/2006/relationships"><Relationship Id="rId8" Type="http://schemas.openxmlformats.org/officeDocument/2006/relationships/vmlDrawing" Target="../drawings/vmlDrawing17.vml"/><Relationship Id="rId13" Type="http://schemas.openxmlformats.org/officeDocument/2006/relationships/image" Target="../media/image4.emf"/><Relationship Id="rId3" Type="http://schemas.openxmlformats.org/officeDocument/2006/relationships/slideLayout" Target="../slideLayouts/slideLayout109.xml"/><Relationship Id="rId7" Type="http://schemas.openxmlformats.org/officeDocument/2006/relationships/theme" Target="../theme/theme12.xml"/><Relationship Id="rId12" Type="http://schemas.openxmlformats.org/officeDocument/2006/relationships/oleObject" Target="../embeddings/oleObject17.bin"/><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ags" Target="../tags/tag25.xml"/><Relationship Id="rId5" Type="http://schemas.openxmlformats.org/officeDocument/2006/relationships/slideLayout" Target="../slideLayouts/slideLayout111.xml"/><Relationship Id="rId10" Type="http://schemas.openxmlformats.org/officeDocument/2006/relationships/tags" Target="../tags/tag24.xml"/><Relationship Id="rId4" Type="http://schemas.openxmlformats.org/officeDocument/2006/relationships/slideLayout" Target="../slideLayouts/slideLayout110.xml"/><Relationship Id="rId9" Type="http://schemas.openxmlformats.org/officeDocument/2006/relationships/tags" Target="../tags/tag23.xml"/></Relationships>
</file>

<file path=ppt/slideMasters/_rels/slideMaster13.xml.rels><?xml version="1.0" encoding="UTF-8" standalone="yes"?>
<Relationships xmlns="http://schemas.openxmlformats.org/package/2006/relationships"><Relationship Id="rId8" Type="http://schemas.openxmlformats.org/officeDocument/2006/relationships/vmlDrawing" Target="../drawings/vmlDrawing22.vml"/><Relationship Id="rId13" Type="http://schemas.openxmlformats.org/officeDocument/2006/relationships/image" Target="../media/image4.emf"/><Relationship Id="rId3" Type="http://schemas.openxmlformats.org/officeDocument/2006/relationships/slideLayout" Target="../slideLayouts/slideLayout115.xml"/><Relationship Id="rId7" Type="http://schemas.openxmlformats.org/officeDocument/2006/relationships/theme" Target="../theme/theme13.xml"/><Relationship Id="rId12" Type="http://schemas.openxmlformats.org/officeDocument/2006/relationships/oleObject" Target="../embeddings/oleObject22.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32.xml"/><Relationship Id="rId5" Type="http://schemas.openxmlformats.org/officeDocument/2006/relationships/slideLayout" Target="../slideLayouts/slideLayout117.xml"/><Relationship Id="rId10" Type="http://schemas.openxmlformats.org/officeDocument/2006/relationships/tags" Target="../tags/tag31.xml"/><Relationship Id="rId4" Type="http://schemas.openxmlformats.org/officeDocument/2006/relationships/slideLayout" Target="../slideLayouts/slideLayout116.xml"/><Relationship Id="rId9" Type="http://schemas.openxmlformats.org/officeDocument/2006/relationships/tags" Target="../tags/tag30.xml"/></Relationships>
</file>

<file path=ppt/slideMasters/_rels/slideMaster14.xml.rels><?xml version="1.0" encoding="UTF-8" standalone="yes"?>
<Relationships xmlns="http://schemas.openxmlformats.org/package/2006/relationships"><Relationship Id="rId8" Type="http://schemas.openxmlformats.org/officeDocument/2006/relationships/vmlDrawing" Target="../drawings/vmlDrawing27.vml"/><Relationship Id="rId13" Type="http://schemas.openxmlformats.org/officeDocument/2006/relationships/image" Target="../media/image4.emf"/><Relationship Id="rId3" Type="http://schemas.openxmlformats.org/officeDocument/2006/relationships/slideLayout" Target="../slideLayouts/slideLayout121.xml"/><Relationship Id="rId7" Type="http://schemas.openxmlformats.org/officeDocument/2006/relationships/theme" Target="../theme/theme14.xml"/><Relationship Id="rId12" Type="http://schemas.openxmlformats.org/officeDocument/2006/relationships/oleObject" Target="../embeddings/oleObject27.bin"/><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39.xml"/><Relationship Id="rId5" Type="http://schemas.openxmlformats.org/officeDocument/2006/relationships/slideLayout" Target="../slideLayouts/slideLayout123.xml"/><Relationship Id="rId10" Type="http://schemas.openxmlformats.org/officeDocument/2006/relationships/tags" Target="../tags/tag38.xml"/><Relationship Id="rId4" Type="http://schemas.openxmlformats.org/officeDocument/2006/relationships/slideLayout" Target="../slideLayouts/slideLayout122.xml"/><Relationship Id="rId9" Type="http://schemas.openxmlformats.org/officeDocument/2006/relationships/tags" Target="../tags/tag3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15.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4" Type="http://schemas.openxmlformats.org/officeDocument/2006/relationships/slideLayout" Target="../slideLayouts/slideLayout139.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2.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image" Target="../media/image2.jpeg"/><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2.jpe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2.jpeg"/></Relationships>
</file>

<file path=ppt/slideMasters/_rels/slideMaster9.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4.emf"/><Relationship Id="rId3" Type="http://schemas.openxmlformats.org/officeDocument/2006/relationships/slideLayout" Target="../slideLayouts/slideLayout91.xml"/><Relationship Id="rId7" Type="http://schemas.openxmlformats.org/officeDocument/2006/relationships/theme" Target="../theme/theme9.xml"/><Relationship Id="rId12" Type="http://schemas.openxmlformats.org/officeDocument/2006/relationships/oleObject" Target="../embeddings/oleObject2.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4.xml"/><Relationship Id="rId5" Type="http://schemas.openxmlformats.org/officeDocument/2006/relationships/slideLayout" Target="../slideLayouts/slideLayout93.xml"/><Relationship Id="rId10" Type="http://schemas.openxmlformats.org/officeDocument/2006/relationships/tags" Target="../tags/tag3.xml"/><Relationship Id="rId4" Type="http://schemas.openxmlformats.org/officeDocument/2006/relationships/slideLayout" Target="../slideLayouts/slideLayout92.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8137A4-986C-44B7-BC96-9776515981F1}"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28" r:id="rId12"/>
    <p:sldLayoutId id="2147483729"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193" y="1591"/>
          <a:ext cx="1191" cy="1587"/>
        </p:xfrm>
        <a:graphic>
          <a:graphicData uri="http://schemas.openxmlformats.org/presentationml/2006/ole">
            <mc:AlternateContent xmlns:mc="http://schemas.openxmlformats.org/markup-compatibility/2006">
              <mc:Choice xmlns:v="urn:schemas-microsoft-com:vml" Requires="v">
                <p:oleObj spid="_x0000_s22571" name="think-cell Slide" r:id="rId12" imgW="581" imgH="586" progId="TCLayout.ActiveDocument.1">
                  <p:embed/>
                </p:oleObj>
              </mc:Choice>
              <mc:Fallback>
                <p:oleObj name="think-cell Slide" r:id="rId12" imgW="581" imgH="586" progId="TCLayout.ActiveDocument.1">
                  <p:embed/>
                  <p:pic>
                    <p:nvPicPr>
                      <p:cNvPr id="0" name=""/>
                      <p:cNvPicPr/>
                      <p:nvPr/>
                    </p:nvPicPr>
                    <p:blipFill>
                      <a:blip r:embed="rId13"/>
                      <a:stretch>
                        <a:fillRect/>
                      </a:stretch>
                    </p:blipFill>
                    <p:spPr>
                      <a:xfrm>
                        <a:off x="1193" y="1591"/>
                        <a:ext cx="1191" cy="1587"/>
                      </a:xfrm>
                      <a:prstGeom prst="rect">
                        <a:avLst/>
                      </a:prstGeom>
                    </p:spPr>
                  </p:pic>
                </p:oleObj>
              </mc:Fallback>
            </mc:AlternateContent>
          </a:graphicData>
        </a:graphic>
      </p:graphicFrame>
      <p:sp>
        <p:nvSpPr>
          <p:cNvPr id="8" name="TextBox 7"/>
          <p:cNvSpPr txBox="1"/>
          <p:nvPr/>
        </p:nvSpPr>
        <p:spPr>
          <a:xfrm>
            <a:off x="5057296" y="6678067"/>
            <a:ext cx="3508376" cy="77842"/>
          </a:xfrm>
          <a:prstGeom prst="rect">
            <a:avLst/>
          </a:prstGeom>
          <a:noFill/>
        </p:spPr>
        <p:txBody>
          <a:bodyPr wrap="square" lIns="0" tIns="0" rIns="0" bIns="0" rtlCol="0" anchor="b" anchorCtr="0">
            <a:spAutoFit/>
          </a:bodyPr>
          <a:lstStyle/>
          <a:p>
            <a:pPr algn="r" defTabSz="456060" fontAlgn="base">
              <a:spcBef>
                <a:spcPct val="0"/>
              </a:spcBef>
              <a:spcAft>
                <a:spcPct val="0"/>
              </a:spcAft>
              <a:defRPr/>
            </a:pPr>
            <a:r>
              <a:rPr lang="pt-BR" sz="506" dirty="0">
                <a:solidFill>
                  <a:prstClr val="white">
                    <a:lumMod val="50000"/>
                  </a:prstClr>
                </a:solidFill>
              </a:rPr>
              <a:t>Copyright © 2017 Accenture. Todos os direitos reservados. Proprietário e confidencial.</a:t>
            </a:r>
          </a:p>
        </p:txBody>
      </p:sp>
      <p:sp>
        <p:nvSpPr>
          <p:cNvPr id="7" name="TextBox 6"/>
          <p:cNvSpPr txBox="1"/>
          <p:nvPr/>
        </p:nvSpPr>
        <p:spPr>
          <a:xfrm>
            <a:off x="8332307" y="6594326"/>
            <a:ext cx="466728" cy="161583"/>
          </a:xfrm>
          <a:prstGeom prst="rect">
            <a:avLst/>
          </a:prstGeom>
          <a:noFill/>
        </p:spPr>
        <p:txBody>
          <a:bodyPr wrap="square" lIns="0" tIns="0" rIns="0" bIns="0" rtlCol="0" anchor="b" anchorCtr="0">
            <a:spAutoFit/>
          </a:bodyPr>
          <a:lstStyle/>
          <a:p>
            <a:pPr algn="r" fontAlgn="base">
              <a:spcBef>
                <a:spcPct val="0"/>
              </a:spcBef>
              <a:spcAft>
                <a:spcPct val="0"/>
              </a:spcAft>
            </a:pPr>
            <a:fld id="{9506F66D-3967-4DB8-9A18-525DE62AD90B}" type="slidenum">
              <a:rPr lang="pt-BR" sz="1050" smtClean="0">
                <a:solidFill>
                  <a:prstClr val="white">
                    <a:lumMod val="50000"/>
                  </a:prstClr>
                </a:solidFill>
              </a:rPr>
              <a:pPr algn="r" fontAlgn="base">
                <a:spcBef>
                  <a:spcPct val="0"/>
                </a:spcBef>
                <a:spcAft>
                  <a:spcPct val="0"/>
                </a:spcAft>
              </a:pPr>
              <a:t>‹nº›</a:t>
            </a:fld>
            <a:endParaRPr lang="pt-BR" sz="1050" dirty="0">
              <a:solidFill>
                <a:prstClr val="white">
                  <a:lumMod val="50000"/>
                </a:prstClr>
              </a:solidFill>
            </a:endParaRPr>
          </a:p>
        </p:txBody>
      </p:sp>
      <p:sp>
        <p:nvSpPr>
          <p:cNvPr id="1054" name="Rectangle 30"/>
          <p:cNvSpPr>
            <a:spLocks noGrp="1" noChangeArrowheads="1"/>
          </p:cNvSpPr>
          <p:nvPr>
            <p:ph type="title"/>
          </p:nvPr>
        </p:nvSpPr>
        <p:spPr bwMode="gray">
          <a:xfrm>
            <a:off x="349034" y="0"/>
            <a:ext cx="7983273" cy="1058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1057" name="Rectangle 33"/>
          <p:cNvSpPr>
            <a:spLocks noGrp="1" noChangeArrowheads="1"/>
          </p:cNvSpPr>
          <p:nvPr>
            <p:ph type="body" idx="1"/>
          </p:nvPr>
        </p:nvSpPr>
        <p:spPr bwMode="auto">
          <a:xfrm>
            <a:off x="349034" y="1192534"/>
            <a:ext cx="8449923" cy="570926"/>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p>
            <a:pPr lvl="0"/>
            <a:r>
              <a:rPr lang="pt-BR" dirty="0"/>
              <a:t>Click </a:t>
            </a:r>
            <a:r>
              <a:rPr lang="pt-BR" dirty="0" err="1"/>
              <a:t>to</a:t>
            </a:r>
            <a:r>
              <a:rPr lang="pt-BR" dirty="0"/>
              <a:t> </a:t>
            </a:r>
            <a:r>
              <a:rPr lang="pt-BR" dirty="0" err="1"/>
              <a:t>edit</a:t>
            </a:r>
            <a:r>
              <a:rPr lang="pt-BR" dirty="0"/>
              <a:t> Master </a:t>
            </a:r>
            <a:r>
              <a:rPr lang="pt-BR" dirty="0" err="1"/>
              <a:t>text</a:t>
            </a:r>
            <a:r>
              <a:rPr lang="pt-BR" dirty="0"/>
              <a:t> </a:t>
            </a:r>
            <a:r>
              <a:rPr lang="pt-BR" dirty="0" err="1"/>
              <a:t>styles</a:t>
            </a:r>
            <a:endParaRPr lang="pt-BR" dirty="0"/>
          </a:p>
          <a:p>
            <a:pPr lvl="1"/>
            <a:r>
              <a:rPr lang="pt-BR" dirty="0" err="1"/>
              <a:t>Second</a:t>
            </a:r>
            <a:r>
              <a:rPr lang="pt-BR" dirty="0"/>
              <a:t> </a:t>
            </a:r>
            <a:r>
              <a:rPr lang="pt-BR" dirty="0" err="1"/>
              <a:t>level</a:t>
            </a:r>
            <a:endParaRPr lang="pt-BR" dirty="0"/>
          </a:p>
          <a:p>
            <a:pPr lvl="2"/>
            <a:r>
              <a:rPr lang="pt-BR" dirty="0" err="1"/>
              <a:t>Third</a:t>
            </a:r>
            <a:r>
              <a:rPr lang="pt-BR" dirty="0"/>
              <a:t> </a:t>
            </a:r>
            <a:r>
              <a:rPr lang="pt-BR" dirty="0" err="1"/>
              <a:t>level</a:t>
            </a:r>
            <a:endParaRPr lang="pt-BR" dirty="0"/>
          </a:p>
        </p:txBody>
      </p:sp>
      <p:sp>
        <p:nvSpPr>
          <p:cNvPr id="3" name="AcnSubjectTitle_ID_3" hidden="1"/>
          <p:cNvSpPr txBox="1"/>
          <p:nvPr userDrawn="1">
            <p:custDataLst>
              <p:tags r:id="rId10"/>
            </p:custDataLst>
          </p:nvPr>
        </p:nvSpPr>
        <p:spPr bwMode="gray">
          <a:xfrm>
            <a:off x="349034" y="1420814"/>
            <a:ext cx="5238750" cy="276999"/>
          </a:xfrm>
          <a:prstGeom prst="rect">
            <a:avLst/>
          </a:prstGeom>
          <a:noFill/>
        </p:spPr>
        <p:txBody>
          <a:bodyPr vert="horz" wrap="square" rtlCol="0">
            <a:spAutoFit/>
          </a:bodyPr>
          <a:lstStyle/>
          <a:p>
            <a:pPr fontAlgn="base">
              <a:spcBef>
                <a:spcPct val="0"/>
              </a:spcBef>
              <a:spcAft>
                <a:spcPct val="0"/>
              </a:spcAft>
            </a:pPr>
            <a:r>
              <a:rPr lang="pt-BR" sz="1200" b="1" dirty="0">
                <a:solidFill>
                  <a:prstClr val="black"/>
                </a:solidFill>
              </a:rPr>
              <a:t>Subject Title</a:t>
            </a:r>
          </a:p>
        </p:txBody>
      </p:sp>
      <p:sp>
        <p:nvSpPr>
          <p:cNvPr id="4" name="AcnFootnote_ID_4" hidden="1"/>
          <p:cNvSpPr txBox="1"/>
          <p:nvPr userDrawn="1">
            <p:custDataLst>
              <p:tags r:id="rId11"/>
            </p:custDataLst>
          </p:nvPr>
        </p:nvSpPr>
        <p:spPr bwMode="gray">
          <a:xfrm>
            <a:off x="349034" y="6339389"/>
            <a:ext cx="7983273" cy="346249"/>
          </a:xfrm>
          <a:prstGeom prst="rect">
            <a:avLst/>
          </a:prstGeom>
          <a:noFill/>
        </p:spPr>
        <p:txBody>
          <a:bodyPr vert="horz" wrap="square" rtlCol="0" anchor="b">
            <a:spAutoFit/>
          </a:bodyPr>
          <a:lstStyle/>
          <a:p>
            <a:pPr marL="403622" indent="-403622" fontAlgn="base">
              <a:spcBef>
                <a:spcPct val="0"/>
              </a:spcBef>
              <a:spcAft>
                <a:spcPct val="0"/>
              </a:spcAft>
            </a:pPr>
            <a:r>
              <a:rPr lang="pt-BR" sz="750" dirty="0">
                <a:solidFill>
                  <a:prstClr val="black"/>
                </a:solidFill>
              </a:rPr>
              <a:t>*	Footnote</a:t>
            </a:r>
          </a:p>
          <a:p>
            <a:pPr marL="403622" indent="-403622" fontAlgn="base">
              <a:spcBef>
                <a:spcPct val="20000"/>
              </a:spcBef>
              <a:spcAft>
                <a:spcPct val="0"/>
              </a:spcAft>
            </a:pPr>
            <a:r>
              <a:rPr lang="pt-BR" sz="750" dirty="0">
                <a:solidFill>
                  <a:prstClr val="black"/>
                </a:solidFill>
              </a:rPr>
              <a:t>Source:	Source</a:t>
            </a:r>
          </a:p>
        </p:txBody>
      </p:sp>
    </p:spTree>
    <p:extLst>
      <p:ext uri="{BB962C8B-B14F-4D97-AF65-F5344CB8AC3E}">
        <p14:creationId xmlns:p14="http://schemas.microsoft.com/office/powerpoint/2010/main" val="1113048651"/>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Lst>
  <p:hf hdr="0" dt="0"/>
  <p:txStyles>
    <p:titleStyle>
      <a:lvl1pPr algn="l" rtl="0" eaLnBrk="1" fontAlgn="base" hangingPunct="1">
        <a:spcBef>
          <a:spcPct val="0"/>
        </a:spcBef>
        <a:spcAft>
          <a:spcPct val="0"/>
        </a:spcAft>
        <a:defRPr sz="1126" b="0">
          <a:solidFill>
            <a:srgbClr val="EC282C"/>
          </a:solidFill>
          <a:latin typeface="+mj-lt"/>
          <a:ea typeface="+mj-ea"/>
          <a:cs typeface="+mj-cs"/>
        </a:defRPr>
      </a:lvl1pPr>
      <a:lvl2pPr algn="l" rtl="0" eaLnBrk="1" fontAlgn="base" hangingPunct="1">
        <a:spcBef>
          <a:spcPct val="0"/>
        </a:spcBef>
        <a:spcAft>
          <a:spcPct val="0"/>
        </a:spcAft>
        <a:defRPr sz="1070" b="1">
          <a:solidFill>
            <a:schemeClr val="bg1"/>
          </a:solidFill>
          <a:latin typeface="Arial" charset="0"/>
        </a:defRPr>
      </a:lvl2pPr>
      <a:lvl3pPr algn="l" rtl="0" eaLnBrk="1" fontAlgn="base" hangingPunct="1">
        <a:spcBef>
          <a:spcPct val="0"/>
        </a:spcBef>
        <a:spcAft>
          <a:spcPct val="0"/>
        </a:spcAft>
        <a:defRPr sz="1070" b="1">
          <a:solidFill>
            <a:schemeClr val="bg1"/>
          </a:solidFill>
          <a:latin typeface="Arial" charset="0"/>
        </a:defRPr>
      </a:lvl3pPr>
      <a:lvl4pPr algn="l" rtl="0" eaLnBrk="1" fontAlgn="base" hangingPunct="1">
        <a:spcBef>
          <a:spcPct val="0"/>
        </a:spcBef>
        <a:spcAft>
          <a:spcPct val="0"/>
        </a:spcAft>
        <a:defRPr sz="1070" b="1">
          <a:solidFill>
            <a:schemeClr val="bg1"/>
          </a:solidFill>
          <a:latin typeface="Arial" charset="0"/>
        </a:defRPr>
      </a:lvl4pPr>
      <a:lvl5pPr algn="l" rtl="0" eaLnBrk="1" fontAlgn="base" hangingPunct="1">
        <a:spcBef>
          <a:spcPct val="0"/>
        </a:spcBef>
        <a:spcAft>
          <a:spcPct val="0"/>
        </a:spcAft>
        <a:defRPr sz="1070" b="1">
          <a:solidFill>
            <a:schemeClr val="bg1"/>
          </a:solidFill>
          <a:latin typeface="Arial" charset="0"/>
        </a:defRPr>
      </a:lvl5pPr>
      <a:lvl6pPr marL="228030" algn="l" rtl="0" eaLnBrk="1" fontAlgn="base" hangingPunct="1">
        <a:spcBef>
          <a:spcPct val="0"/>
        </a:spcBef>
        <a:spcAft>
          <a:spcPct val="0"/>
        </a:spcAft>
        <a:defRPr sz="1070" b="1">
          <a:solidFill>
            <a:schemeClr val="bg1"/>
          </a:solidFill>
          <a:latin typeface="Arial" charset="0"/>
        </a:defRPr>
      </a:lvl6pPr>
      <a:lvl7pPr marL="456060" algn="l" rtl="0" eaLnBrk="1" fontAlgn="base" hangingPunct="1">
        <a:spcBef>
          <a:spcPct val="0"/>
        </a:spcBef>
        <a:spcAft>
          <a:spcPct val="0"/>
        </a:spcAft>
        <a:defRPr sz="1070" b="1">
          <a:solidFill>
            <a:schemeClr val="bg1"/>
          </a:solidFill>
          <a:latin typeface="Arial" charset="0"/>
        </a:defRPr>
      </a:lvl7pPr>
      <a:lvl8pPr marL="684090" algn="l" rtl="0" eaLnBrk="1" fontAlgn="base" hangingPunct="1">
        <a:spcBef>
          <a:spcPct val="0"/>
        </a:spcBef>
        <a:spcAft>
          <a:spcPct val="0"/>
        </a:spcAft>
        <a:defRPr sz="1070" b="1">
          <a:solidFill>
            <a:schemeClr val="bg1"/>
          </a:solidFill>
          <a:latin typeface="Arial" charset="0"/>
        </a:defRPr>
      </a:lvl8pPr>
      <a:lvl9pPr marL="912119" algn="l" rtl="0" eaLnBrk="1" fontAlgn="base" hangingPunct="1">
        <a:spcBef>
          <a:spcPct val="0"/>
        </a:spcBef>
        <a:spcAft>
          <a:spcPct val="0"/>
        </a:spcAft>
        <a:defRPr sz="1070" b="1">
          <a:solidFill>
            <a:schemeClr val="bg1"/>
          </a:solidFill>
          <a:latin typeface="Arial" charset="0"/>
        </a:defRPr>
      </a:lvl9pPr>
    </p:titleStyle>
    <p:bodyStyle>
      <a:lvl1pPr marL="100066" indent="-100066" algn="l" rtl="0" eaLnBrk="1" fontAlgn="base" hangingPunct="1">
        <a:spcBef>
          <a:spcPts val="675"/>
        </a:spcBef>
        <a:spcAft>
          <a:spcPct val="0"/>
        </a:spcAft>
        <a:buChar char="•"/>
        <a:defRPr sz="1070">
          <a:solidFill>
            <a:srgbClr val="000000"/>
          </a:solidFill>
          <a:latin typeface="+mn-lt"/>
          <a:ea typeface="+mn-ea"/>
          <a:cs typeface="+mn-cs"/>
        </a:defRPr>
      </a:lvl1pPr>
      <a:lvl2pPr marL="201919" indent="-99173" algn="l" rtl="0" eaLnBrk="1" fontAlgn="base" hangingPunct="1">
        <a:spcBef>
          <a:spcPts val="338"/>
        </a:spcBef>
        <a:spcAft>
          <a:spcPct val="0"/>
        </a:spcAft>
        <a:buChar char="–"/>
        <a:defRPr sz="1070">
          <a:solidFill>
            <a:srgbClr val="000000"/>
          </a:solidFill>
          <a:latin typeface="+mn-lt"/>
        </a:defRPr>
      </a:lvl2pPr>
      <a:lvl3pPr marL="304665" indent="-102746" algn="l" rtl="0" eaLnBrk="1" fontAlgn="base" hangingPunct="1">
        <a:spcBef>
          <a:spcPts val="338"/>
        </a:spcBef>
        <a:spcAft>
          <a:spcPct val="0"/>
        </a:spcAft>
        <a:buFont typeface="Arial" charset="0"/>
        <a:buChar char="-"/>
        <a:defRPr sz="1070">
          <a:solidFill>
            <a:srgbClr val="000000"/>
          </a:solidFill>
          <a:latin typeface="+mn-lt"/>
        </a:defRPr>
      </a:lvl3pPr>
      <a:lvl4pPr marL="798104" indent="-114015" algn="l" rtl="0" eaLnBrk="1" fontAlgn="base" hangingPunct="1">
        <a:spcBef>
          <a:spcPct val="20000"/>
        </a:spcBef>
        <a:spcAft>
          <a:spcPct val="0"/>
        </a:spcAft>
        <a:buChar char="–"/>
        <a:defRPr sz="1013">
          <a:solidFill>
            <a:schemeClr val="tx1"/>
          </a:solidFill>
          <a:latin typeface="+mn-lt"/>
        </a:defRPr>
      </a:lvl4pPr>
      <a:lvl5pPr marL="1026134" indent="-114015" algn="l" rtl="0" eaLnBrk="1" fontAlgn="base" hangingPunct="1">
        <a:spcBef>
          <a:spcPct val="20000"/>
        </a:spcBef>
        <a:spcAft>
          <a:spcPct val="0"/>
        </a:spcAft>
        <a:buChar char="»"/>
        <a:defRPr sz="1013">
          <a:solidFill>
            <a:schemeClr val="tx1"/>
          </a:solidFill>
          <a:latin typeface="+mn-lt"/>
        </a:defRPr>
      </a:lvl5pPr>
      <a:lvl6pPr marL="1254164" indent="-114015" algn="l" rtl="0" eaLnBrk="1" fontAlgn="base" hangingPunct="1">
        <a:spcBef>
          <a:spcPct val="20000"/>
        </a:spcBef>
        <a:spcAft>
          <a:spcPct val="0"/>
        </a:spcAft>
        <a:buChar char="»"/>
        <a:defRPr sz="1013">
          <a:solidFill>
            <a:schemeClr val="tx1"/>
          </a:solidFill>
          <a:latin typeface="+mn-lt"/>
        </a:defRPr>
      </a:lvl6pPr>
      <a:lvl7pPr marL="1482194" indent="-114015" algn="l" rtl="0" eaLnBrk="1" fontAlgn="base" hangingPunct="1">
        <a:spcBef>
          <a:spcPct val="20000"/>
        </a:spcBef>
        <a:spcAft>
          <a:spcPct val="0"/>
        </a:spcAft>
        <a:buChar char="»"/>
        <a:defRPr sz="1013">
          <a:solidFill>
            <a:schemeClr val="tx1"/>
          </a:solidFill>
          <a:latin typeface="+mn-lt"/>
        </a:defRPr>
      </a:lvl7pPr>
      <a:lvl8pPr marL="1710224" indent="-114015" algn="l" rtl="0" eaLnBrk="1" fontAlgn="base" hangingPunct="1">
        <a:spcBef>
          <a:spcPct val="20000"/>
        </a:spcBef>
        <a:spcAft>
          <a:spcPct val="0"/>
        </a:spcAft>
        <a:buChar char="»"/>
        <a:defRPr sz="1013">
          <a:solidFill>
            <a:schemeClr val="tx1"/>
          </a:solidFill>
          <a:latin typeface="+mn-lt"/>
        </a:defRPr>
      </a:lvl8pPr>
      <a:lvl9pPr marL="1938254" indent="-114015" algn="l" rtl="0" eaLnBrk="1" fontAlgn="base" hangingPunct="1">
        <a:spcBef>
          <a:spcPct val="20000"/>
        </a:spcBef>
        <a:spcAft>
          <a:spcPct val="0"/>
        </a:spcAft>
        <a:buChar char="»"/>
        <a:defRPr sz="1013">
          <a:solidFill>
            <a:schemeClr val="tx1"/>
          </a:solidFill>
          <a:latin typeface="+mn-lt"/>
        </a:defRPr>
      </a:lvl9pPr>
    </p:bodyStyle>
    <p:otherStyle>
      <a:defPPr>
        <a:defRPr lang="en-US"/>
      </a:defPPr>
      <a:lvl1pPr marL="0" algn="l" defTabSz="456060" rtl="0" eaLnBrk="1" latinLnBrk="0" hangingPunct="1">
        <a:defRPr sz="901" kern="1200">
          <a:solidFill>
            <a:schemeClr val="tx1"/>
          </a:solidFill>
          <a:latin typeface="+mn-lt"/>
          <a:ea typeface="+mn-ea"/>
          <a:cs typeface="+mn-cs"/>
        </a:defRPr>
      </a:lvl1pPr>
      <a:lvl2pPr marL="228030" algn="l" defTabSz="456060" rtl="0" eaLnBrk="1" latinLnBrk="0" hangingPunct="1">
        <a:defRPr sz="901" kern="1200">
          <a:solidFill>
            <a:schemeClr val="tx1"/>
          </a:solidFill>
          <a:latin typeface="+mn-lt"/>
          <a:ea typeface="+mn-ea"/>
          <a:cs typeface="+mn-cs"/>
        </a:defRPr>
      </a:lvl2pPr>
      <a:lvl3pPr marL="456060" algn="l" defTabSz="456060" rtl="0" eaLnBrk="1" latinLnBrk="0" hangingPunct="1">
        <a:defRPr sz="901" kern="1200">
          <a:solidFill>
            <a:schemeClr val="tx1"/>
          </a:solidFill>
          <a:latin typeface="+mn-lt"/>
          <a:ea typeface="+mn-ea"/>
          <a:cs typeface="+mn-cs"/>
        </a:defRPr>
      </a:lvl3pPr>
      <a:lvl4pPr marL="684090" algn="l" defTabSz="456060" rtl="0" eaLnBrk="1" latinLnBrk="0" hangingPunct="1">
        <a:defRPr sz="901" kern="1200">
          <a:solidFill>
            <a:schemeClr val="tx1"/>
          </a:solidFill>
          <a:latin typeface="+mn-lt"/>
          <a:ea typeface="+mn-ea"/>
          <a:cs typeface="+mn-cs"/>
        </a:defRPr>
      </a:lvl4pPr>
      <a:lvl5pPr marL="912119" algn="l" defTabSz="456060" rtl="0" eaLnBrk="1" latinLnBrk="0" hangingPunct="1">
        <a:defRPr sz="901" kern="1200">
          <a:solidFill>
            <a:schemeClr val="tx1"/>
          </a:solidFill>
          <a:latin typeface="+mn-lt"/>
          <a:ea typeface="+mn-ea"/>
          <a:cs typeface="+mn-cs"/>
        </a:defRPr>
      </a:lvl5pPr>
      <a:lvl6pPr marL="1140149" algn="l" defTabSz="456060" rtl="0" eaLnBrk="1" latinLnBrk="0" hangingPunct="1">
        <a:defRPr sz="901" kern="1200">
          <a:solidFill>
            <a:schemeClr val="tx1"/>
          </a:solidFill>
          <a:latin typeface="+mn-lt"/>
          <a:ea typeface="+mn-ea"/>
          <a:cs typeface="+mn-cs"/>
        </a:defRPr>
      </a:lvl6pPr>
      <a:lvl7pPr marL="1368179" algn="l" defTabSz="456060" rtl="0" eaLnBrk="1" latinLnBrk="0" hangingPunct="1">
        <a:defRPr sz="901" kern="1200">
          <a:solidFill>
            <a:schemeClr val="tx1"/>
          </a:solidFill>
          <a:latin typeface="+mn-lt"/>
          <a:ea typeface="+mn-ea"/>
          <a:cs typeface="+mn-cs"/>
        </a:defRPr>
      </a:lvl7pPr>
      <a:lvl8pPr marL="1596209" algn="l" defTabSz="456060" rtl="0" eaLnBrk="1" latinLnBrk="0" hangingPunct="1">
        <a:defRPr sz="901" kern="1200">
          <a:solidFill>
            <a:schemeClr val="tx1"/>
          </a:solidFill>
          <a:latin typeface="+mn-lt"/>
          <a:ea typeface="+mn-ea"/>
          <a:cs typeface="+mn-cs"/>
        </a:defRPr>
      </a:lvl8pPr>
      <a:lvl9pPr marL="1824239" algn="l" defTabSz="456060" rtl="0" eaLnBrk="1" latinLnBrk="0" hangingPunct="1">
        <a:defRPr sz="901"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193" y="1591"/>
          <a:ext cx="1191" cy="1587"/>
        </p:xfrm>
        <a:graphic>
          <a:graphicData uri="http://schemas.openxmlformats.org/presentationml/2006/ole">
            <mc:AlternateContent xmlns:mc="http://schemas.openxmlformats.org/markup-compatibility/2006">
              <mc:Choice xmlns:v="urn:schemas-microsoft-com:vml" Requires="v">
                <p:oleObj spid="_x0000_s27691" name="think-cell Slide" r:id="rId12" imgW="581" imgH="586" progId="TCLayout.ActiveDocument.1">
                  <p:embed/>
                </p:oleObj>
              </mc:Choice>
              <mc:Fallback>
                <p:oleObj name="think-cell Slide" r:id="rId12" imgW="581" imgH="586" progId="TCLayout.ActiveDocument.1">
                  <p:embed/>
                  <p:pic>
                    <p:nvPicPr>
                      <p:cNvPr id="0" name=""/>
                      <p:cNvPicPr/>
                      <p:nvPr/>
                    </p:nvPicPr>
                    <p:blipFill>
                      <a:blip r:embed="rId13"/>
                      <a:stretch>
                        <a:fillRect/>
                      </a:stretch>
                    </p:blipFill>
                    <p:spPr>
                      <a:xfrm>
                        <a:off x="1193" y="1591"/>
                        <a:ext cx="1191" cy="1587"/>
                      </a:xfrm>
                      <a:prstGeom prst="rect">
                        <a:avLst/>
                      </a:prstGeom>
                    </p:spPr>
                  </p:pic>
                </p:oleObj>
              </mc:Fallback>
            </mc:AlternateContent>
          </a:graphicData>
        </a:graphic>
      </p:graphicFrame>
      <p:sp>
        <p:nvSpPr>
          <p:cNvPr id="8" name="TextBox 7"/>
          <p:cNvSpPr txBox="1"/>
          <p:nvPr/>
        </p:nvSpPr>
        <p:spPr>
          <a:xfrm>
            <a:off x="5057296" y="6678067"/>
            <a:ext cx="3508376" cy="77842"/>
          </a:xfrm>
          <a:prstGeom prst="rect">
            <a:avLst/>
          </a:prstGeom>
          <a:noFill/>
        </p:spPr>
        <p:txBody>
          <a:bodyPr wrap="square" lIns="0" tIns="0" rIns="0" bIns="0" rtlCol="0" anchor="b" anchorCtr="0">
            <a:spAutoFit/>
          </a:bodyPr>
          <a:lstStyle/>
          <a:p>
            <a:pPr algn="r" defTabSz="456060" fontAlgn="base">
              <a:spcBef>
                <a:spcPct val="0"/>
              </a:spcBef>
              <a:spcAft>
                <a:spcPct val="0"/>
              </a:spcAft>
              <a:defRPr/>
            </a:pPr>
            <a:r>
              <a:rPr lang="pt-BR" sz="506" dirty="0">
                <a:solidFill>
                  <a:prstClr val="white">
                    <a:lumMod val="50000"/>
                  </a:prstClr>
                </a:solidFill>
              </a:rPr>
              <a:t>Copyright © 2017 Accenture. Todos os direitos reservados. Proprietário e confidencial.</a:t>
            </a:r>
          </a:p>
        </p:txBody>
      </p:sp>
      <p:sp>
        <p:nvSpPr>
          <p:cNvPr id="7" name="TextBox 6"/>
          <p:cNvSpPr txBox="1"/>
          <p:nvPr/>
        </p:nvSpPr>
        <p:spPr>
          <a:xfrm>
            <a:off x="8332307" y="6586632"/>
            <a:ext cx="466728" cy="169277"/>
          </a:xfrm>
          <a:prstGeom prst="rect">
            <a:avLst/>
          </a:prstGeom>
          <a:noFill/>
        </p:spPr>
        <p:txBody>
          <a:bodyPr wrap="square" lIns="0" tIns="0" rIns="0" bIns="0" rtlCol="0" anchor="b" anchorCtr="0">
            <a:spAutoFit/>
          </a:bodyPr>
          <a:lstStyle/>
          <a:p>
            <a:pPr algn="r" fontAlgn="base">
              <a:spcBef>
                <a:spcPct val="0"/>
              </a:spcBef>
              <a:spcAft>
                <a:spcPct val="0"/>
              </a:spcAft>
            </a:pPr>
            <a:fld id="{9506F66D-3967-4DB8-9A18-525DE62AD90B}" type="slidenum">
              <a:rPr lang="pt-BR" sz="1100" smtClean="0">
                <a:solidFill>
                  <a:prstClr val="white">
                    <a:lumMod val="50000"/>
                  </a:prstClr>
                </a:solidFill>
              </a:rPr>
              <a:pPr algn="r" fontAlgn="base">
                <a:spcBef>
                  <a:spcPct val="0"/>
                </a:spcBef>
                <a:spcAft>
                  <a:spcPct val="0"/>
                </a:spcAft>
              </a:pPr>
              <a:t>‹nº›</a:t>
            </a:fld>
            <a:endParaRPr lang="pt-BR" sz="1100" dirty="0">
              <a:solidFill>
                <a:prstClr val="white">
                  <a:lumMod val="50000"/>
                </a:prstClr>
              </a:solidFill>
            </a:endParaRPr>
          </a:p>
        </p:txBody>
      </p:sp>
      <p:sp>
        <p:nvSpPr>
          <p:cNvPr id="1054" name="Rectangle 30"/>
          <p:cNvSpPr>
            <a:spLocks noGrp="1" noChangeArrowheads="1"/>
          </p:cNvSpPr>
          <p:nvPr>
            <p:ph type="title"/>
          </p:nvPr>
        </p:nvSpPr>
        <p:spPr bwMode="gray">
          <a:xfrm>
            <a:off x="349034" y="0"/>
            <a:ext cx="7983273" cy="1058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1057" name="Rectangle 33"/>
          <p:cNvSpPr>
            <a:spLocks noGrp="1" noChangeArrowheads="1"/>
          </p:cNvSpPr>
          <p:nvPr>
            <p:ph type="body" idx="1"/>
          </p:nvPr>
        </p:nvSpPr>
        <p:spPr bwMode="auto">
          <a:xfrm>
            <a:off x="349034" y="1192534"/>
            <a:ext cx="8449923" cy="570926"/>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p>
            <a:pPr lvl="0"/>
            <a:r>
              <a:rPr lang="pt-BR" dirty="0"/>
              <a:t>Click </a:t>
            </a:r>
            <a:r>
              <a:rPr lang="pt-BR" dirty="0" err="1"/>
              <a:t>to</a:t>
            </a:r>
            <a:r>
              <a:rPr lang="pt-BR" dirty="0"/>
              <a:t> </a:t>
            </a:r>
            <a:r>
              <a:rPr lang="pt-BR" dirty="0" err="1"/>
              <a:t>edit</a:t>
            </a:r>
            <a:r>
              <a:rPr lang="pt-BR" dirty="0"/>
              <a:t> Master </a:t>
            </a:r>
            <a:r>
              <a:rPr lang="pt-BR" dirty="0" err="1"/>
              <a:t>text</a:t>
            </a:r>
            <a:r>
              <a:rPr lang="pt-BR" dirty="0"/>
              <a:t> </a:t>
            </a:r>
            <a:r>
              <a:rPr lang="pt-BR" dirty="0" err="1"/>
              <a:t>styles</a:t>
            </a:r>
            <a:endParaRPr lang="pt-BR" dirty="0"/>
          </a:p>
          <a:p>
            <a:pPr lvl="1"/>
            <a:r>
              <a:rPr lang="pt-BR" dirty="0" err="1"/>
              <a:t>Second</a:t>
            </a:r>
            <a:r>
              <a:rPr lang="pt-BR" dirty="0"/>
              <a:t> </a:t>
            </a:r>
            <a:r>
              <a:rPr lang="pt-BR" dirty="0" err="1"/>
              <a:t>level</a:t>
            </a:r>
            <a:endParaRPr lang="pt-BR" dirty="0"/>
          </a:p>
          <a:p>
            <a:pPr lvl="2"/>
            <a:r>
              <a:rPr lang="pt-BR" dirty="0" err="1"/>
              <a:t>Third</a:t>
            </a:r>
            <a:r>
              <a:rPr lang="pt-BR" dirty="0"/>
              <a:t> </a:t>
            </a:r>
            <a:r>
              <a:rPr lang="pt-BR" dirty="0" err="1"/>
              <a:t>level</a:t>
            </a:r>
            <a:endParaRPr lang="pt-BR" dirty="0"/>
          </a:p>
        </p:txBody>
      </p:sp>
      <p:sp>
        <p:nvSpPr>
          <p:cNvPr id="3" name="AcnSubjectTitle_ID_3" hidden="1"/>
          <p:cNvSpPr txBox="1"/>
          <p:nvPr userDrawn="1">
            <p:custDataLst>
              <p:tags r:id="rId10"/>
            </p:custDataLst>
          </p:nvPr>
        </p:nvSpPr>
        <p:spPr bwMode="gray">
          <a:xfrm>
            <a:off x="349034" y="1420814"/>
            <a:ext cx="5238750" cy="276999"/>
          </a:xfrm>
          <a:prstGeom prst="rect">
            <a:avLst/>
          </a:prstGeom>
          <a:noFill/>
        </p:spPr>
        <p:txBody>
          <a:bodyPr vert="horz" wrap="square" rtlCol="0">
            <a:spAutoFit/>
          </a:bodyPr>
          <a:lstStyle/>
          <a:p>
            <a:pPr fontAlgn="base">
              <a:spcBef>
                <a:spcPct val="0"/>
              </a:spcBef>
              <a:spcAft>
                <a:spcPct val="0"/>
              </a:spcAft>
            </a:pPr>
            <a:r>
              <a:rPr lang="pt-BR" sz="1200" b="1" dirty="0">
                <a:solidFill>
                  <a:prstClr val="black"/>
                </a:solidFill>
              </a:rPr>
              <a:t>Subject Title</a:t>
            </a:r>
          </a:p>
        </p:txBody>
      </p:sp>
      <p:sp>
        <p:nvSpPr>
          <p:cNvPr id="4" name="AcnFootnote_ID_4" hidden="1"/>
          <p:cNvSpPr txBox="1"/>
          <p:nvPr userDrawn="1">
            <p:custDataLst>
              <p:tags r:id="rId11"/>
            </p:custDataLst>
          </p:nvPr>
        </p:nvSpPr>
        <p:spPr bwMode="gray">
          <a:xfrm>
            <a:off x="349034" y="6339389"/>
            <a:ext cx="7983273" cy="346249"/>
          </a:xfrm>
          <a:prstGeom prst="rect">
            <a:avLst/>
          </a:prstGeom>
          <a:noFill/>
        </p:spPr>
        <p:txBody>
          <a:bodyPr vert="horz" wrap="square" rtlCol="0" anchor="b">
            <a:spAutoFit/>
          </a:bodyPr>
          <a:lstStyle/>
          <a:p>
            <a:pPr marL="403622" indent="-403622" fontAlgn="base">
              <a:spcBef>
                <a:spcPct val="0"/>
              </a:spcBef>
              <a:spcAft>
                <a:spcPct val="0"/>
              </a:spcAft>
            </a:pPr>
            <a:r>
              <a:rPr lang="pt-BR" sz="750" dirty="0">
                <a:solidFill>
                  <a:prstClr val="black"/>
                </a:solidFill>
              </a:rPr>
              <a:t>*	Footnote</a:t>
            </a:r>
          </a:p>
          <a:p>
            <a:pPr marL="403622" indent="-403622" fontAlgn="base">
              <a:spcBef>
                <a:spcPct val="20000"/>
              </a:spcBef>
              <a:spcAft>
                <a:spcPct val="0"/>
              </a:spcAft>
            </a:pPr>
            <a:r>
              <a:rPr lang="pt-BR" sz="750" dirty="0">
                <a:solidFill>
                  <a:prstClr val="black"/>
                </a:solidFill>
              </a:rPr>
              <a:t>Source:	Source</a:t>
            </a:r>
          </a:p>
        </p:txBody>
      </p:sp>
    </p:spTree>
    <p:extLst>
      <p:ext uri="{BB962C8B-B14F-4D97-AF65-F5344CB8AC3E}">
        <p14:creationId xmlns:p14="http://schemas.microsoft.com/office/powerpoint/2010/main" val="207318701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Lst>
  <p:hf hdr="0" dt="0"/>
  <p:txStyles>
    <p:titleStyle>
      <a:lvl1pPr algn="l" rtl="0" eaLnBrk="1" fontAlgn="base" hangingPunct="1">
        <a:spcBef>
          <a:spcPct val="0"/>
        </a:spcBef>
        <a:spcAft>
          <a:spcPct val="0"/>
        </a:spcAft>
        <a:defRPr sz="1126" b="0">
          <a:solidFill>
            <a:srgbClr val="EC282C"/>
          </a:solidFill>
          <a:latin typeface="+mj-lt"/>
          <a:ea typeface="+mj-ea"/>
          <a:cs typeface="+mj-cs"/>
        </a:defRPr>
      </a:lvl1pPr>
      <a:lvl2pPr algn="l" rtl="0" eaLnBrk="1" fontAlgn="base" hangingPunct="1">
        <a:spcBef>
          <a:spcPct val="0"/>
        </a:spcBef>
        <a:spcAft>
          <a:spcPct val="0"/>
        </a:spcAft>
        <a:defRPr sz="1070" b="1">
          <a:solidFill>
            <a:schemeClr val="bg1"/>
          </a:solidFill>
          <a:latin typeface="Arial" charset="0"/>
        </a:defRPr>
      </a:lvl2pPr>
      <a:lvl3pPr algn="l" rtl="0" eaLnBrk="1" fontAlgn="base" hangingPunct="1">
        <a:spcBef>
          <a:spcPct val="0"/>
        </a:spcBef>
        <a:spcAft>
          <a:spcPct val="0"/>
        </a:spcAft>
        <a:defRPr sz="1070" b="1">
          <a:solidFill>
            <a:schemeClr val="bg1"/>
          </a:solidFill>
          <a:latin typeface="Arial" charset="0"/>
        </a:defRPr>
      </a:lvl3pPr>
      <a:lvl4pPr algn="l" rtl="0" eaLnBrk="1" fontAlgn="base" hangingPunct="1">
        <a:spcBef>
          <a:spcPct val="0"/>
        </a:spcBef>
        <a:spcAft>
          <a:spcPct val="0"/>
        </a:spcAft>
        <a:defRPr sz="1070" b="1">
          <a:solidFill>
            <a:schemeClr val="bg1"/>
          </a:solidFill>
          <a:latin typeface="Arial" charset="0"/>
        </a:defRPr>
      </a:lvl4pPr>
      <a:lvl5pPr algn="l" rtl="0" eaLnBrk="1" fontAlgn="base" hangingPunct="1">
        <a:spcBef>
          <a:spcPct val="0"/>
        </a:spcBef>
        <a:spcAft>
          <a:spcPct val="0"/>
        </a:spcAft>
        <a:defRPr sz="1070" b="1">
          <a:solidFill>
            <a:schemeClr val="bg1"/>
          </a:solidFill>
          <a:latin typeface="Arial" charset="0"/>
        </a:defRPr>
      </a:lvl5pPr>
      <a:lvl6pPr marL="228030" algn="l" rtl="0" eaLnBrk="1" fontAlgn="base" hangingPunct="1">
        <a:spcBef>
          <a:spcPct val="0"/>
        </a:spcBef>
        <a:spcAft>
          <a:spcPct val="0"/>
        </a:spcAft>
        <a:defRPr sz="1070" b="1">
          <a:solidFill>
            <a:schemeClr val="bg1"/>
          </a:solidFill>
          <a:latin typeface="Arial" charset="0"/>
        </a:defRPr>
      </a:lvl6pPr>
      <a:lvl7pPr marL="456060" algn="l" rtl="0" eaLnBrk="1" fontAlgn="base" hangingPunct="1">
        <a:spcBef>
          <a:spcPct val="0"/>
        </a:spcBef>
        <a:spcAft>
          <a:spcPct val="0"/>
        </a:spcAft>
        <a:defRPr sz="1070" b="1">
          <a:solidFill>
            <a:schemeClr val="bg1"/>
          </a:solidFill>
          <a:latin typeface="Arial" charset="0"/>
        </a:defRPr>
      </a:lvl7pPr>
      <a:lvl8pPr marL="684090" algn="l" rtl="0" eaLnBrk="1" fontAlgn="base" hangingPunct="1">
        <a:spcBef>
          <a:spcPct val="0"/>
        </a:spcBef>
        <a:spcAft>
          <a:spcPct val="0"/>
        </a:spcAft>
        <a:defRPr sz="1070" b="1">
          <a:solidFill>
            <a:schemeClr val="bg1"/>
          </a:solidFill>
          <a:latin typeface="Arial" charset="0"/>
        </a:defRPr>
      </a:lvl8pPr>
      <a:lvl9pPr marL="912119" algn="l" rtl="0" eaLnBrk="1" fontAlgn="base" hangingPunct="1">
        <a:spcBef>
          <a:spcPct val="0"/>
        </a:spcBef>
        <a:spcAft>
          <a:spcPct val="0"/>
        </a:spcAft>
        <a:defRPr sz="1070" b="1">
          <a:solidFill>
            <a:schemeClr val="bg1"/>
          </a:solidFill>
          <a:latin typeface="Arial" charset="0"/>
        </a:defRPr>
      </a:lvl9pPr>
    </p:titleStyle>
    <p:bodyStyle>
      <a:lvl1pPr marL="100066" indent="-100066" algn="l" rtl="0" eaLnBrk="1" fontAlgn="base" hangingPunct="1">
        <a:spcBef>
          <a:spcPts val="675"/>
        </a:spcBef>
        <a:spcAft>
          <a:spcPct val="0"/>
        </a:spcAft>
        <a:buChar char="•"/>
        <a:defRPr sz="1070">
          <a:solidFill>
            <a:srgbClr val="000000"/>
          </a:solidFill>
          <a:latin typeface="+mn-lt"/>
          <a:ea typeface="+mn-ea"/>
          <a:cs typeface="+mn-cs"/>
        </a:defRPr>
      </a:lvl1pPr>
      <a:lvl2pPr marL="201919" indent="-99173" algn="l" rtl="0" eaLnBrk="1" fontAlgn="base" hangingPunct="1">
        <a:spcBef>
          <a:spcPts val="338"/>
        </a:spcBef>
        <a:spcAft>
          <a:spcPct val="0"/>
        </a:spcAft>
        <a:buChar char="–"/>
        <a:defRPr sz="1070">
          <a:solidFill>
            <a:srgbClr val="000000"/>
          </a:solidFill>
          <a:latin typeface="+mn-lt"/>
        </a:defRPr>
      </a:lvl2pPr>
      <a:lvl3pPr marL="304665" indent="-102746" algn="l" rtl="0" eaLnBrk="1" fontAlgn="base" hangingPunct="1">
        <a:spcBef>
          <a:spcPts val="338"/>
        </a:spcBef>
        <a:spcAft>
          <a:spcPct val="0"/>
        </a:spcAft>
        <a:buFont typeface="Arial" charset="0"/>
        <a:buChar char="-"/>
        <a:defRPr sz="1070">
          <a:solidFill>
            <a:srgbClr val="000000"/>
          </a:solidFill>
          <a:latin typeface="+mn-lt"/>
        </a:defRPr>
      </a:lvl3pPr>
      <a:lvl4pPr marL="798104" indent="-114015" algn="l" rtl="0" eaLnBrk="1" fontAlgn="base" hangingPunct="1">
        <a:spcBef>
          <a:spcPct val="20000"/>
        </a:spcBef>
        <a:spcAft>
          <a:spcPct val="0"/>
        </a:spcAft>
        <a:buChar char="–"/>
        <a:defRPr sz="1013">
          <a:solidFill>
            <a:schemeClr val="tx1"/>
          </a:solidFill>
          <a:latin typeface="+mn-lt"/>
        </a:defRPr>
      </a:lvl4pPr>
      <a:lvl5pPr marL="1026134" indent="-114015" algn="l" rtl="0" eaLnBrk="1" fontAlgn="base" hangingPunct="1">
        <a:spcBef>
          <a:spcPct val="20000"/>
        </a:spcBef>
        <a:spcAft>
          <a:spcPct val="0"/>
        </a:spcAft>
        <a:buChar char="»"/>
        <a:defRPr sz="1013">
          <a:solidFill>
            <a:schemeClr val="tx1"/>
          </a:solidFill>
          <a:latin typeface="+mn-lt"/>
        </a:defRPr>
      </a:lvl5pPr>
      <a:lvl6pPr marL="1254164" indent="-114015" algn="l" rtl="0" eaLnBrk="1" fontAlgn="base" hangingPunct="1">
        <a:spcBef>
          <a:spcPct val="20000"/>
        </a:spcBef>
        <a:spcAft>
          <a:spcPct val="0"/>
        </a:spcAft>
        <a:buChar char="»"/>
        <a:defRPr sz="1013">
          <a:solidFill>
            <a:schemeClr val="tx1"/>
          </a:solidFill>
          <a:latin typeface="+mn-lt"/>
        </a:defRPr>
      </a:lvl6pPr>
      <a:lvl7pPr marL="1482194" indent="-114015" algn="l" rtl="0" eaLnBrk="1" fontAlgn="base" hangingPunct="1">
        <a:spcBef>
          <a:spcPct val="20000"/>
        </a:spcBef>
        <a:spcAft>
          <a:spcPct val="0"/>
        </a:spcAft>
        <a:buChar char="»"/>
        <a:defRPr sz="1013">
          <a:solidFill>
            <a:schemeClr val="tx1"/>
          </a:solidFill>
          <a:latin typeface="+mn-lt"/>
        </a:defRPr>
      </a:lvl7pPr>
      <a:lvl8pPr marL="1710224" indent="-114015" algn="l" rtl="0" eaLnBrk="1" fontAlgn="base" hangingPunct="1">
        <a:spcBef>
          <a:spcPct val="20000"/>
        </a:spcBef>
        <a:spcAft>
          <a:spcPct val="0"/>
        </a:spcAft>
        <a:buChar char="»"/>
        <a:defRPr sz="1013">
          <a:solidFill>
            <a:schemeClr val="tx1"/>
          </a:solidFill>
          <a:latin typeface="+mn-lt"/>
        </a:defRPr>
      </a:lvl8pPr>
      <a:lvl9pPr marL="1938254" indent="-114015" algn="l" rtl="0" eaLnBrk="1" fontAlgn="base" hangingPunct="1">
        <a:spcBef>
          <a:spcPct val="20000"/>
        </a:spcBef>
        <a:spcAft>
          <a:spcPct val="0"/>
        </a:spcAft>
        <a:buChar char="»"/>
        <a:defRPr sz="1013">
          <a:solidFill>
            <a:schemeClr val="tx1"/>
          </a:solidFill>
          <a:latin typeface="+mn-lt"/>
        </a:defRPr>
      </a:lvl9pPr>
    </p:bodyStyle>
    <p:otherStyle>
      <a:defPPr>
        <a:defRPr lang="en-US"/>
      </a:defPPr>
      <a:lvl1pPr marL="0" algn="l" defTabSz="456060" rtl="0" eaLnBrk="1" latinLnBrk="0" hangingPunct="1">
        <a:defRPr sz="901" kern="1200">
          <a:solidFill>
            <a:schemeClr val="tx1"/>
          </a:solidFill>
          <a:latin typeface="+mn-lt"/>
          <a:ea typeface="+mn-ea"/>
          <a:cs typeface="+mn-cs"/>
        </a:defRPr>
      </a:lvl1pPr>
      <a:lvl2pPr marL="228030" algn="l" defTabSz="456060" rtl="0" eaLnBrk="1" latinLnBrk="0" hangingPunct="1">
        <a:defRPr sz="901" kern="1200">
          <a:solidFill>
            <a:schemeClr val="tx1"/>
          </a:solidFill>
          <a:latin typeface="+mn-lt"/>
          <a:ea typeface="+mn-ea"/>
          <a:cs typeface="+mn-cs"/>
        </a:defRPr>
      </a:lvl2pPr>
      <a:lvl3pPr marL="456060" algn="l" defTabSz="456060" rtl="0" eaLnBrk="1" latinLnBrk="0" hangingPunct="1">
        <a:defRPr sz="901" kern="1200">
          <a:solidFill>
            <a:schemeClr val="tx1"/>
          </a:solidFill>
          <a:latin typeface="+mn-lt"/>
          <a:ea typeface="+mn-ea"/>
          <a:cs typeface="+mn-cs"/>
        </a:defRPr>
      </a:lvl3pPr>
      <a:lvl4pPr marL="684090" algn="l" defTabSz="456060" rtl="0" eaLnBrk="1" latinLnBrk="0" hangingPunct="1">
        <a:defRPr sz="901" kern="1200">
          <a:solidFill>
            <a:schemeClr val="tx1"/>
          </a:solidFill>
          <a:latin typeface="+mn-lt"/>
          <a:ea typeface="+mn-ea"/>
          <a:cs typeface="+mn-cs"/>
        </a:defRPr>
      </a:lvl4pPr>
      <a:lvl5pPr marL="912119" algn="l" defTabSz="456060" rtl="0" eaLnBrk="1" latinLnBrk="0" hangingPunct="1">
        <a:defRPr sz="901" kern="1200">
          <a:solidFill>
            <a:schemeClr val="tx1"/>
          </a:solidFill>
          <a:latin typeface="+mn-lt"/>
          <a:ea typeface="+mn-ea"/>
          <a:cs typeface="+mn-cs"/>
        </a:defRPr>
      </a:lvl5pPr>
      <a:lvl6pPr marL="1140149" algn="l" defTabSz="456060" rtl="0" eaLnBrk="1" latinLnBrk="0" hangingPunct="1">
        <a:defRPr sz="901" kern="1200">
          <a:solidFill>
            <a:schemeClr val="tx1"/>
          </a:solidFill>
          <a:latin typeface="+mn-lt"/>
          <a:ea typeface="+mn-ea"/>
          <a:cs typeface="+mn-cs"/>
        </a:defRPr>
      </a:lvl6pPr>
      <a:lvl7pPr marL="1368179" algn="l" defTabSz="456060" rtl="0" eaLnBrk="1" latinLnBrk="0" hangingPunct="1">
        <a:defRPr sz="901" kern="1200">
          <a:solidFill>
            <a:schemeClr val="tx1"/>
          </a:solidFill>
          <a:latin typeface="+mn-lt"/>
          <a:ea typeface="+mn-ea"/>
          <a:cs typeface="+mn-cs"/>
        </a:defRPr>
      </a:lvl7pPr>
      <a:lvl8pPr marL="1596209" algn="l" defTabSz="456060" rtl="0" eaLnBrk="1" latinLnBrk="0" hangingPunct="1">
        <a:defRPr sz="901" kern="1200">
          <a:solidFill>
            <a:schemeClr val="tx1"/>
          </a:solidFill>
          <a:latin typeface="+mn-lt"/>
          <a:ea typeface="+mn-ea"/>
          <a:cs typeface="+mn-cs"/>
        </a:defRPr>
      </a:lvl8pPr>
      <a:lvl9pPr marL="1824239" algn="l" defTabSz="456060" rtl="0" eaLnBrk="1" latinLnBrk="0" hangingPunct="1">
        <a:defRPr sz="901"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193" y="1591"/>
          <a:ext cx="1191" cy="1587"/>
        </p:xfrm>
        <a:graphic>
          <a:graphicData uri="http://schemas.openxmlformats.org/presentationml/2006/ole">
            <mc:AlternateContent xmlns:mc="http://schemas.openxmlformats.org/markup-compatibility/2006">
              <mc:Choice xmlns:v="urn:schemas-microsoft-com:vml" Requires="v">
                <p:oleObj spid="_x0000_s33833" name="think-cell Slide" r:id="rId12" imgW="581" imgH="586" progId="TCLayout.ActiveDocument.1">
                  <p:embed/>
                </p:oleObj>
              </mc:Choice>
              <mc:Fallback>
                <p:oleObj name="think-cell Slide" r:id="rId12" imgW="581" imgH="586" progId="TCLayout.ActiveDocument.1">
                  <p:embed/>
                  <p:pic>
                    <p:nvPicPr>
                      <p:cNvPr id="0" name=""/>
                      <p:cNvPicPr/>
                      <p:nvPr/>
                    </p:nvPicPr>
                    <p:blipFill>
                      <a:blip r:embed="rId13"/>
                      <a:stretch>
                        <a:fillRect/>
                      </a:stretch>
                    </p:blipFill>
                    <p:spPr>
                      <a:xfrm>
                        <a:off x="1193" y="1591"/>
                        <a:ext cx="1191" cy="1587"/>
                      </a:xfrm>
                      <a:prstGeom prst="rect">
                        <a:avLst/>
                      </a:prstGeom>
                    </p:spPr>
                  </p:pic>
                </p:oleObj>
              </mc:Fallback>
            </mc:AlternateContent>
          </a:graphicData>
        </a:graphic>
      </p:graphicFrame>
      <p:sp>
        <p:nvSpPr>
          <p:cNvPr id="8" name="TextBox 7"/>
          <p:cNvSpPr txBox="1"/>
          <p:nvPr/>
        </p:nvSpPr>
        <p:spPr>
          <a:xfrm>
            <a:off x="5057296" y="6678067"/>
            <a:ext cx="3508376" cy="77842"/>
          </a:xfrm>
          <a:prstGeom prst="rect">
            <a:avLst/>
          </a:prstGeom>
          <a:noFill/>
        </p:spPr>
        <p:txBody>
          <a:bodyPr wrap="square" lIns="0" tIns="0" rIns="0" bIns="0" rtlCol="0" anchor="b" anchorCtr="0">
            <a:spAutoFit/>
          </a:bodyPr>
          <a:lstStyle/>
          <a:p>
            <a:pPr algn="r" defTabSz="456060" fontAlgn="base">
              <a:spcBef>
                <a:spcPct val="0"/>
              </a:spcBef>
              <a:spcAft>
                <a:spcPct val="0"/>
              </a:spcAft>
              <a:defRPr/>
            </a:pPr>
            <a:r>
              <a:rPr lang="pt-BR" sz="506" dirty="0">
                <a:solidFill>
                  <a:prstClr val="white">
                    <a:lumMod val="50000"/>
                  </a:prstClr>
                </a:solidFill>
              </a:rPr>
              <a:t>Copyright © 2017 Accenture. Todos os direitos reservados. Proprietário e confidencial.</a:t>
            </a:r>
          </a:p>
        </p:txBody>
      </p:sp>
      <p:sp>
        <p:nvSpPr>
          <p:cNvPr id="7" name="TextBox 6"/>
          <p:cNvSpPr txBox="1"/>
          <p:nvPr/>
        </p:nvSpPr>
        <p:spPr>
          <a:xfrm>
            <a:off x="8332307" y="6586632"/>
            <a:ext cx="466728" cy="169277"/>
          </a:xfrm>
          <a:prstGeom prst="rect">
            <a:avLst/>
          </a:prstGeom>
          <a:noFill/>
        </p:spPr>
        <p:txBody>
          <a:bodyPr wrap="square" lIns="0" tIns="0" rIns="0" bIns="0" rtlCol="0" anchor="b" anchorCtr="0">
            <a:spAutoFit/>
          </a:bodyPr>
          <a:lstStyle/>
          <a:p>
            <a:pPr algn="r" fontAlgn="base">
              <a:spcBef>
                <a:spcPct val="0"/>
              </a:spcBef>
              <a:spcAft>
                <a:spcPct val="0"/>
              </a:spcAft>
            </a:pPr>
            <a:fld id="{9506F66D-3967-4DB8-9A18-525DE62AD90B}" type="slidenum">
              <a:rPr lang="pt-BR" sz="1100" smtClean="0">
                <a:solidFill>
                  <a:prstClr val="white">
                    <a:lumMod val="50000"/>
                  </a:prstClr>
                </a:solidFill>
              </a:rPr>
              <a:pPr algn="r" fontAlgn="base">
                <a:spcBef>
                  <a:spcPct val="0"/>
                </a:spcBef>
                <a:spcAft>
                  <a:spcPct val="0"/>
                </a:spcAft>
              </a:pPr>
              <a:t>‹nº›</a:t>
            </a:fld>
            <a:endParaRPr lang="pt-BR" sz="1100" dirty="0">
              <a:solidFill>
                <a:prstClr val="white">
                  <a:lumMod val="50000"/>
                </a:prstClr>
              </a:solidFill>
            </a:endParaRPr>
          </a:p>
        </p:txBody>
      </p:sp>
      <p:sp>
        <p:nvSpPr>
          <p:cNvPr id="1054" name="Rectangle 30"/>
          <p:cNvSpPr>
            <a:spLocks noGrp="1" noChangeArrowheads="1"/>
          </p:cNvSpPr>
          <p:nvPr>
            <p:ph type="title"/>
          </p:nvPr>
        </p:nvSpPr>
        <p:spPr bwMode="gray">
          <a:xfrm>
            <a:off x="349034" y="0"/>
            <a:ext cx="7983273" cy="1058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1057" name="Rectangle 33"/>
          <p:cNvSpPr>
            <a:spLocks noGrp="1" noChangeArrowheads="1"/>
          </p:cNvSpPr>
          <p:nvPr>
            <p:ph type="body" idx="1"/>
          </p:nvPr>
        </p:nvSpPr>
        <p:spPr bwMode="auto">
          <a:xfrm>
            <a:off x="349034" y="1192534"/>
            <a:ext cx="8449923" cy="570926"/>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p>
            <a:pPr lvl="0"/>
            <a:r>
              <a:rPr lang="pt-BR" dirty="0"/>
              <a:t>Click </a:t>
            </a:r>
            <a:r>
              <a:rPr lang="pt-BR" dirty="0" err="1"/>
              <a:t>to</a:t>
            </a:r>
            <a:r>
              <a:rPr lang="pt-BR" dirty="0"/>
              <a:t> </a:t>
            </a:r>
            <a:r>
              <a:rPr lang="pt-BR" dirty="0" err="1"/>
              <a:t>edit</a:t>
            </a:r>
            <a:r>
              <a:rPr lang="pt-BR" dirty="0"/>
              <a:t> Master </a:t>
            </a:r>
            <a:r>
              <a:rPr lang="pt-BR" dirty="0" err="1"/>
              <a:t>text</a:t>
            </a:r>
            <a:r>
              <a:rPr lang="pt-BR" dirty="0"/>
              <a:t> </a:t>
            </a:r>
            <a:r>
              <a:rPr lang="pt-BR" dirty="0" err="1"/>
              <a:t>styles</a:t>
            </a:r>
            <a:endParaRPr lang="pt-BR" dirty="0"/>
          </a:p>
          <a:p>
            <a:pPr lvl="1"/>
            <a:r>
              <a:rPr lang="pt-BR" dirty="0" err="1"/>
              <a:t>Second</a:t>
            </a:r>
            <a:r>
              <a:rPr lang="pt-BR" dirty="0"/>
              <a:t> </a:t>
            </a:r>
            <a:r>
              <a:rPr lang="pt-BR" dirty="0" err="1"/>
              <a:t>level</a:t>
            </a:r>
            <a:endParaRPr lang="pt-BR" dirty="0"/>
          </a:p>
          <a:p>
            <a:pPr lvl="2"/>
            <a:r>
              <a:rPr lang="pt-BR" dirty="0" err="1"/>
              <a:t>Third</a:t>
            </a:r>
            <a:r>
              <a:rPr lang="pt-BR" dirty="0"/>
              <a:t> </a:t>
            </a:r>
            <a:r>
              <a:rPr lang="pt-BR" dirty="0" err="1"/>
              <a:t>level</a:t>
            </a:r>
            <a:endParaRPr lang="pt-BR" dirty="0"/>
          </a:p>
        </p:txBody>
      </p:sp>
      <p:sp>
        <p:nvSpPr>
          <p:cNvPr id="3" name="AcnSubjectTitle_ID_3" hidden="1"/>
          <p:cNvSpPr txBox="1"/>
          <p:nvPr userDrawn="1">
            <p:custDataLst>
              <p:tags r:id="rId10"/>
            </p:custDataLst>
          </p:nvPr>
        </p:nvSpPr>
        <p:spPr bwMode="gray">
          <a:xfrm>
            <a:off x="349034" y="1420814"/>
            <a:ext cx="5238750" cy="276999"/>
          </a:xfrm>
          <a:prstGeom prst="rect">
            <a:avLst/>
          </a:prstGeom>
          <a:noFill/>
        </p:spPr>
        <p:txBody>
          <a:bodyPr vert="horz" wrap="square" rtlCol="0">
            <a:spAutoFit/>
          </a:bodyPr>
          <a:lstStyle/>
          <a:p>
            <a:pPr fontAlgn="base">
              <a:spcBef>
                <a:spcPct val="0"/>
              </a:spcBef>
              <a:spcAft>
                <a:spcPct val="0"/>
              </a:spcAft>
            </a:pPr>
            <a:r>
              <a:rPr lang="pt-BR" sz="1200" b="1" dirty="0">
                <a:solidFill>
                  <a:prstClr val="black"/>
                </a:solidFill>
              </a:rPr>
              <a:t>Subject Title</a:t>
            </a:r>
          </a:p>
        </p:txBody>
      </p:sp>
      <p:sp>
        <p:nvSpPr>
          <p:cNvPr id="4" name="AcnFootnote_ID_4" hidden="1"/>
          <p:cNvSpPr txBox="1"/>
          <p:nvPr userDrawn="1">
            <p:custDataLst>
              <p:tags r:id="rId11"/>
            </p:custDataLst>
          </p:nvPr>
        </p:nvSpPr>
        <p:spPr bwMode="gray">
          <a:xfrm>
            <a:off x="349034" y="6339389"/>
            <a:ext cx="7983273" cy="346249"/>
          </a:xfrm>
          <a:prstGeom prst="rect">
            <a:avLst/>
          </a:prstGeom>
          <a:noFill/>
        </p:spPr>
        <p:txBody>
          <a:bodyPr vert="horz" wrap="square" rtlCol="0" anchor="b">
            <a:spAutoFit/>
          </a:bodyPr>
          <a:lstStyle/>
          <a:p>
            <a:pPr marL="403622" indent="-403622" fontAlgn="base">
              <a:spcBef>
                <a:spcPct val="0"/>
              </a:spcBef>
              <a:spcAft>
                <a:spcPct val="0"/>
              </a:spcAft>
            </a:pPr>
            <a:r>
              <a:rPr lang="pt-BR" sz="750" dirty="0">
                <a:solidFill>
                  <a:prstClr val="black"/>
                </a:solidFill>
              </a:rPr>
              <a:t>*	Footnote</a:t>
            </a:r>
          </a:p>
          <a:p>
            <a:pPr marL="403622" indent="-403622" fontAlgn="base">
              <a:spcBef>
                <a:spcPct val="20000"/>
              </a:spcBef>
              <a:spcAft>
                <a:spcPct val="0"/>
              </a:spcAft>
            </a:pPr>
            <a:r>
              <a:rPr lang="pt-BR" sz="750" dirty="0">
                <a:solidFill>
                  <a:prstClr val="black"/>
                </a:solidFill>
              </a:rPr>
              <a:t>Source:	Source</a:t>
            </a:r>
          </a:p>
        </p:txBody>
      </p:sp>
    </p:spTree>
    <p:extLst>
      <p:ext uri="{BB962C8B-B14F-4D97-AF65-F5344CB8AC3E}">
        <p14:creationId xmlns:p14="http://schemas.microsoft.com/office/powerpoint/2010/main" val="2814471397"/>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Lst>
  <p:hf hdr="0" dt="0"/>
  <p:txStyles>
    <p:titleStyle>
      <a:lvl1pPr algn="l" rtl="0" eaLnBrk="1" fontAlgn="base" hangingPunct="1">
        <a:spcBef>
          <a:spcPct val="0"/>
        </a:spcBef>
        <a:spcAft>
          <a:spcPct val="0"/>
        </a:spcAft>
        <a:defRPr sz="1126" b="0">
          <a:solidFill>
            <a:srgbClr val="EC282C"/>
          </a:solidFill>
          <a:latin typeface="+mj-lt"/>
          <a:ea typeface="+mj-ea"/>
          <a:cs typeface="+mj-cs"/>
        </a:defRPr>
      </a:lvl1pPr>
      <a:lvl2pPr algn="l" rtl="0" eaLnBrk="1" fontAlgn="base" hangingPunct="1">
        <a:spcBef>
          <a:spcPct val="0"/>
        </a:spcBef>
        <a:spcAft>
          <a:spcPct val="0"/>
        </a:spcAft>
        <a:defRPr sz="1070" b="1">
          <a:solidFill>
            <a:schemeClr val="bg1"/>
          </a:solidFill>
          <a:latin typeface="Arial" charset="0"/>
        </a:defRPr>
      </a:lvl2pPr>
      <a:lvl3pPr algn="l" rtl="0" eaLnBrk="1" fontAlgn="base" hangingPunct="1">
        <a:spcBef>
          <a:spcPct val="0"/>
        </a:spcBef>
        <a:spcAft>
          <a:spcPct val="0"/>
        </a:spcAft>
        <a:defRPr sz="1070" b="1">
          <a:solidFill>
            <a:schemeClr val="bg1"/>
          </a:solidFill>
          <a:latin typeface="Arial" charset="0"/>
        </a:defRPr>
      </a:lvl3pPr>
      <a:lvl4pPr algn="l" rtl="0" eaLnBrk="1" fontAlgn="base" hangingPunct="1">
        <a:spcBef>
          <a:spcPct val="0"/>
        </a:spcBef>
        <a:spcAft>
          <a:spcPct val="0"/>
        </a:spcAft>
        <a:defRPr sz="1070" b="1">
          <a:solidFill>
            <a:schemeClr val="bg1"/>
          </a:solidFill>
          <a:latin typeface="Arial" charset="0"/>
        </a:defRPr>
      </a:lvl4pPr>
      <a:lvl5pPr algn="l" rtl="0" eaLnBrk="1" fontAlgn="base" hangingPunct="1">
        <a:spcBef>
          <a:spcPct val="0"/>
        </a:spcBef>
        <a:spcAft>
          <a:spcPct val="0"/>
        </a:spcAft>
        <a:defRPr sz="1070" b="1">
          <a:solidFill>
            <a:schemeClr val="bg1"/>
          </a:solidFill>
          <a:latin typeface="Arial" charset="0"/>
        </a:defRPr>
      </a:lvl5pPr>
      <a:lvl6pPr marL="228030" algn="l" rtl="0" eaLnBrk="1" fontAlgn="base" hangingPunct="1">
        <a:spcBef>
          <a:spcPct val="0"/>
        </a:spcBef>
        <a:spcAft>
          <a:spcPct val="0"/>
        </a:spcAft>
        <a:defRPr sz="1070" b="1">
          <a:solidFill>
            <a:schemeClr val="bg1"/>
          </a:solidFill>
          <a:latin typeface="Arial" charset="0"/>
        </a:defRPr>
      </a:lvl6pPr>
      <a:lvl7pPr marL="456060" algn="l" rtl="0" eaLnBrk="1" fontAlgn="base" hangingPunct="1">
        <a:spcBef>
          <a:spcPct val="0"/>
        </a:spcBef>
        <a:spcAft>
          <a:spcPct val="0"/>
        </a:spcAft>
        <a:defRPr sz="1070" b="1">
          <a:solidFill>
            <a:schemeClr val="bg1"/>
          </a:solidFill>
          <a:latin typeface="Arial" charset="0"/>
        </a:defRPr>
      </a:lvl7pPr>
      <a:lvl8pPr marL="684090" algn="l" rtl="0" eaLnBrk="1" fontAlgn="base" hangingPunct="1">
        <a:spcBef>
          <a:spcPct val="0"/>
        </a:spcBef>
        <a:spcAft>
          <a:spcPct val="0"/>
        </a:spcAft>
        <a:defRPr sz="1070" b="1">
          <a:solidFill>
            <a:schemeClr val="bg1"/>
          </a:solidFill>
          <a:latin typeface="Arial" charset="0"/>
        </a:defRPr>
      </a:lvl8pPr>
      <a:lvl9pPr marL="912119" algn="l" rtl="0" eaLnBrk="1" fontAlgn="base" hangingPunct="1">
        <a:spcBef>
          <a:spcPct val="0"/>
        </a:spcBef>
        <a:spcAft>
          <a:spcPct val="0"/>
        </a:spcAft>
        <a:defRPr sz="1070" b="1">
          <a:solidFill>
            <a:schemeClr val="bg1"/>
          </a:solidFill>
          <a:latin typeface="Arial" charset="0"/>
        </a:defRPr>
      </a:lvl9pPr>
    </p:titleStyle>
    <p:bodyStyle>
      <a:lvl1pPr marL="100066" indent="-100066" algn="l" rtl="0" eaLnBrk="1" fontAlgn="base" hangingPunct="1">
        <a:spcBef>
          <a:spcPts val="675"/>
        </a:spcBef>
        <a:spcAft>
          <a:spcPct val="0"/>
        </a:spcAft>
        <a:buChar char="•"/>
        <a:defRPr sz="1070">
          <a:solidFill>
            <a:srgbClr val="000000"/>
          </a:solidFill>
          <a:latin typeface="+mn-lt"/>
          <a:ea typeface="+mn-ea"/>
          <a:cs typeface="+mn-cs"/>
        </a:defRPr>
      </a:lvl1pPr>
      <a:lvl2pPr marL="201919" indent="-99173" algn="l" rtl="0" eaLnBrk="1" fontAlgn="base" hangingPunct="1">
        <a:spcBef>
          <a:spcPts val="338"/>
        </a:spcBef>
        <a:spcAft>
          <a:spcPct val="0"/>
        </a:spcAft>
        <a:buChar char="–"/>
        <a:defRPr sz="1070">
          <a:solidFill>
            <a:srgbClr val="000000"/>
          </a:solidFill>
          <a:latin typeface="+mn-lt"/>
        </a:defRPr>
      </a:lvl2pPr>
      <a:lvl3pPr marL="304665" indent="-102746" algn="l" rtl="0" eaLnBrk="1" fontAlgn="base" hangingPunct="1">
        <a:spcBef>
          <a:spcPts val="338"/>
        </a:spcBef>
        <a:spcAft>
          <a:spcPct val="0"/>
        </a:spcAft>
        <a:buFont typeface="Arial" charset="0"/>
        <a:buChar char="-"/>
        <a:defRPr sz="1070">
          <a:solidFill>
            <a:srgbClr val="000000"/>
          </a:solidFill>
          <a:latin typeface="+mn-lt"/>
        </a:defRPr>
      </a:lvl3pPr>
      <a:lvl4pPr marL="798104" indent="-114015" algn="l" rtl="0" eaLnBrk="1" fontAlgn="base" hangingPunct="1">
        <a:spcBef>
          <a:spcPct val="20000"/>
        </a:spcBef>
        <a:spcAft>
          <a:spcPct val="0"/>
        </a:spcAft>
        <a:buChar char="–"/>
        <a:defRPr sz="1013">
          <a:solidFill>
            <a:schemeClr val="tx1"/>
          </a:solidFill>
          <a:latin typeface="+mn-lt"/>
        </a:defRPr>
      </a:lvl4pPr>
      <a:lvl5pPr marL="1026134" indent="-114015" algn="l" rtl="0" eaLnBrk="1" fontAlgn="base" hangingPunct="1">
        <a:spcBef>
          <a:spcPct val="20000"/>
        </a:spcBef>
        <a:spcAft>
          <a:spcPct val="0"/>
        </a:spcAft>
        <a:buChar char="»"/>
        <a:defRPr sz="1013">
          <a:solidFill>
            <a:schemeClr val="tx1"/>
          </a:solidFill>
          <a:latin typeface="+mn-lt"/>
        </a:defRPr>
      </a:lvl5pPr>
      <a:lvl6pPr marL="1254164" indent="-114015" algn="l" rtl="0" eaLnBrk="1" fontAlgn="base" hangingPunct="1">
        <a:spcBef>
          <a:spcPct val="20000"/>
        </a:spcBef>
        <a:spcAft>
          <a:spcPct val="0"/>
        </a:spcAft>
        <a:buChar char="»"/>
        <a:defRPr sz="1013">
          <a:solidFill>
            <a:schemeClr val="tx1"/>
          </a:solidFill>
          <a:latin typeface="+mn-lt"/>
        </a:defRPr>
      </a:lvl6pPr>
      <a:lvl7pPr marL="1482194" indent="-114015" algn="l" rtl="0" eaLnBrk="1" fontAlgn="base" hangingPunct="1">
        <a:spcBef>
          <a:spcPct val="20000"/>
        </a:spcBef>
        <a:spcAft>
          <a:spcPct val="0"/>
        </a:spcAft>
        <a:buChar char="»"/>
        <a:defRPr sz="1013">
          <a:solidFill>
            <a:schemeClr val="tx1"/>
          </a:solidFill>
          <a:latin typeface="+mn-lt"/>
        </a:defRPr>
      </a:lvl7pPr>
      <a:lvl8pPr marL="1710224" indent="-114015" algn="l" rtl="0" eaLnBrk="1" fontAlgn="base" hangingPunct="1">
        <a:spcBef>
          <a:spcPct val="20000"/>
        </a:spcBef>
        <a:spcAft>
          <a:spcPct val="0"/>
        </a:spcAft>
        <a:buChar char="»"/>
        <a:defRPr sz="1013">
          <a:solidFill>
            <a:schemeClr val="tx1"/>
          </a:solidFill>
          <a:latin typeface="+mn-lt"/>
        </a:defRPr>
      </a:lvl8pPr>
      <a:lvl9pPr marL="1938254" indent="-114015" algn="l" rtl="0" eaLnBrk="1" fontAlgn="base" hangingPunct="1">
        <a:spcBef>
          <a:spcPct val="20000"/>
        </a:spcBef>
        <a:spcAft>
          <a:spcPct val="0"/>
        </a:spcAft>
        <a:buChar char="»"/>
        <a:defRPr sz="1013">
          <a:solidFill>
            <a:schemeClr val="tx1"/>
          </a:solidFill>
          <a:latin typeface="+mn-lt"/>
        </a:defRPr>
      </a:lvl9pPr>
    </p:bodyStyle>
    <p:otherStyle>
      <a:defPPr>
        <a:defRPr lang="en-US"/>
      </a:defPPr>
      <a:lvl1pPr marL="0" algn="l" defTabSz="456060" rtl="0" eaLnBrk="1" latinLnBrk="0" hangingPunct="1">
        <a:defRPr sz="901" kern="1200">
          <a:solidFill>
            <a:schemeClr val="tx1"/>
          </a:solidFill>
          <a:latin typeface="+mn-lt"/>
          <a:ea typeface="+mn-ea"/>
          <a:cs typeface="+mn-cs"/>
        </a:defRPr>
      </a:lvl1pPr>
      <a:lvl2pPr marL="228030" algn="l" defTabSz="456060" rtl="0" eaLnBrk="1" latinLnBrk="0" hangingPunct="1">
        <a:defRPr sz="901" kern="1200">
          <a:solidFill>
            <a:schemeClr val="tx1"/>
          </a:solidFill>
          <a:latin typeface="+mn-lt"/>
          <a:ea typeface="+mn-ea"/>
          <a:cs typeface="+mn-cs"/>
        </a:defRPr>
      </a:lvl2pPr>
      <a:lvl3pPr marL="456060" algn="l" defTabSz="456060" rtl="0" eaLnBrk="1" latinLnBrk="0" hangingPunct="1">
        <a:defRPr sz="901" kern="1200">
          <a:solidFill>
            <a:schemeClr val="tx1"/>
          </a:solidFill>
          <a:latin typeface="+mn-lt"/>
          <a:ea typeface="+mn-ea"/>
          <a:cs typeface="+mn-cs"/>
        </a:defRPr>
      </a:lvl3pPr>
      <a:lvl4pPr marL="684090" algn="l" defTabSz="456060" rtl="0" eaLnBrk="1" latinLnBrk="0" hangingPunct="1">
        <a:defRPr sz="901" kern="1200">
          <a:solidFill>
            <a:schemeClr val="tx1"/>
          </a:solidFill>
          <a:latin typeface="+mn-lt"/>
          <a:ea typeface="+mn-ea"/>
          <a:cs typeface="+mn-cs"/>
        </a:defRPr>
      </a:lvl4pPr>
      <a:lvl5pPr marL="912119" algn="l" defTabSz="456060" rtl="0" eaLnBrk="1" latinLnBrk="0" hangingPunct="1">
        <a:defRPr sz="901" kern="1200">
          <a:solidFill>
            <a:schemeClr val="tx1"/>
          </a:solidFill>
          <a:latin typeface="+mn-lt"/>
          <a:ea typeface="+mn-ea"/>
          <a:cs typeface="+mn-cs"/>
        </a:defRPr>
      </a:lvl5pPr>
      <a:lvl6pPr marL="1140149" algn="l" defTabSz="456060" rtl="0" eaLnBrk="1" latinLnBrk="0" hangingPunct="1">
        <a:defRPr sz="901" kern="1200">
          <a:solidFill>
            <a:schemeClr val="tx1"/>
          </a:solidFill>
          <a:latin typeface="+mn-lt"/>
          <a:ea typeface="+mn-ea"/>
          <a:cs typeface="+mn-cs"/>
        </a:defRPr>
      </a:lvl6pPr>
      <a:lvl7pPr marL="1368179" algn="l" defTabSz="456060" rtl="0" eaLnBrk="1" latinLnBrk="0" hangingPunct="1">
        <a:defRPr sz="901" kern="1200">
          <a:solidFill>
            <a:schemeClr val="tx1"/>
          </a:solidFill>
          <a:latin typeface="+mn-lt"/>
          <a:ea typeface="+mn-ea"/>
          <a:cs typeface="+mn-cs"/>
        </a:defRPr>
      </a:lvl7pPr>
      <a:lvl8pPr marL="1596209" algn="l" defTabSz="456060" rtl="0" eaLnBrk="1" latinLnBrk="0" hangingPunct="1">
        <a:defRPr sz="901" kern="1200">
          <a:solidFill>
            <a:schemeClr val="tx1"/>
          </a:solidFill>
          <a:latin typeface="+mn-lt"/>
          <a:ea typeface="+mn-ea"/>
          <a:cs typeface="+mn-cs"/>
        </a:defRPr>
      </a:lvl8pPr>
      <a:lvl9pPr marL="1824239" algn="l" defTabSz="456060" rtl="0" eaLnBrk="1" latinLnBrk="0" hangingPunct="1">
        <a:defRPr sz="901"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193" y="1591"/>
          <a:ext cx="1191" cy="1587"/>
        </p:xfrm>
        <a:graphic>
          <a:graphicData uri="http://schemas.openxmlformats.org/presentationml/2006/ole">
            <mc:AlternateContent xmlns:mc="http://schemas.openxmlformats.org/markup-compatibility/2006">
              <mc:Choice xmlns:v="urn:schemas-microsoft-com:vml" Requires="v">
                <p:oleObj spid="_x0000_s39974" name="think-cell Slide" r:id="rId12" imgW="581" imgH="586" progId="TCLayout.ActiveDocument.1">
                  <p:embed/>
                </p:oleObj>
              </mc:Choice>
              <mc:Fallback>
                <p:oleObj name="think-cell Slide" r:id="rId12" imgW="581" imgH="586" progId="TCLayout.ActiveDocument.1">
                  <p:embed/>
                  <p:pic>
                    <p:nvPicPr>
                      <p:cNvPr id="0" name=""/>
                      <p:cNvPicPr/>
                      <p:nvPr/>
                    </p:nvPicPr>
                    <p:blipFill>
                      <a:blip r:embed="rId13"/>
                      <a:stretch>
                        <a:fillRect/>
                      </a:stretch>
                    </p:blipFill>
                    <p:spPr>
                      <a:xfrm>
                        <a:off x="1193" y="1591"/>
                        <a:ext cx="1191" cy="1587"/>
                      </a:xfrm>
                      <a:prstGeom prst="rect">
                        <a:avLst/>
                      </a:prstGeom>
                    </p:spPr>
                  </p:pic>
                </p:oleObj>
              </mc:Fallback>
            </mc:AlternateContent>
          </a:graphicData>
        </a:graphic>
      </p:graphicFrame>
      <p:sp>
        <p:nvSpPr>
          <p:cNvPr id="8" name="TextBox 7"/>
          <p:cNvSpPr txBox="1"/>
          <p:nvPr/>
        </p:nvSpPr>
        <p:spPr>
          <a:xfrm>
            <a:off x="5057296" y="6678067"/>
            <a:ext cx="3508376" cy="77842"/>
          </a:xfrm>
          <a:prstGeom prst="rect">
            <a:avLst/>
          </a:prstGeom>
          <a:noFill/>
        </p:spPr>
        <p:txBody>
          <a:bodyPr wrap="square" lIns="0" tIns="0" rIns="0" bIns="0" rtlCol="0" anchor="b" anchorCtr="0">
            <a:spAutoFit/>
          </a:bodyPr>
          <a:lstStyle/>
          <a:p>
            <a:pPr algn="r" defTabSz="456060" fontAlgn="base">
              <a:spcBef>
                <a:spcPct val="0"/>
              </a:spcBef>
              <a:spcAft>
                <a:spcPct val="0"/>
              </a:spcAft>
              <a:defRPr/>
            </a:pPr>
            <a:r>
              <a:rPr lang="pt-BR" sz="506" dirty="0">
                <a:solidFill>
                  <a:prstClr val="white">
                    <a:lumMod val="50000"/>
                  </a:prstClr>
                </a:solidFill>
              </a:rPr>
              <a:t>Copyright © 2017 Accenture. Todos os direitos reservados. Proprietário e confidencial.</a:t>
            </a:r>
          </a:p>
        </p:txBody>
      </p:sp>
      <p:sp>
        <p:nvSpPr>
          <p:cNvPr id="7" name="TextBox 6"/>
          <p:cNvSpPr txBox="1"/>
          <p:nvPr/>
        </p:nvSpPr>
        <p:spPr>
          <a:xfrm>
            <a:off x="8332307" y="6586632"/>
            <a:ext cx="466728" cy="169277"/>
          </a:xfrm>
          <a:prstGeom prst="rect">
            <a:avLst/>
          </a:prstGeom>
          <a:noFill/>
        </p:spPr>
        <p:txBody>
          <a:bodyPr wrap="square" lIns="0" tIns="0" rIns="0" bIns="0" rtlCol="0" anchor="b" anchorCtr="0">
            <a:spAutoFit/>
          </a:bodyPr>
          <a:lstStyle/>
          <a:p>
            <a:pPr algn="r" fontAlgn="base">
              <a:spcBef>
                <a:spcPct val="0"/>
              </a:spcBef>
              <a:spcAft>
                <a:spcPct val="0"/>
              </a:spcAft>
            </a:pPr>
            <a:fld id="{9506F66D-3967-4DB8-9A18-525DE62AD90B}" type="slidenum">
              <a:rPr lang="pt-BR" sz="1100" smtClean="0">
                <a:solidFill>
                  <a:prstClr val="white">
                    <a:lumMod val="50000"/>
                  </a:prstClr>
                </a:solidFill>
              </a:rPr>
              <a:pPr algn="r" fontAlgn="base">
                <a:spcBef>
                  <a:spcPct val="0"/>
                </a:spcBef>
                <a:spcAft>
                  <a:spcPct val="0"/>
                </a:spcAft>
              </a:pPr>
              <a:t>‹nº›</a:t>
            </a:fld>
            <a:endParaRPr lang="pt-BR" sz="1100" dirty="0">
              <a:solidFill>
                <a:prstClr val="white">
                  <a:lumMod val="50000"/>
                </a:prstClr>
              </a:solidFill>
            </a:endParaRPr>
          </a:p>
        </p:txBody>
      </p:sp>
      <p:sp>
        <p:nvSpPr>
          <p:cNvPr id="1054" name="Rectangle 30"/>
          <p:cNvSpPr>
            <a:spLocks noGrp="1" noChangeArrowheads="1"/>
          </p:cNvSpPr>
          <p:nvPr>
            <p:ph type="title"/>
          </p:nvPr>
        </p:nvSpPr>
        <p:spPr bwMode="gray">
          <a:xfrm>
            <a:off x="349034" y="0"/>
            <a:ext cx="7983273" cy="1058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1057" name="Rectangle 33"/>
          <p:cNvSpPr>
            <a:spLocks noGrp="1" noChangeArrowheads="1"/>
          </p:cNvSpPr>
          <p:nvPr>
            <p:ph type="body" idx="1"/>
          </p:nvPr>
        </p:nvSpPr>
        <p:spPr bwMode="auto">
          <a:xfrm>
            <a:off x="349034" y="1192534"/>
            <a:ext cx="8449923" cy="570926"/>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p>
            <a:pPr lvl="0"/>
            <a:r>
              <a:rPr lang="pt-BR" dirty="0"/>
              <a:t>Click </a:t>
            </a:r>
            <a:r>
              <a:rPr lang="pt-BR" dirty="0" err="1"/>
              <a:t>to</a:t>
            </a:r>
            <a:r>
              <a:rPr lang="pt-BR" dirty="0"/>
              <a:t> </a:t>
            </a:r>
            <a:r>
              <a:rPr lang="pt-BR" dirty="0" err="1"/>
              <a:t>edit</a:t>
            </a:r>
            <a:r>
              <a:rPr lang="pt-BR" dirty="0"/>
              <a:t> Master </a:t>
            </a:r>
            <a:r>
              <a:rPr lang="pt-BR" dirty="0" err="1"/>
              <a:t>text</a:t>
            </a:r>
            <a:r>
              <a:rPr lang="pt-BR" dirty="0"/>
              <a:t> </a:t>
            </a:r>
            <a:r>
              <a:rPr lang="pt-BR" dirty="0" err="1"/>
              <a:t>styles</a:t>
            </a:r>
            <a:endParaRPr lang="pt-BR" dirty="0"/>
          </a:p>
          <a:p>
            <a:pPr lvl="1"/>
            <a:r>
              <a:rPr lang="pt-BR" dirty="0" err="1"/>
              <a:t>Second</a:t>
            </a:r>
            <a:r>
              <a:rPr lang="pt-BR" dirty="0"/>
              <a:t> </a:t>
            </a:r>
            <a:r>
              <a:rPr lang="pt-BR" dirty="0" err="1"/>
              <a:t>level</a:t>
            </a:r>
            <a:endParaRPr lang="pt-BR" dirty="0"/>
          </a:p>
          <a:p>
            <a:pPr lvl="2"/>
            <a:r>
              <a:rPr lang="pt-BR" dirty="0" err="1"/>
              <a:t>Third</a:t>
            </a:r>
            <a:r>
              <a:rPr lang="pt-BR" dirty="0"/>
              <a:t> </a:t>
            </a:r>
            <a:r>
              <a:rPr lang="pt-BR" dirty="0" err="1"/>
              <a:t>level</a:t>
            </a:r>
            <a:endParaRPr lang="pt-BR" dirty="0"/>
          </a:p>
        </p:txBody>
      </p:sp>
      <p:sp>
        <p:nvSpPr>
          <p:cNvPr id="3" name="AcnSubjectTitle_ID_3" hidden="1"/>
          <p:cNvSpPr txBox="1"/>
          <p:nvPr userDrawn="1">
            <p:custDataLst>
              <p:tags r:id="rId10"/>
            </p:custDataLst>
          </p:nvPr>
        </p:nvSpPr>
        <p:spPr bwMode="gray">
          <a:xfrm>
            <a:off x="349034" y="1420814"/>
            <a:ext cx="5238750" cy="276999"/>
          </a:xfrm>
          <a:prstGeom prst="rect">
            <a:avLst/>
          </a:prstGeom>
          <a:noFill/>
        </p:spPr>
        <p:txBody>
          <a:bodyPr vert="horz" wrap="square" rtlCol="0">
            <a:spAutoFit/>
          </a:bodyPr>
          <a:lstStyle/>
          <a:p>
            <a:pPr fontAlgn="base">
              <a:spcBef>
                <a:spcPct val="0"/>
              </a:spcBef>
              <a:spcAft>
                <a:spcPct val="0"/>
              </a:spcAft>
            </a:pPr>
            <a:r>
              <a:rPr lang="pt-BR" sz="1200" b="1" dirty="0">
                <a:solidFill>
                  <a:prstClr val="black"/>
                </a:solidFill>
              </a:rPr>
              <a:t>Subject Title</a:t>
            </a:r>
          </a:p>
        </p:txBody>
      </p:sp>
      <p:sp>
        <p:nvSpPr>
          <p:cNvPr id="4" name="AcnFootnote_ID_4" hidden="1"/>
          <p:cNvSpPr txBox="1"/>
          <p:nvPr userDrawn="1">
            <p:custDataLst>
              <p:tags r:id="rId11"/>
            </p:custDataLst>
          </p:nvPr>
        </p:nvSpPr>
        <p:spPr bwMode="gray">
          <a:xfrm>
            <a:off x="349034" y="6339389"/>
            <a:ext cx="7983273" cy="346249"/>
          </a:xfrm>
          <a:prstGeom prst="rect">
            <a:avLst/>
          </a:prstGeom>
          <a:noFill/>
        </p:spPr>
        <p:txBody>
          <a:bodyPr vert="horz" wrap="square" rtlCol="0" anchor="b">
            <a:spAutoFit/>
          </a:bodyPr>
          <a:lstStyle/>
          <a:p>
            <a:pPr marL="403622" indent="-403622" fontAlgn="base">
              <a:spcBef>
                <a:spcPct val="0"/>
              </a:spcBef>
              <a:spcAft>
                <a:spcPct val="0"/>
              </a:spcAft>
            </a:pPr>
            <a:r>
              <a:rPr lang="pt-BR" sz="750" dirty="0">
                <a:solidFill>
                  <a:prstClr val="black"/>
                </a:solidFill>
              </a:rPr>
              <a:t>*	Footnote</a:t>
            </a:r>
          </a:p>
          <a:p>
            <a:pPr marL="403622" indent="-403622" fontAlgn="base">
              <a:spcBef>
                <a:spcPct val="20000"/>
              </a:spcBef>
              <a:spcAft>
                <a:spcPct val="0"/>
              </a:spcAft>
            </a:pPr>
            <a:r>
              <a:rPr lang="pt-BR" sz="750" dirty="0">
                <a:solidFill>
                  <a:prstClr val="black"/>
                </a:solidFill>
              </a:rPr>
              <a:t>Source:	Source</a:t>
            </a:r>
          </a:p>
        </p:txBody>
      </p:sp>
    </p:spTree>
    <p:extLst>
      <p:ext uri="{BB962C8B-B14F-4D97-AF65-F5344CB8AC3E}">
        <p14:creationId xmlns:p14="http://schemas.microsoft.com/office/powerpoint/2010/main" val="1098915858"/>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Lst>
  <p:hf hdr="0" dt="0"/>
  <p:txStyles>
    <p:titleStyle>
      <a:lvl1pPr algn="l" rtl="0" eaLnBrk="1" fontAlgn="base" hangingPunct="1">
        <a:spcBef>
          <a:spcPct val="0"/>
        </a:spcBef>
        <a:spcAft>
          <a:spcPct val="0"/>
        </a:spcAft>
        <a:defRPr sz="1126" b="0">
          <a:solidFill>
            <a:srgbClr val="EC282C"/>
          </a:solidFill>
          <a:latin typeface="+mj-lt"/>
          <a:ea typeface="+mj-ea"/>
          <a:cs typeface="+mj-cs"/>
        </a:defRPr>
      </a:lvl1pPr>
      <a:lvl2pPr algn="l" rtl="0" eaLnBrk="1" fontAlgn="base" hangingPunct="1">
        <a:spcBef>
          <a:spcPct val="0"/>
        </a:spcBef>
        <a:spcAft>
          <a:spcPct val="0"/>
        </a:spcAft>
        <a:defRPr sz="1070" b="1">
          <a:solidFill>
            <a:schemeClr val="bg1"/>
          </a:solidFill>
          <a:latin typeface="Arial" charset="0"/>
        </a:defRPr>
      </a:lvl2pPr>
      <a:lvl3pPr algn="l" rtl="0" eaLnBrk="1" fontAlgn="base" hangingPunct="1">
        <a:spcBef>
          <a:spcPct val="0"/>
        </a:spcBef>
        <a:spcAft>
          <a:spcPct val="0"/>
        </a:spcAft>
        <a:defRPr sz="1070" b="1">
          <a:solidFill>
            <a:schemeClr val="bg1"/>
          </a:solidFill>
          <a:latin typeface="Arial" charset="0"/>
        </a:defRPr>
      </a:lvl3pPr>
      <a:lvl4pPr algn="l" rtl="0" eaLnBrk="1" fontAlgn="base" hangingPunct="1">
        <a:spcBef>
          <a:spcPct val="0"/>
        </a:spcBef>
        <a:spcAft>
          <a:spcPct val="0"/>
        </a:spcAft>
        <a:defRPr sz="1070" b="1">
          <a:solidFill>
            <a:schemeClr val="bg1"/>
          </a:solidFill>
          <a:latin typeface="Arial" charset="0"/>
        </a:defRPr>
      </a:lvl4pPr>
      <a:lvl5pPr algn="l" rtl="0" eaLnBrk="1" fontAlgn="base" hangingPunct="1">
        <a:spcBef>
          <a:spcPct val="0"/>
        </a:spcBef>
        <a:spcAft>
          <a:spcPct val="0"/>
        </a:spcAft>
        <a:defRPr sz="1070" b="1">
          <a:solidFill>
            <a:schemeClr val="bg1"/>
          </a:solidFill>
          <a:latin typeface="Arial" charset="0"/>
        </a:defRPr>
      </a:lvl5pPr>
      <a:lvl6pPr marL="228030" algn="l" rtl="0" eaLnBrk="1" fontAlgn="base" hangingPunct="1">
        <a:spcBef>
          <a:spcPct val="0"/>
        </a:spcBef>
        <a:spcAft>
          <a:spcPct val="0"/>
        </a:spcAft>
        <a:defRPr sz="1070" b="1">
          <a:solidFill>
            <a:schemeClr val="bg1"/>
          </a:solidFill>
          <a:latin typeface="Arial" charset="0"/>
        </a:defRPr>
      </a:lvl6pPr>
      <a:lvl7pPr marL="456060" algn="l" rtl="0" eaLnBrk="1" fontAlgn="base" hangingPunct="1">
        <a:spcBef>
          <a:spcPct val="0"/>
        </a:spcBef>
        <a:spcAft>
          <a:spcPct val="0"/>
        </a:spcAft>
        <a:defRPr sz="1070" b="1">
          <a:solidFill>
            <a:schemeClr val="bg1"/>
          </a:solidFill>
          <a:latin typeface="Arial" charset="0"/>
        </a:defRPr>
      </a:lvl7pPr>
      <a:lvl8pPr marL="684090" algn="l" rtl="0" eaLnBrk="1" fontAlgn="base" hangingPunct="1">
        <a:spcBef>
          <a:spcPct val="0"/>
        </a:spcBef>
        <a:spcAft>
          <a:spcPct val="0"/>
        </a:spcAft>
        <a:defRPr sz="1070" b="1">
          <a:solidFill>
            <a:schemeClr val="bg1"/>
          </a:solidFill>
          <a:latin typeface="Arial" charset="0"/>
        </a:defRPr>
      </a:lvl8pPr>
      <a:lvl9pPr marL="912119" algn="l" rtl="0" eaLnBrk="1" fontAlgn="base" hangingPunct="1">
        <a:spcBef>
          <a:spcPct val="0"/>
        </a:spcBef>
        <a:spcAft>
          <a:spcPct val="0"/>
        </a:spcAft>
        <a:defRPr sz="1070" b="1">
          <a:solidFill>
            <a:schemeClr val="bg1"/>
          </a:solidFill>
          <a:latin typeface="Arial" charset="0"/>
        </a:defRPr>
      </a:lvl9pPr>
    </p:titleStyle>
    <p:bodyStyle>
      <a:lvl1pPr marL="100066" indent="-100066" algn="l" rtl="0" eaLnBrk="1" fontAlgn="base" hangingPunct="1">
        <a:spcBef>
          <a:spcPts val="675"/>
        </a:spcBef>
        <a:spcAft>
          <a:spcPct val="0"/>
        </a:spcAft>
        <a:buChar char="•"/>
        <a:defRPr sz="1070">
          <a:solidFill>
            <a:srgbClr val="000000"/>
          </a:solidFill>
          <a:latin typeface="+mn-lt"/>
          <a:ea typeface="+mn-ea"/>
          <a:cs typeface="+mn-cs"/>
        </a:defRPr>
      </a:lvl1pPr>
      <a:lvl2pPr marL="201919" indent="-99173" algn="l" rtl="0" eaLnBrk="1" fontAlgn="base" hangingPunct="1">
        <a:spcBef>
          <a:spcPts val="338"/>
        </a:spcBef>
        <a:spcAft>
          <a:spcPct val="0"/>
        </a:spcAft>
        <a:buChar char="–"/>
        <a:defRPr sz="1070">
          <a:solidFill>
            <a:srgbClr val="000000"/>
          </a:solidFill>
          <a:latin typeface="+mn-lt"/>
        </a:defRPr>
      </a:lvl2pPr>
      <a:lvl3pPr marL="304665" indent="-102746" algn="l" rtl="0" eaLnBrk="1" fontAlgn="base" hangingPunct="1">
        <a:spcBef>
          <a:spcPts val="338"/>
        </a:spcBef>
        <a:spcAft>
          <a:spcPct val="0"/>
        </a:spcAft>
        <a:buFont typeface="Arial" charset="0"/>
        <a:buChar char="-"/>
        <a:defRPr sz="1070">
          <a:solidFill>
            <a:srgbClr val="000000"/>
          </a:solidFill>
          <a:latin typeface="+mn-lt"/>
        </a:defRPr>
      </a:lvl3pPr>
      <a:lvl4pPr marL="798104" indent="-114015" algn="l" rtl="0" eaLnBrk="1" fontAlgn="base" hangingPunct="1">
        <a:spcBef>
          <a:spcPct val="20000"/>
        </a:spcBef>
        <a:spcAft>
          <a:spcPct val="0"/>
        </a:spcAft>
        <a:buChar char="–"/>
        <a:defRPr sz="1013">
          <a:solidFill>
            <a:schemeClr val="tx1"/>
          </a:solidFill>
          <a:latin typeface="+mn-lt"/>
        </a:defRPr>
      </a:lvl4pPr>
      <a:lvl5pPr marL="1026134" indent="-114015" algn="l" rtl="0" eaLnBrk="1" fontAlgn="base" hangingPunct="1">
        <a:spcBef>
          <a:spcPct val="20000"/>
        </a:spcBef>
        <a:spcAft>
          <a:spcPct val="0"/>
        </a:spcAft>
        <a:buChar char="»"/>
        <a:defRPr sz="1013">
          <a:solidFill>
            <a:schemeClr val="tx1"/>
          </a:solidFill>
          <a:latin typeface="+mn-lt"/>
        </a:defRPr>
      </a:lvl5pPr>
      <a:lvl6pPr marL="1254164" indent="-114015" algn="l" rtl="0" eaLnBrk="1" fontAlgn="base" hangingPunct="1">
        <a:spcBef>
          <a:spcPct val="20000"/>
        </a:spcBef>
        <a:spcAft>
          <a:spcPct val="0"/>
        </a:spcAft>
        <a:buChar char="»"/>
        <a:defRPr sz="1013">
          <a:solidFill>
            <a:schemeClr val="tx1"/>
          </a:solidFill>
          <a:latin typeface="+mn-lt"/>
        </a:defRPr>
      </a:lvl6pPr>
      <a:lvl7pPr marL="1482194" indent="-114015" algn="l" rtl="0" eaLnBrk="1" fontAlgn="base" hangingPunct="1">
        <a:spcBef>
          <a:spcPct val="20000"/>
        </a:spcBef>
        <a:spcAft>
          <a:spcPct val="0"/>
        </a:spcAft>
        <a:buChar char="»"/>
        <a:defRPr sz="1013">
          <a:solidFill>
            <a:schemeClr val="tx1"/>
          </a:solidFill>
          <a:latin typeface="+mn-lt"/>
        </a:defRPr>
      </a:lvl7pPr>
      <a:lvl8pPr marL="1710224" indent="-114015" algn="l" rtl="0" eaLnBrk="1" fontAlgn="base" hangingPunct="1">
        <a:spcBef>
          <a:spcPct val="20000"/>
        </a:spcBef>
        <a:spcAft>
          <a:spcPct val="0"/>
        </a:spcAft>
        <a:buChar char="»"/>
        <a:defRPr sz="1013">
          <a:solidFill>
            <a:schemeClr val="tx1"/>
          </a:solidFill>
          <a:latin typeface="+mn-lt"/>
        </a:defRPr>
      </a:lvl8pPr>
      <a:lvl9pPr marL="1938254" indent="-114015" algn="l" rtl="0" eaLnBrk="1" fontAlgn="base" hangingPunct="1">
        <a:spcBef>
          <a:spcPct val="20000"/>
        </a:spcBef>
        <a:spcAft>
          <a:spcPct val="0"/>
        </a:spcAft>
        <a:buChar char="»"/>
        <a:defRPr sz="1013">
          <a:solidFill>
            <a:schemeClr val="tx1"/>
          </a:solidFill>
          <a:latin typeface="+mn-lt"/>
        </a:defRPr>
      </a:lvl9pPr>
    </p:bodyStyle>
    <p:otherStyle>
      <a:defPPr>
        <a:defRPr lang="en-US"/>
      </a:defPPr>
      <a:lvl1pPr marL="0" algn="l" defTabSz="456060" rtl="0" eaLnBrk="1" latinLnBrk="0" hangingPunct="1">
        <a:defRPr sz="901" kern="1200">
          <a:solidFill>
            <a:schemeClr val="tx1"/>
          </a:solidFill>
          <a:latin typeface="+mn-lt"/>
          <a:ea typeface="+mn-ea"/>
          <a:cs typeface="+mn-cs"/>
        </a:defRPr>
      </a:lvl1pPr>
      <a:lvl2pPr marL="228030" algn="l" defTabSz="456060" rtl="0" eaLnBrk="1" latinLnBrk="0" hangingPunct="1">
        <a:defRPr sz="901" kern="1200">
          <a:solidFill>
            <a:schemeClr val="tx1"/>
          </a:solidFill>
          <a:latin typeface="+mn-lt"/>
          <a:ea typeface="+mn-ea"/>
          <a:cs typeface="+mn-cs"/>
        </a:defRPr>
      </a:lvl2pPr>
      <a:lvl3pPr marL="456060" algn="l" defTabSz="456060" rtl="0" eaLnBrk="1" latinLnBrk="0" hangingPunct="1">
        <a:defRPr sz="901" kern="1200">
          <a:solidFill>
            <a:schemeClr val="tx1"/>
          </a:solidFill>
          <a:latin typeface="+mn-lt"/>
          <a:ea typeface="+mn-ea"/>
          <a:cs typeface="+mn-cs"/>
        </a:defRPr>
      </a:lvl3pPr>
      <a:lvl4pPr marL="684090" algn="l" defTabSz="456060" rtl="0" eaLnBrk="1" latinLnBrk="0" hangingPunct="1">
        <a:defRPr sz="901" kern="1200">
          <a:solidFill>
            <a:schemeClr val="tx1"/>
          </a:solidFill>
          <a:latin typeface="+mn-lt"/>
          <a:ea typeface="+mn-ea"/>
          <a:cs typeface="+mn-cs"/>
        </a:defRPr>
      </a:lvl4pPr>
      <a:lvl5pPr marL="912119" algn="l" defTabSz="456060" rtl="0" eaLnBrk="1" latinLnBrk="0" hangingPunct="1">
        <a:defRPr sz="901" kern="1200">
          <a:solidFill>
            <a:schemeClr val="tx1"/>
          </a:solidFill>
          <a:latin typeface="+mn-lt"/>
          <a:ea typeface="+mn-ea"/>
          <a:cs typeface="+mn-cs"/>
        </a:defRPr>
      </a:lvl5pPr>
      <a:lvl6pPr marL="1140149" algn="l" defTabSz="456060" rtl="0" eaLnBrk="1" latinLnBrk="0" hangingPunct="1">
        <a:defRPr sz="901" kern="1200">
          <a:solidFill>
            <a:schemeClr val="tx1"/>
          </a:solidFill>
          <a:latin typeface="+mn-lt"/>
          <a:ea typeface="+mn-ea"/>
          <a:cs typeface="+mn-cs"/>
        </a:defRPr>
      </a:lvl6pPr>
      <a:lvl7pPr marL="1368179" algn="l" defTabSz="456060" rtl="0" eaLnBrk="1" latinLnBrk="0" hangingPunct="1">
        <a:defRPr sz="901" kern="1200">
          <a:solidFill>
            <a:schemeClr val="tx1"/>
          </a:solidFill>
          <a:latin typeface="+mn-lt"/>
          <a:ea typeface="+mn-ea"/>
          <a:cs typeface="+mn-cs"/>
        </a:defRPr>
      </a:lvl7pPr>
      <a:lvl8pPr marL="1596209" algn="l" defTabSz="456060" rtl="0" eaLnBrk="1" latinLnBrk="0" hangingPunct="1">
        <a:defRPr sz="901" kern="1200">
          <a:solidFill>
            <a:schemeClr val="tx1"/>
          </a:solidFill>
          <a:latin typeface="+mn-lt"/>
          <a:ea typeface="+mn-ea"/>
          <a:cs typeface="+mn-cs"/>
        </a:defRPr>
      </a:lvl8pPr>
      <a:lvl9pPr marL="1824239" algn="l" defTabSz="456060" rtl="0" eaLnBrk="1" latinLnBrk="0" hangingPunct="1">
        <a:defRPr sz="901"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193" y="1591"/>
          <a:ext cx="1191" cy="1587"/>
        </p:xfrm>
        <a:graphic>
          <a:graphicData uri="http://schemas.openxmlformats.org/presentationml/2006/ole">
            <mc:AlternateContent xmlns:mc="http://schemas.openxmlformats.org/markup-compatibility/2006">
              <mc:Choice xmlns:v="urn:schemas-microsoft-com:vml" Requires="v">
                <p:oleObj spid="_x0000_s46117" name="think-cell Slide" r:id="rId12" imgW="581" imgH="586" progId="TCLayout.ActiveDocument.1">
                  <p:embed/>
                </p:oleObj>
              </mc:Choice>
              <mc:Fallback>
                <p:oleObj name="think-cell Slide" r:id="rId12" imgW="581" imgH="586" progId="TCLayout.ActiveDocument.1">
                  <p:embed/>
                  <p:pic>
                    <p:nvPicPr>
                      <p:cNvPr id="0" name=""/>
                      <p:cNvPicPr/>
                      <p:nvPr/>
                    </p:nvPicPr>
                    <p:blipFill>
                      <a:blip r:embed="rId13"/>
                      <a:stretch>
                        <a:fillRect/>
                      </a:stretch>
                    </p:blipFill>
                    <p:spPr>
                      <a:xfrm>
                        <a:off x="1193" y="1591"/>
                        <a:ext cx="1191" cy="1587"/>
                      </a:xfrm>
                      <a:prstGeom prst="rect">
                        <a:avLst/>
                      </a:prstGeom>
                    </p:spPr>
                  </p:pic>
                </p:oleObj>
              </mc:Fallback>
            </mc:AlternateContent>
          </a:graphicData>
        </a:graphic>
      </p:graphicFrame>
      <p:sp>
        <p:nvSpPr>
          <p:cNvPr id="8" name="TextBox 7"/>
          <p:cNvSpPr txBox="1"/>
          <p:nvPr/>
        </p:nvSpPr>
        <p:spPr>
          <a:xfrm>
            <a:off x="5057296" y="6678067"/>
            <a:ext cx="3508376" cy="77842"/>
          </a:xfrm>
          <a:prstGeom prst="rect">
            <a:avLst/>
          </a:prstGeom>
          <a:noFill/>
        </p:spPr>
        <p:txBody>
          <a:bodyPr wrap="square" lIns="0" tIns="0" rIns="0" bIns="0" rtlCol="0" anchor="b" anchorCtr="0">
            <a:spAutoFit/>
          </a:bodyPr>
          <a:lstStyle/>
          <a:p>
            <a:pPr algn="r" defTabSz="456060" fontAlgn="base">
              <a:spcBef>
                <a:spcPct val="0"/>
              </a:spcBef>
              <a:spcAft>
                <a:spcPct val="0"/>
              </a:spcAft>
              <a:defRPr/>
            </a:pPr>
            <a:r>
              <a:rPr lang="pt-BR" sz="506" dirty="0">
                <a:solidFill>
                  <a:prstClr val="white">
                    <a:lumMod val="50000"/>
                  </a:prstClr>
                </a:solidFill>
              </a:rPr>
              <a:t>Copyright © 2017 Accenture. Todos os direitos reservados. Proprietário e confidencial.</a:t>
            </a:r>
          </a:p>
        </p:txBody>
      </p:sp>
      <p:sp>
        <p:nvSpPr>
          <p:cNvPr id="7" name="TextBox 6"/>
          <p:cNvSpPr txBox="1"/>
          <p:nvPr/>
        </p:nvSpPr>
        <p:spPr>
          <a:xfrm>
            <a:off x="8332307" y="6586632"/>
            <a:ext cx="466728" cy="169277"/>
          </a:xfrm>
          <a:prstGeom prst="rect">
            <a:avLst/>
          </a:prstGeom>
          <a:noFill/>
        </p:spPr>
        <p:txBody>
          <a:bodyPr wrap="square" lIns="0" tIns="0" rIns="0" bIns="0" rtlCol="0" anchor="b" anchorCtr="0">
            <a:spAutoFit/>
          </a:bodyPr>
          <a:lstStyle/>
          <a:p>
            <a:pPr algn="r" fontAlgn="base">
              <a:spcBef>
                <a:spcPct val="0"/>
              </a:spcBef>
              <a:spcAft>
                <a:spcPct val="0"/>
              </a:spcAft>
            </a:pPr>
            <a:fld id="{9506F66D-3967-4DB8-9A18-525DE62AD90B}" type="slidenum">
              <a:rPr lang="pt-BR" sz="1100" smtClean="0">
                <a:solidFill>
                  <a:prstClr val="white">
                    <a:lumMod val="50000"/>
                  </a:prstClr>
                </a:solidFill>
              </a:rPr>
              <a:pPr algn="r" fontAlgn="base">
                <a:spcBef>
                  <a:spcPct val="0"/>
                </a:spcBef>
                <a:spcAft>
                  <a:spcPct val="0"/>
                </a:spcAft>
              </a:pPr>
              <a:t>‹nº›</a:t>
            </a:fld>
            <a:endParaRPr lang="pt-BR" sz="1100" dirty="0">
              <a:solidFill>
                <a:prstClr val="white">
                  <a:lumMod val="50000"/>
                </a:prstClr>
              </a:solidFill>
            </a:endParaRPr>
          </a:p>
        </p:txBody>
      </p:sp>
      <p:sp>
        <p:nvSpPr>
          <p:cNvPr id="1054" name="Rectangle 30"/>
          <p:cNvSpPr>
            <a:spLocks noGrp="1" noChangeArrowheads="1"/>
          </p:cNvSpPr>
          <p:nvPr>
            <p:ph type="title"/>
          </p:nvPr>
        </p:nvSpPr>
        <p:spPr bwMode="gray">
          <a:xfrm>
            <a:off x="349034" y="0"/>
            <a:ext cx="7983273" cy="1058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1057" name="Rectangle 33"/>
          <p:cNvSpPr>
            <a:spLocks noGrp="1" noChangeArrowheads="1"/>
          </p:cNvSpPr>
          <p:nvPr>
            <p:ph type="body" idx="1"/>
          </p:nvPr>
        </p:nvSpPr>
        <p:spPr bwMode="auto">
          <a:xfrm>
            <a:off x="349034" y="1192534"/>
            <a:ext cx="8449923" cy="570926"/>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p>
            <a:pPr lvl="0"/>
            <a:r>
              <a:rPr lang="pt-BR" dirty="0"/>
              <a:t>Click </a:t>
            </a:r>
            <a:r>
              <a:rPr lang="pt-BR" dirty="0" err="1"/>
              <a:t>to</a:t>
            </a:r>
            <a:r>
              <a:rPr lang="pt-BR" dirty="0"/>
              <a:t> </a:t>
            </a:r>
            <a:r>
              <a:rPr lang="pt-BR" dirty="0" err="1"/>
              <a:t>edit</a:t>
            </a:r>
            <a:r>
              <a:rPr lang="pt-BR" dirty="0"/>
              <a:t> Master </a:t>
            </a:r>
            <a:r>
              <a:rPr lang="pt-BR" dirty="0" err="1"/>
              <a:t>text</a:t>
            </a:r>
            <a:r>
              <a:rPr lang="pt-BR" dirty="0"/>
              <a:t> </a:t>
            </a:r>
            <a:r>
              <a:rPr lang="pt-BR" dirty="0" err="1"/>
              <a:t>styles</a:t>
            </a:r>
            <a:endParaRPr lang="pt-BR" dirty="0"/>
          </a:p>
          <a:p>
            <a:pPr lvl="1"/>
            <a:r>
              <a:rPr lang="pt-BR" dirty="0" err="1"/>
              <a:t>Second</a:t>
            </a:r>
            <a:r>
              <a:rPr lang="pt-BR" dirty="0"/>
              <a:t> </a:t>
            </a:r>
            <a:r>
              <a:rPr lang="pt-BR" dirty="0" err="1"/>
              <a:t>level</a:t>
            </a:r>
            <a:endParaRPr lang="pt-BR" dirty="0"/>
          </a:p>
          <a:p>
            <a:pPr lvl="2"/>
            <a:r>
              <a:rPr lang="pt-BR" dirty="0" err="1"/>
              <a:t>Third</a:t>
            </a:r>
            <a:r>
              <a:rPr lang="pt-BR" dirty="0"/>
              <a:t> </a:t>
            </a:r>
            <a:r>
              <a:rPr lang="pt-BR" dirty="0" err="1"/>
              <a:t>level</a:t>
            </a:r>
            <a:endParaRPr lang="pt-BR" dirty="0"/>
          </a:p>
        </p:txBody>
      </p:sp>
      <p:sp>
        <p:nvSpPr>
          <p:cNvPr id="3" name="AcnSubjectTitle_ID_3" hidden="1"/>
          <p:cNvSpPr txBox="1"/>
          <p:nvPr userDrawn="1">
            <p:custDataLst>
              <p:tags r:id="rId10"/>
            </p:custDataLst>
          </p:nvPr>
        </p:nvSpPr>
        <p:spPr bwMode="gray">
          <a:xfrm>
            <a:off x="349034" y="1420814"/>
            <a:ext cx="5238750" cy="276999"/>
          </a:xfrm>
          <a:prstGeom prst="rect">
            <a:avLst/>
          </a:prstGeom>
          <a:noFill/>
        </p:spPr>
        <p:txBody>
          <a:bodyPr vert="horz" wrap="square" rtlCol="0">
            <a:spAutoFit/>
          </a:bodyPr>
          <a:lstStyle/>
          <a:p>
            <a:pPr fontAlgn="base">
              <a:spcBef>
                <a:spcPct val="0"/>
              </a:spcBef>
              <a:spcAft>
                <a:spcPct val="0"/>
              </a:spcAft>
            </a:pPr>
            <a:r>
              <a:rPr lang="pt-BR" sz="1200" b="1" dirty="0">
                <a:solidFill>
                  <a:prstClr val="black"/>
                </a:solidFill>
              </a:rPr>
              <a:t>Subject Title</a:t>
            </a:r>
          </a:p>
        </p:txBody>
      </p:sp>
      <p:sp>
        <p:nvSpPr>
          <p:cNvPr id="4" name="AcnFootnote_ID_4" hidden="1"/>
          <p:cNvSpPr txBox="1"/>
          <p:nvPr userDrawn="1">
            <p:custDataLst>
              <p:tags r:id="rId11"/>
            </p:custDataLst>
          </p:nvPr>
        </p:nvSpPr>
        <p:spPr bwMode="gray">
          <a:xfrm>
            <a:off x="349034" y="6339389"/>
            <a:ext cx="7983273" cy="346249"/>
          </a:xfrm>
          <a:prstGeom prst="rect">
            <a:avLst/>
          </a:prstGeom>
          <a:noFill/>
        </p:spPr>
        <p:txBody>
          <a:bodyPr vert="horz" wrap="square" rtlCol="0" anchor="b">
            <a:spAutoFit/>
          </a:bodyPr>
          <a:lstStyle/>
          <a:p>
            <a:pPr marL="403622" indent="-403622" fontAlgn="base">
              <a:spcBef>
                <a:spcPct val="0"/>
              </a:spcBef>
              <a:spcAft>
                <a:spcPct val="0"/>
              </a:spcAft>
            </a:pPr>
            <a:r>
              <a:rPr lang="pt-BR" sz="750" dirty="0">
                <a:solidFill>
                  <a:prstClr val="black"/>
                </a:solidFill>
              </a:rPr>
              <a:t>*	Footnote</a:t>
            </a:r>
          </a:p>
          <a:p>
            <a:pPr marL="403622" indent="-403622" fontAlgn="base">
              <a:spcBef>
                <a:spcPct val="20000"/>
              </a:spcBef>
              <a:spcAft>
                <a:spcPct val="0"/>
              </a:spcAft>
            </a:pPr>
            <a:r>
              <a:rPr lang="pt-BR" sz="750" dirty="0">
                <a:solidFill>
                  <a:prstClr val="black"/>
                </a:solidFill>
              </a:rPr>
              <a:t>Source:	Source</a:t>
            </a:r>
          </a:p>
        </p:txBody>
      </p:sp>
    </p:spTree>
    <p:extLst>
      <p:ext uri="{BB962C8B-B14F-4D97-AF65-F5344CB8AC3E}">
        <p14:creationId xmlns:p14="http://schemas.microsoft.com/office/powerpoint/2010/main" val="398908746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Lst>
  <p:hf hdr="0" dt="0"/>
  <p:txStyles>
    <p:titleStyle>
      <a:lvl1pPr algn="l" rtl="0" eaLnBrk="1" fontAlgn="base" hangingPunct="1">
        <a:spcBef>
          <a:spcPct val="0"/>
        </a:spcBef>
        <a:spcAft>
          <a:spcPct val="0"/>
        </a:spcAft>
        <a:defRPr sz="1126" b="0">
          <a:solidFill>
            <a:srgbClr val="EC282C"/>
          </a:solidFill>
          <a:latin typeface="+mj-lt"/>
          <a:ea typeface="+mj-ea"/>
          <a:cs typeface="+mj-cs"/>
        </a:defRPr>
      </a:lvl1pPr>
      <a:lvl2pPr algn="l" rtl="0" eaLnBrk="1" fontAlgn="base" hangingPunct="1">
        <a:spcBef>
          <a:spcPct val="0"/>
        </a:spcBef>
        <a:spcAft>
          <a:spcPct val="0"/>
        </a:spcAft>
        <a:defRPr sz="1070" b="1">
          <a:solidFill>
            <a:schemeClr val="bg1"/>
          </a:solidFill>
          <a:latin typeface="Arial" charset="0"/>
        </a:defRPr>
      </a:lvl2pPr>
      <a:lvl3pPr algn="l" rtl="0" eaLnBrk="1" fontAlgn="base" hangingPunct="1">
        <a:spcBef>
          <a:spcPct val="0"/>
        </a:spcBef>
        <a:spcAft>
          <a:spcPct val="0"/>
        </a:spcAft>
        <a:defRPr sz="1070" b="1">
          <a:solidFill>
            <a:schemeClr val="bg1"/>
          </a:solidFill>
          <a:latin typeface="Arial" charset="0"/>
        </a:defRPr>
      </a:lvl3pPr>
      <a:lvl4pPr algn="l" rtl="0" eaLnBrk="1" fontAlgn="base" hangingPunct="1">
        <a:spcBef>
          <a:spcPct val="0"/>
        </a:spcBef>
        <a:spcAft>
          <a:spcPct val="0"/>
        </a:spcAft>
        <a:defRPr sz="1070" b="1">
          <a:solidFill>
            <a:schemeClr val="bg1"/>
          </a:solidFill>
          <a:latin typeface="Arial" charset="0"/>
        </a:defRPr>
      </a:lvl4pPr>
      <a:lvl5pPr algn="l" rtl="0" eaLnBrk="1" fontAlgn="base" hangingPunct="1">
        <a:spcBef>
          <a:spcPct val="0"/>
        </a:spcBef>
        <a:spcAft>
          <a:spcPct val="0"/>
        </a:spcAft>
        <a:defRPr sz="1070" b="1">
          <a:solidFill>
            <a:schemeClr val="bg1"/>
          </a:solidFill>
          <a:latin typeface="Arial" charset="0"/>
        </a:defRPr>
      </a:lvl5pPr>
      <a:lvl6pPr marL="228030" algn="l" rtl="0" eaLnBrk="1" fontAlgn="base" hangingPunct="1">
        <a:spcBef>
          <a:spcPct val="0"/>
        </a:spcBef>
        <a:spcAft>
          <a:spcPct val="0"/>
        </a:spcAft>
        <a:defRPr sz="1070" b="1">
          <a:solidFill>
            <a:schemeClr val="bg1"/>
          </a:solidFill>
          <a:latin typeface="Arial" charset="0"/>
        </a:defRPr>
      </a:lvl6pPr>
      <a:lvl7pPr marL="456060" algn="l" rtl="0" eaLnBrk="1" fontAlgn="base" hangingPunct="1">
        <a:spcBef>
          <a:spcPct val="0"/>
        </a:spcBef>
        <a:spcAft>
          <a:spcPct val="0"/>
        </a:spcAft>
        <a:defRPr sz="1070" b="1">
          <a:solidFill>
            <a:schemeClr val="bg1"/>
          </a:solidFill>
          <a:latin typeface="Arial" charset="0"/>
        </a:defRPr>
      </a:lvl7pPr>
      <a:lvl8pPr marL="684090" algn="l" rtl="0" eaLnBrk="1" fontAlgn="base" hangingPunct="1">
        <a:spcBef>
          <a:spcPct val="0"/>
        </a:spcBef>
        <a:spcAft>
          <a:spcPct val="0"/>
        </a:spcAft>
        <a:defRPr sz="1070" b="1">
          <a:solidFill>
            <a:schemeClr val="bg1"/>
          </a:solidFill>
          <a:latin typeface="Arial" charset="0"/>
        </a:defRPr>
      </a:lvl8pPr>
      <a:lvl9pPr marL="912119" algn="l" rtl="0" eaLnBrk="1" fontAlgn="base" hangingPunct="1">
        <a:spcBef>
          <a:spcPct val="0"/>
        </a:spcBef>
        <a:spcAft>
          <a:spcPct val="0"/>
        </a:spcAft>
        <a:defRPr sz="1070" b="1">
          <a:solidFill>
            <a:schemeClr val="bg1"/>
          </a:solidFill>
          <a:latin typeface="Arial" charset="0"/>
        </a:defRPr>
      </a:lvl9pPr>
    </p:titleStyle>
    <p:bodyStyle>
      <a:lvl1pPr marL="100066" indent="-100066" algn="l" rtl="0" eaLnBrk="1" fontAlgn="base" hangingPunct="1">
        <a:spcBef>
          <a:spcPts val="675"/>
        </a:spcBef>
        <a:spcAft>
          <a:spcPct val="0"/>
        </a:spcAft>
        <a:buChar char="•"/>
        <a:defRPr sz="1070">
          <a:solidFill>
            <a:srgbClr val="000000"/>
          </a:solidFill>
          <a:latin typeface="+mn-lt"/>
          <a:ea typeface="+mn-ea"/>
          <a:cs typeface="+mn-cs"/>
        </a:defRPr>
      </a:lvl1pPr>
      <a:lvl2pPr marL="201919" indent="-99173" algn="l" rtl="0" eaLnBrk="1" fontAlgn="base" hangingPunct="1">
        <a:spcBef>
          <a:spcPts val="338"/>
        </a:spcBef>
        <a:spcAft>
          <a:spcPct val="0"/>
        </a:spcAft>
        <a:buChar char="–"/>
        <a:defRPr sz="1070">
          <a:solidFill>
            <a:srgbClr val="000000"/>
          </a:solidFill>
          <a:latin typeface="+mn-lt"/>
        </a:defRPr>
      </a:lvl2pPr>
      <a:lvl3pPr marL="304665" indent="-102746" algn="l" rtl="0" eaLnBrk="1" fontAlgn="base" hangingPunct="1">
        <a:spcBef>
          <a:spcPts val="338"/>
        </a:spcBef>
        <a:spcAft>
          <a:spcPct val="0"/>
        </a:spcAft>
        <a:buFont typeface="Arial" charset="0"/>
        <a:buChar char="-"/>
        <a:defRPr sz="1070">
          <a:solidFill>
            <a:srgbClr val="000000"/>
          </a:solidFill>
          <a:latin typeface="+mn-lt"/>
        </a:defRPr>
      </a:lvl3pPr>
      <a:lvl4pPr marL="798104" indent="-114015" algn="l" rtl="0" eaLnBrk="1" fontAlgn="base" hangingPunct="1">
        <a:spcBef>
          <a:spcPct val="20000"/>
        </a:spcBef>
        <a:spcAft>
          <a:spcPct val="0"/>
        </a:spcAft>
        <a:buChar char="–"/>
        <a:defRPr sz="1013">
          <a:solidFill>
            <a:schemeClr val="tx1"/>
          </a:solidFill>
          <a:latin typeface="+mn-lt"/>
        </a:defRPr>
      </a:lvl4pPr>
      <a:lvl5pPr marL="1026134" indent="-114015" algn="l" rtl="0" eaLnBrk="1" fontAlgn="base" hangingPunct="1">
        <a:spcBef>
          <a:spcPct val="20000"/>
        </a:spcBef>
        <a:spcAft>
          <a:spcPct val="0"/>
        </a:spcAft>
        <a:buChar char="»"/>
        <a:defRPr sz="1013">
          <a:solidFill>
            <a:schemeClr val="tx1"/>
          </a:solidFill>
          <a:latin typeface="+mn-lt"/>
        </a:defRPr>
      </a:lvl5pPr>
      <a:lvl6pPr marL="1254164" indent="-114015" algn="l" rtl="0" eaLnBrk="1" fontAlgn="base" hangingPunct="1">
        <a:spcBef>
          <a:spcPct val="20000"/>
        </a:spcBef>
        <a:spcAft>
          <a:spcPct val="0"/>
        </a:spcAft>
        <a:buChar char="»"/>
        <a:defRPr sz="1013">
          <a:solidFill>
            <a:schemeClr val="tx1"/>
          </a:solidFill>
          <a:latin typeface="+mn-lt"/>
        </a:defRPr>
      </a:lvl6pPr>
      <a:lvl7pPr marL="1482194" indent="-114015" algn="l" rtl="0" eaLnBrk="1" fontAlgn="base" hangingPunct="1">
        <a:spcBef>
          <a:spcPct val="20000"/>
        </a:spcBef>
        <a:spcAft>
          <a:spcPct val="0"/>
        </a:spcAft>
        <a:buChar char="»"/>
        <a:defRPr sz="1013">
          <a:solidFill>
            <a:schemeClr val="tx1"/>
          </a:solidFill>
          <a:latin typeface="+mn-lt"/>
        </a:defRPr>
      </a:lvl7pPr>
      <a:lvl8pPr marL="1710224" indent="-114015" algn="l" rtl="0" eaLnBrk="1" fontAlgn="base" hangingPunct="1">
        <a:spcBef>
          <a:spcPct val="20000"/>
        </a:spcBef>
        <a:spcAft>
          <a:spcPct val="0"/>
        </a:spcAft>
        <a:buChar char="»"/>
        <a:defRPr sz="1013">
          <a:solidFill>
            <a:schemeClr val="tx1"/>
          </a:solidFill>
          <a:latin typeface="+mn-lt"/>
        </a:defRPr>
      </a:lvl8pPr>
      <a:lvl9pPr marL="1938254" indent="-114015" algn="l" rtl="0" eaLnBrk="1" fontAlgn="base" hangingPunct="1">
        <a:spcBef>
          <a:spcPct val="20000"/>
        </a:spcBef>
        <a:spcAft>
          <a:spcPct val="0"/>
        </a:spcAft>
        <a:buChar char="»"/>
        <a:defRPr sz="1013">
          <a:solidFill>
            <a:schemeClr val="tx1"/>
          </a:solidFill>
          <a:latin typeface="+mn-lt"/>
        </a:defRPr>
      </a:lvl9pPr>
    </p:bodyStyle>
    <p:otherStyle>
      <a:defPPr>
        <a:defRPr lang="en-US"/>
      </a:defPPr>
      <a:lvl1pPr marL="0" algn="l" defTabSz="456060" rtl="0" eaLnBrk="1" latinLnBrk="0" hangingPunct="1">
        <a:defRPr sz="901" kern="1200">
          <a:solidFill>
            <a:schemeClr val="tx1"/>
          </a:solidFill>
          <a:latin typeface="+mn-lt"/>
          <a:ea typeface="+mn-ea"/>
          <a:cs typeface="+mn-cs"/>
        </a:defRPr>
      </a:lvl1pPr>
      <a:lvl2pPr marL="228030" algn="l" defTabSz="456060" rtl="0" eaLnBrk="1" latinLnBrk="0" hangingPunct="1">
        <a:defRPr sz="901" kern="1200">
          <a:solidFill>
            <a:schemeClr val="tx1"/>
          </a:solidFill>
          <a:latin typeface="+mn-lt"/>
          <a:ea typeface="+mn-ea"/>
          <a:cs typeface="+mn-cs"/>
        </a:defRPr>
      </a:lvl2pPr>
      <a:lvl3pPr marL="456060" algn="l" defTabSz="456060" rtl="0" eaLnBrk="1" latinLnBrk="0" hangingPunct="1">
        <a:defRPr sz="901" kern="1200">
          <a:solidFill>
            <a:schemeClr val="tx1"/>
          </a:solidFill>
          <a:latin typeface="+mn-lt"/>
          <a:ea typeface="+mn-ea"/>
          <a:cs typeface="+mn-cs"/>
        </a:defRPr>
      </a:lvl3pPr>
      <a:lvl4pPr marL="684090" algn="l" defTabSz="456060" rtl="0" eaLnBrk="1" latinLnBrk="0" hangingPunct="1">
        <a:defRPr sz="901" kern="1200">
          <a:solidFill>
            <a:schemeClr val="tx1"/>
          </a:solidFill>
          <a:latin typeface="+mn-lt"/>
          <a:ea typeface="+mn-ea"/>
          <a:cs typeface="+mn-cs"/>
        </a:defRPr>
      </a:lvl4pPr>
      <a:lvl5pPr marL="912119" algn="l" defTabSz="456060" rtl="0" eaLnBrk="1" latinLnBrk="0" hangingPunct="1">
        <a:defRPr sz="901" kern="1200">
          <a:solidFill>
            <a:schemeClr val="tx1"/>
          </a:solidFill>
          <a:latin typeface="+mn-lt"/>
          <a:ea typeface="+mn-ea"/>
          <a:cs typeface="+mn-cs"/>
        </a:defRPr>
      </a:lvl5pPr>
      <a:lvl6pPr marL="1140149" algn="l" defTabSz="456060" rtl="0" eaLnBrk="1" latinLnBrk="0" hangingPunct="1">
        <a:defRPr sz="901" kern="1200">
          <a:solidFill>
            <a:schemeClr val="tx1"/>
          </a:solidFill>
          <a:latin typeface="+mn-lt"/>
          <a:ea typeface="+mn-ea"/>
          <a:cs typeface="+mn-cs"/>
        </a:defRPr>
      </a:lvl6pPr>
      <a:lvl7pPr marL="1368179" algn="l" defTabSz="456060" rtl="0" eaLnBrk="1" latinLnBrk="0" hangingPunct="1">
        <a:defRPr sz="901" kern="1200">
          <a:solidFill>
            <a:schemeClr val="tx1"/>
          </a:solidFill>
          <a:latin typeface="+mn-lt"/>
          <a:ea typeface="+mn-ea"/>
          <a:cs typeface="+mn-cs"/>
        </a:defRPr>
      </a:lvl7pPr>
      <a:lvl8pPr marL="1596209" algn="l" defTabSz="456060" rtl="0" eaLnBrk="1" latinLnBrk="0" hangingPunct="1">
        <a:defRPr sz="901" kern="1200">
          <a:solidFill>
            <a:schemeClr val="tx1"/>
          </a:solidFill>
          <a:latin typeface="+mn-lt"/>
          <a:ea typeface="+mn-ea"/>
          <a:cs typeface="+mn-cs"/>
        </a:defRPr>
      </a:lvl8pPr>
      <a:lvl9pPr marL="1824239" algn="l" defTabSz="456060" rtl="0" eaLnBrk="1" latinLnBrk="0" hangingPunct="1">
        <a:defRPr sz="901"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702AB7-957E-40B9-9D45-FCDE3FF17E74}" type="datetimeFigureOut">
              <a:rPr lang="pt-BR" smtClean="0">
                <a:solidFill>
                  <a:prstClr val="black">
                    <a:tint val="75000"/>
                  </a:prstClr>
                </a:solidFill>
              </a:rPr>
              <a:pPr/>
              <a:t>03/05/2017</a:t>
            </a:fld>
            <a:endParaRPr lang="pt-BR">
              <a:solidFill>
                <a:prstClr val="black">
                  <a:tint val="75000"/>
                </a:prstClr>
              </a:solidFill>
            </a:endParaRP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solidFill>
                <a:prstClr val="black">
                  <a:tint val="75000"/>
                </a:prstClr>
              </a:solidFill>
            </a:endParaRP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03580C-E160-4AF5-9F70-BC2F9DBF57A2}"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2090687019"/>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Picture 3" descr="rodape.jp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88" y="6423025"/>
            <a:ext cx="9144001"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ChangeArrowheads="1"/>
          </p:cNvSpPr>
          <p:nvPr/>
        </p:nvSpPr>
        <p:spPr bwMode="auto">
          <a:xfrm>
            <a:off x="328614" y="779465"/>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endParaRPr lang="en-US" sz="3200">
              <a:solidFill>
                <a:srgbClr val="003366"/>
              </a:solidFill>
            </a:endParaRPr>
          </a:p>
        </p:txBody>
      </p:sp>
      <p:sp>
        <p:nvSpPr>
          <p:cNvPr id="1029" name="Rectangle 3"/>
          <p:cNvSpPr>
            <a:spLocks noChangeArrowheads="1"/>
          </p:cNvSpPr>
          <p:nvPr/>
        </p:nvSpPr>
        <p:spPr bwMode="auto">
          <a:xfrm>
            <a:off x="328614" y="792165"/>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r>
              <a:rPr lang="pt-BR" sz="3200">
                <a:solidFill>
                  <a:srgbClr val="003366"/>
                </a:solidFill>
              </a:rPr>
              <a:t> </a:t>
            </a:r>
          </a:p>
        </p:txBody>
      </p:sp>
      <p:sp>
        <p:nvSpPr>
          <p:cNvPr id="7"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1465901194"/>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Lst>
  <p:timing>
    <p:tnLst>
      <p:par>
        <p:cTn id="1" dur="indefinite" restart="never" nodeType="tmRoot"/>
      </p:par>
    </p:tnLst>
  </p:timing>
  <p:hf hdr="0" ftr="0" dt="0"/>
  <p:txStyles>
    <p:titleStyle>
      <a:lvl1pPr algn="l" rtl="0" eaLnBrk="0" fontAlgn="base" hangingPunct="0">
        <a:spcBef>
          <a:spcPct val="0"/>
        </a:spcBef>
        <a:spcAft>
          <a:spcPct val="0"/>
        </a:spcAft>
        <a:defRPr sz="4400" b="1">
          <a:solidFill>
            <a:srgbClr val="003366"/>
          </a:solidFill>
          <a:latin typeface="+mj-lt"/>
          <a:ea typeface="+mj-ea"/>
          <a:cs typeface="+mj-cs"/>
        </a:defRPr>
      </a:lvl1pPr>
      <a:lvl2pPr algn="l" rtl="0" eaLnBrk="0" fontAlgn="base" hangingPunct="0">
        <a:spcBef>
          <a:spcPct val="0"/>
        </a:spcBef>
        <a:spcAft>
          <a:spcPct val="0"/>
        </a:spcAft>
        <a:defRPr sz="4400" b="1">
          <a:solidFill>
            <a:srgbClr val="003366"/>
          </a:solidFill>
          <a:latin typeface="Trebuchet MS" pitchFamily="34" charset="0"/>
        </a:defRPr>
      </a:lvl2pPr>
      <a:lvl3pPr algn="l" rtl="0" eaLnBrk="0" fontAlgn="base" hangingPunct="0">
        <a:spcBef>
          <a:spcPct val="0"/>
        </a:spcBef>
        <a:spcAft>
          <a:spcPct val="0"/>
        </a:spcAft>
        <a:defRPr sz="4400" b="1">
          <a:solidFill>
            <a:srgbClr val="003366"/>
          </a:solidFill>
          <a:latin typeface="Trebuchet MS" pitchFamily="34" charset="0"/>
        </a:defRPr>
      </a:lvl3pPr>
      <a:lvl4pPr algn="l" rtl="0" eaLnBrk="0" fontAlgn="base" hangingPunct="0">
        <a:spcBef>
          <a:spcPct val="0"/>
        </a:spcBef>
        <a:spcAft>
          <a:spcPct val="0"/>
        </a:spcAft>
        <a:defRPr sz="4400" b="1">
          <a:solidFill>
            <a:srgbClr val="003366"/>
          </a:solidFill>
          <a:latin typeface="Trebuchet MS" pitchFamily="34" charset="0"/>
        </a:defRPr>
      </a:lvl4pPr>
      <a:lvl5pPr algn="l" rtl="0" eaLnBrk="0" fontAlgn="base" hangingPunct="0">
        <a:spcBef>
          <a:spcPct val="0"/>
        </a:spcBef>
        <a:spcAft>
          <a:spcPct val="0"/>
        </a:spcAft>
        <a:defRPr sz="4400" b="1">
          <a:solidFill>
            <a:srgbClr val="003366"/>
          </a:solidFill>
          <a:latin typeface="Trebuchet MS" pitchFamily="34" charset="0"/>
        </a:defRPr>
      </a:lvl5pPr>
      <a:lvl6pPr marL="457200" algn="l" rtl="0" fontAlgn="base">
        <a:spcBef>
          <a:spcPct val="0"/>
        </a:spcBef>
        <a:spcAft>
          <a:spcPct val="0"/>
        </a:spcAft>
        <a:defRPr b="1">
          <a:solidFill>
            <a:srgbClr val="003366"/>
          </a:solidFill>
          <a:latin typeface="Trebuchet MS" pitchFamily="34" charset="0"/>
        </a:defRPr>
      </a:lvl6pPr>
      <a:lvl7pPr marL="914400" algn="l" rtl="0" fontAlgn="base">
        <a:spcBef>
          <a:spcPct val="0"/>
        </a:spcBef>
        <a:spcAft>
          <a:spcPct val="0"/>
        </a:spcAft>
        <a:defRPr b="1">
          <a:solidFill>
            <a:srgbClr val="003366"/>
          </a:solidFill>
          <a:latin typeface="Trebuchet MS" pitchFamily="34" charset="0"/>
        </a:defRPr>
      </a:lvl7pPr>
      <a:lvl8pPr marL="1371600" algn="l" rtl="0" fontAlgn="base">
        <a:spcBef>
          <a:spcPct val="0"/>
        </a:spcBef>
        <a:spcAft>
          <a:spcPct val="0"/>
        </a:spcAft>
        <a:defRPr b="1">
          <a:solidFill>
            <a:srgbClr val="003366"/>
          </a:solidFill>
          <a:latin typeface="Trebuchet MS" pitchFamily="34" charset="0"/>
        </a:defRPr>
      </a:lvl8pPr>
      <a:lvl9pPr marL="1828800" algn="l" rtl="0" fontAlgn="base">
        <a:spcBef>
          <a:spcPct val="0"/>
        </a:spcBef>
        <a:spcAft>
          <a:spcPct val="0"/>
        </a:spcAft>
        <a:defRPr b="1">
          <a:solidFill>
            <a:srgbClr val="003366"/>
          </a:solidFill>
          <a:latin typeface="Trebuchet MS" pitchFamily="34" charset="0"/>
        </a:defRPr>
      </a:lvl9pPr>
    </p:titleStyle>
    <p:bodyStyle>
      <a:lvl1pPr marL="342900" indent="-342900" algn="l" rtl="0" eaLnBrk="0" fontAlgn="base" hangingPunct="0">
        <a:spcBef>
          <a:spcPct val="20000"/>
        </a:spcBef>
        <a:spcAft>
          <a:spcPct val="0"/>
        </a:spcAft>
        <a:buChar char="•"/>
        <a:defRPr sz="3200">
          <a:solidFill>
            <a:srgbClr val="003366"/>
          </a:solidFill>
          <a:latin typeface="+mn-lt"/>
          <a:ea typeface="+mn-ea"/>
          <a:cs typeface="+mn-cs"/>
        </a:defRPr>
      </a:lvl1pPr>
      <a:lvl2pPr marL="742950" indent="-285750" algn="l" rtl="0" eaLnBrk="0" fontAlgn="base" hangingPunct="0">
        <a:spcBef>
          <a:spcPct val="20000"/>
        </a:spcBef>
        <a:spcAft>
          <a:spcPct val="0"/>
        </a:spcAft>
        <a:buChar char="–"/>
        <a:defRPr sz="2800">
          <a:solidFill>
            <a:srgbClr val="003366"/>
          </a:solidFill>
          <a:latin typeface="+mn-lt"/>
        </a:defRPr>
      </a:lvl2pPr>
      <a:lvl3pPr marL="1143000" indent="-228600" algn="l" rtl="0" eaLnBrk="0" fontAlgn="base" hangingPunct="0">
        <a:spcBef>
          <a:spcPct val="20000"/>
        </a:spcBef>
        <a:spcAft>
          <a:spcPct val="0"/>
        </a:spcAft>
        <a:buChar char="•"/>
        <a:defRPr sz="2400">
          <a:solidFill>
            <a:srgbClr val="003366"/>
          </a:solidFill>
          <a:latin typeface="+mn-lt"/>
        </a:defRPr>
      </a:lvl3pPr>
      <a:lvl4pPr marL="1600200" indent="-228600" algn="l" rtl="0" eaLnBrk="0" fontAlgn="base" hangingPunct="0">
        <a:spcBef>
          <a:spcPct val="20000"/>
        </a:spcBef>
        <a:spcAft>
          <a:spcPct val="0"/>
        </a:spcAft>
        <a:buChar char="–"/>
        <a:defRPr sz="2000">
          <a:solidFill>
            <a:srgbClr val="003366"/>
          </a:solidFill>
          <a:latin typeface="+mn-lt"/>
        </a:defRPr>
      </a:lvl4pPr>
      <a:lvl5pPr marL="2057400" indent="-228600" algn="l" rtl="0" eaLnBrk="0" fontAlgn="base" hangingPunct="0">
        <a:spcBef>
          <a:spcPct val="20000"/>
        </a:spcBef>
        <a:spcAft>
          <a:spcPct val="0"/>
        </a:spcAft>
        <a:buChar char="»"/>
        <a:defRPr sz="2000">
          <a:solidFill>
            <a:srgbClr val="003366"/>
          </a:solidFill>
          <a:latin typeface="+mn-lt"/>
        </a:defRPr>
      </a:lvl5pPr>
      <a:lvl6pPr marL="2514600" indent="-228600" algn="l" rtl="0" fontAlgn="base">
        <a:spcBef>
          <a:spcPct val="20000"/>
        </a:spcBef>
        <a:spcAft>
          <a:spcPct val="0"/>
        </a:spcAft>
        <a:buChar char="»"/>
        <a:defRPr sz="2000">
          <a:solidFill>
            <a:srgbClr val="003366"/>
          </a:solidFill>
          <a:latin typeface="+mn-lt"/>
        </a:defRPr>
      </a:lvl6pPr>
      <a:lvl7pPr marL="2971800" indent="-228600" algn="l" rtl="0" fontAlgn="base">
        <a:spcBef>
          <a:spcPct val="20000"/>
        </a:spcBef>
        <a:spcAft>
          <a:spcPct val="0"/>
        </a:spcAft>
        <a:buChar char="»"/>
        <a:defRPr sz="2000">
          <a:solidFill>
            <a:srgbClr val="003366"/>
          </a:solidFill>
          <a:latin typeface="+mn-lt"/>
        </a:defRPr>
      </a:lvl7pPr>
      <a:lvl8pPr marL="3429000" indent="-228600" algn="l" rtl="0" fontAlgn="base">
        <a:spcBef>
          <a:spcPct val="20000"/>
        </a:spcBef>
        <a:spcAft>
          <a:spcPct val="0"/>
        </a:spcAft>
        <a:buChar char="»"/>
        <a:defRPr sz="2000">
          <a:solidFill>
            <a:srgbClr val="003366"/>
          </a:solidFill>
          <a:latin typeface="+mn-lt"/>
        </a:defRPr>
      </a:lvl8pPr>
      <a:lvl9pPr marL="3886200" indent="-228600" algn="l" rtl="0" fontAlgn="base">
        <a:spcBef>
          <a:spcPct val="20000"/>
        </a:spcBef>
        <a:spcAft>
          <a:spcPct val="0"/>
        </a:spcAft>
        <a:buChar char="»"/>
        <a:defRPr sz="2000">
          <a:solidFill>
            <a:srgbClr val="003366"/>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Picture 3" descr="rodape.jpg"/>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588" y="6423025"/>
            <a:ext cx="9144001"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9" name="Rectangle 2"/>
          <p:cNvSpPr>
            <a:spLocks noGrp="1" noChangeArrowheads="1"/>
          </p:cNvSpPr>
          <p:nvPr>
            <p:ph type="title"/>
          </p:nvPr>
        </p:nvSpPr>
        <p:spPr bwMode="auto">
          <a:xfrm>
            <a:off x="284163" y="333375"/>
            <a:ext cx="6192837"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pt-BR" smtClean="0"/>
              <a:t>D</a:t>
            </a:r>
          </a:p>
        </p:txBody>
      </p:sp>
      <p:sp>
        <p:nvSpPr>
          <p:cNvPr id="1028" name="Rectangle 3"/>
          <p:cNvSpPr>
            <a:spLocks noChangeArrowheads="1"/>
          </p:cNvSpPr>
          <p:nvPr/>
        </p:nvSpPr>
        <p:spPr bwMode="auto">
          <a:xfrm>
            <a:off x="328613" y="7794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endParaRPr lang="en-US" sz="3200">
              <a:solidFill>
                <a:srgbClr val="003366"/>
              </a:solidFill>
            </a:endParaRPr>
          </a:p>
        </p:txBody>
      </p:sp>
      <p:sp>
        <p:nvSpPr>
          <p:cNvPr id="1029" name="Rectangle 3"/>
          <p:cNvSpPr>
            <a:spLocks noChangeArrowheads="1"/>
          </p:cNvSpPr>
          <p:nvPr/>
        </p:nvSpPr>
        <p:spPr bwMode="auto">
          <a:xfrm>
            <a:off x="328613" y="7921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r>
              <a:rPr lang="pt-BR" sz="3200">
                <a:solidFill>
                  <a:srgbClr val="003366"/>
                </a:solidFill>
              </a:rPr>
              <a:t> </a:t>
            </a:r>
          </a:p>
        </p:txBody>
      </p:sp>
    </p:spTree>
    <p:extLst>
      <p:ext uri="{BB962C8B-B14F-4D97-AF65-F5344CB8AC3E}">
        <p14:creationId xmlns:p14="http://schemas.microsoft.com/office/powerpoint/2010/main" val="145558155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hf hdr="0" ftr="0" dt="0"/>
  <p:txStyles>
    <p:titleStyle>
      <a:lvl1pPr algn="l" rtl="0" eaLnBrk="0" fontAlgn="base" hangingPunct="0">
        <a:spcBef>
          <a:spcPct val="0"/>
        </a:spcBef>
        <a:spcAft>
          <a:spcPct val="0"/>
        </a:spcAft>
        <a:defRPr sz="4400" b="1">
          <a:solidFill>
            <a:srgbClr val="003366"/>
          </a:solidFill>
          <a:latin typeface="+mj-lt"/>
          <a:ea typeface="+mj-ea"/>
          <a:cs typeface="+mj-cs"/>
        </a:defRPr>
      </a:lvl1pPr>
      <a:lvl2pPr algn="l" rtl="0" eaLnBrk="0" fontAlgn="base" hangingPunct="0">
        <a:spcBef>
          <a:spcPct val="0"/>
        </a:spcBef>
        <a:spcAft>
          <a:spcPct val="0"/>
        </a:spcAft>
        <a:defRPr sz="4400" b="1">
          <a:solidFill>
            <a:srgbClr val="003366"/>
          </a:solidFill>
          <a:latin typeface="Trebuchet MS" pitchFamily="34" charset="0"/>
        </a:defRPr>
      </a:lvl2pPr>
      <a:lvl3pPr algn="l" rtl="0" eaLnBrk="0" fontAlgn="base" hangingPunct="0">
        <a:spcBef>
          <a:spcPct val="0"/>
        </a:spcBef>
        <a:spcAft>
          <a:spcPct val="0"/>
        </a:spcAft>
        <a:defRPr sz="4400" b="1">
          <a:solidFill>
            <a:srgbClr val="003366"/>
          </a:solidFill>
          <a:latin typeface="Trebuchet MS" pitchFamily="34" charset="0"/>
        </a:defRPr>
      </a:lvl3pPr>
      <a:lvl4pPr algn="l" rtl="0" eaLnBrk="0" fontAlgn="base" hangingPunct="0">
        <a:spcBef>
          <a:spcPct val="0"/>
        </a:spcBef>
        <a:spcAft>
          <a:spcPct val="0"/>
        </a:spcAft>
        <a:defRPr sz="4400" b="1">
          <a:solidFill>
            <a:srgbClr val="003366"/>
          </a:solidFill>
          <a:latin typeface="Trebuchet MS" pitchFamily="34" charset="0"/>
        </a:defRPr>
      </a:lvl4pPr>
      <a:lvl5pPr algn="l" rtl="0" eaLnBrk="0" fontAlgn="base" hangingPunct="0">
        <a:spcBef>
          <a:spcPct val="0"/>
        </a:spcBef>
        <a:spcAft>
          <a:spcPct val="0"/>
        </a:spcAft>
        <a:defRPr sz="4400" b="1">
          <a:solidFill>
            <a:srgbClr val="003366"/>
          </a:solidFill>
          <a:latin typeface="Trebuchet MS" pitchFamily="34" charset="0"/>
        </a:defRPr>
      </a:lvl5pPr>
      <a:lvl6pPr marL="457200" algn="l" rtl="0" fontAlgn="base">
        <a:spcBef>
          <a:spcPct val="0"/>
        </a:spcBef>
        <a:spcAft>
          <a:spcPct val="0"/>
        </a:spcAft>
        <a:defRPr b="1">
          <a:solidFill>
            <a:srgbClr val="003366"/>
          </a:solidFill>
          <a:latin typeface="Trebuchet MS" pitchFamily="34" charset="0"/>
        </a:defRPr>
      </a:lvl6pPr>
      <a:lvl7pPr marL="914400" algn="l" rtl="0" fontAlgn="base">
        <a:spcBef>
          <a:spcPct val="0"/>
        </a:spcBef>
        <a:spcAft>
          <a:spcPct val="0"/>
        </a:spcAft>
        <a:defRPr b="1">
          <a:solidFill>
            <a:srgbClr val="003366"/>
          </a:solidFill>
          <a:latin typeface="Trebuchet MS" pitchFamily="34" charset="0"/>
        </a:defRPr>
      </a:lvl7pPr>
      <a:lvl8pPr marL="1371600" algn="l" rtl="0" fontAlgn="base">
        <a:spcBef>
          <a:spcPct val="0"/>
        </a:spcBef>
        <a:spcAft>
          <a:spcPct val="0"/>
        </a:spcAft>
        <a:defRPr b="1">
          <a:solidFill>
            <a:srgbClr val="003366"/>
          </a:solidFill>
          <a:latin typeface="Trebuchet MS" pitchFamily="34" charset="0"/>
        </a:defRPr>
      </a:lvl8pPr>
      <a:lvl9pPr marL="1828800" algn="l" rtl="0" fontAlgn="base">
        <a:spcBef>
          <a:spcPct val="0"/>
        </a:spcBef>
        <a:spcAft>
          <a:spcPct val="0"/>
        </a:spcAft>
        <a:defRPr b="1">
          <a:solidFill>
            <a:srgbClr val="003366"/>
          </a:solidFill>
          <a:latin typeface="Trebuchet MS" pitchFamily="34" charset="0"/>
        </a:defRPr>
      </a:lvl9pPr>
    </p:titleStyle>
    <p:bodyStyle>
      <a:lvl1pPr marL="342900" indent="-342900" algn="l" rtl="0" eaLnBrk="0" fontAlgn="base" hangingPunct="0">
        <a:spcBef>
          <a:spcPct val="20000"/>
        </a:spcBef>
        <a:spcAft>
          <a:spcPct val="0"/>
        </a:spcAft>
        <a:buChar char="•"/>
        <a:defRPr sz="3200">
          <a:solidFill>
            <a:srgbClr val="003366"/>
          </a:solidFill>
          <a:latin typeface="+mn-lt"/>
          <a:ea typeface="+mn-ea"/>
          <a:cs typeface="+mn-cs"/>
        </a:defRPr>
      </a:lvl1pPr>
      <a:lvl2pPr marL="742950" indent="-285750" algn="l" rtl="0" eaLnBrk="0" fontAlgn="base" hangingPunct="0">
        <a:spcBef>
          <a:spcPct val="20000"/>
        </a:spcBef>
        <a:spcAft>
          <a:spcPct val="0"/>
        </a:spcAft>
        <a:buChar char="–"/>
        <a:defRPr sz="2800">
          <a:solidFill>
            <a:srgbClr val="003366"/>
          </a:solidFill>
          <a:latin typeface="+mn-lt"/>
        </a:defRPr>
      </a:lvl2pPr>
      <a:lvl3pPr marL="1143000" indent="-228600" algn="l" rtl="0" eaLnBrk="0" fontAlgn="base" hangingPunct="0">
        <a:spcBef>
          <a:spcPct val="20000"/>
        </a:spcBef>
        <a:spcAft>
          <a:spcPct val="0"/>
        </a:spcAft>
        <a:buChar char="•"/>
        <a:defRPr sz="2400">
          <a:solidFill>
            <a:srgbClr val="003366"/>
          </a:solidFill>
          <a:latin typeface="+mn-lt"/>
        </a:defRPr>
      </a:lvl3pPr>
      <a:lvl4pPr marL="1600200" indent="-228600" algn="l" rtl="0" eaLnBrk="0" fontAlgn="base" hangingPunct="0">
        <a:spcBef>
          <a:spcPct val="20000"/>
        </a:spcBef>
        <a:spcAft>
          <a:spcPct val="0"/>
        </a:spcAft>
        <a:buChar char="–"/>
        <a:defRPr sz="2000">
          <a:solidFill>
            <a:srgbClr val="003366"/>
          </a:solidFill>
          <a:latin typeface="+mn-lt"/>
        </a:defRPr>
      </a:lvl4pPr>
      <a:lvl5pPr marL="2057400" indent="-228600" algn="l" rtl="0" eaLnBrk="0" fontAlgn="base" hangingPunct="0">
        <a:spcBef>
          <a:spcPct val="20000"/>
        </a:spcBef>
        <a:spcAft>
          <a:spcPct val="0"/>
        </a:spcAft>
        <a:buChar char="»"/>
        <a:defRPr sz="2000">
          <a:solidFill>
            <a:srgbClr val="003366"/>
          </a:solidFill>
          <a:latin typeface="+mn-lt"/>
        </a:defRPr>
      </a:lvl5pPr>
      <a:lvl6pPr marL="2514600" indent="-228600" algn="l" rtl="0" fontAlgn="base">
        <a:spcBef>
          <a:spcPct val="20000"/>
        </a:spcBef>
        <a:spcAft>
          <a:spcPct val="0"/>
        </a:spcAft>
        <a:buChar char="»"/>
        <a:defRPr sz="2000">
          <a:solidFill>
            <a:srgbClr val="003366"/>
          </a:solidFill>
          <a:latin typeface="+mn-lt"/>
        </a:defRPr>
      </a:lvl6pPr>
      <a:lvl7pPr marL="2971800" indent="-228600" algn="l" rtl="0" fontAlgn="base">
        <a:spcBef>
          <a:spcPct val="20000"/>
        </a:spcBef>
        <a:spcAft>
          <a:spcPct val="0"/>
        </a:spcAft>
        <a:buChar char="»"/>
        <a:defRPr sz="2000">
          <a:solidFill>
            <a:srgbClr val="003366"/>
          </a:solidFill>
          <a:latin typeface="+mn-lt"/>
        </a:defRPr>
      </a:lvl7pPr>
      <a:lvl8pPr marL="3429000" indent="-228600" algn="l" rtl="0" fontAlgn="base">
        <a:spcBef>
          <a:spcPct val="20000"/>
        </a:spcBef>
        <a:spcAft>
          <a:spcPct val="0"/>
        </a:spcAft>
        <a:buChar char="»"/>
        <a:defRPr sz="2000">
          <a:solidFill>
            <a:srgbClr val="003366"/>
          </a:solidFill>
          <a:latin typeface="+mn-lt"/>
        </a:defRPr>
      </a:lvl8pPr>
      <a:lvl9pPr marL="3886200" indent="-228600" algn="l" rtl="0" fontAlgn="base">
        <a:spcBef>
          <a:spcPct val="20000"/>
        </a:spcBef>
        <a:spcAft>
          <a:spcPct val="0"/>
        </a:spcAft>
        <a:buChar char="»"/>
        <a:defRPr sz="2000">
          <a:solidFill>
            <a:srgbClr val="003366"/>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Picture 3" descr="rodape.jpg"/>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588" y="6423025"/>
            <a:ext cx="9144001"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9" name="Rectangle 2"/>
          <p:cNvSpPr>
            <a:spLocks noGrp="1" noChangeArrowheads="1"/>
          </p:cNvSpPr>
          <p:nvPr>
            <p:ph type="title"/>
          </p:nvPr>
        </p:nvSpPr>
        <p:spPr bwMode="auto">
          <a:xfrm>
            <a:off x="284163" y="333375"/>
            <a:ext cx="6192837"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pt-BR" smtClean="0"/>
              <a:t>D</a:t>
            </a:r>
          </a:p>
        </p:txBody>
      </p:sp>
      <p:sp>
        <p:nvSpPr>
          <p:cNvPr id="1028" name="Rectangle 3"/>
          <p:cNvSpPr>
            <a:spLocks noChangeArrowheads="1"/>
          </p:cNvSpPr>
          <p:nvPr/>
        </p:nvSpPr>
        <p:spPr bwMode="auto">
          <a:xfrm>
            <a:off x="328613" y="7794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endParaRPr lang="en-US" sz="3200">
              <a:solidFill>
                <a:srgbClr val="003366"/>
              </a:solidFill>
            </a:endParaRPr>
          </a:p>
        </p:txBody>
      </p:sp>
      <p:sp>
        <p:nvSpPr>
          <p:cNvPr id="1029" name="Rectangle 3"/>
          <p:cNvSpPr>
            <a:spLocks noChangeArrowheads="1"/>
          </p:cNvSpPr>
          <p:nvPr/>
        </p:nvSpPr>
        <p:spPr bwMode="auto">
          <a:xfrm>
            <a:off x="328613" y="7921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r>
              <a:rPr lang="pt-BR" sz="3200">
                <a:solidFill>
                  <a:srgbClr val="003366"/>
                </a:solidFill>
              </a:rPr>
              <a:t> </a:t>
            </a:r>
          </a:p>
        </p:txBody>
      </p:sp>
    </p:spTree>
    <p:extLst>
      <p:ext uri="{BB962C8B-B14F-4D97-AF65-F5344CB8AC3E}">
        <p14:creationId xmlns:p14="http://schemas.microsoft.com/office/powerpoint/2010/main" val="53816471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hf hdr="0" ftr="0" dt="0"/>
  <p:txStyles>
    <p:titleStyle>
      <a:lvl1pPr algn="l" rtl="0" eaLnBrk="0" fontAlgn="base" hangingPunct="0">
        <a:spcBef>
          <a:spcPct val="0"/>
        </a:spcBef>
        <a:spcAft>
          <a:spcPct val="0"/>
        </a:spcAft>
        <a:defRPr sz="4400" b="1">
          <a:solidFill>
            <a:srgbClr val="003366"/>
          </a:solidFill>
          <a:latin typeface="+mj-lt"/>
          <a:ea typeface="+mj-ea"/>
          <a:cs typeface="+mj-cs"/>
        </a:defRPr>
      </a:lvl1pPr>
      <a:lvl2pPr algn="l" rtl="0" eaLnBrk="0" fontAlgn="base" hangingPunct="0">
        <a:spcBef>
          <a:spcPct val="0"/>
        </a:spcBef>
        <a:spcAft>
          <a:spcPct val="0"/>
        </a:spcAft>
        <a:defRPr sz="4400" b="1">
          <a:solidFill>
            <a:srgbClr val="003366"/>
          </a:solidFill>
          <a:latin typeface="Trebuchet MS" pitchFamily="34" charset="0"/>
        </a:defRPr>
      </a:lvl2pPr>
      <a:lvl3pPr algn="l" rtl="0" eaLnBrk="0" fontAlgn="base" hangingPunct="0">
        <a:spcBef>
          <a:spcPct val="0"/>
        </a:spcBef>
        <a:spcAft>
          <a:spcPct val="0"/>
        </a:spcAft>
        <a:defRPr sz="4400" b="1">
          <a:solidFill>
            <a:srgbClr val="003366"/>
          </a:solidFill>
          <a:latin typeface="Trebuchet MS" pitchFamily="34" charset="0"/>
        </a:defRPr>
      </a:lvl3pPr>
      <a:lvl4pPr algn="l" rtl="0" eaLnBrk="0" fontAlgn="base" hangingPunct="0">
        <a:spcBef>
          <a:spcPct val="0"/>
        </a:spcBef>
        <a:spcAft>
          <a:spcPct val="0"/>
        </a:spcAft>
        <a:defRPr sz="4400" b="1">
          <a:solidFill>
            <a:srgbClr val="003366"/>
          </a:solidFill>
          <a:latin typeface="Trebuchet MS" pitchFamily="34" charset="0"/>
        </a:defRPr>
      </a:lvl4pPr>
      <a:lvl5pPr algn="l" rtl="0" eaLnBrk="0" fontAlgn="base" hangingPunct="0">
        <a:spcBef>
          <a:spcPct val="0"/>
        </a:spcBef>
        <a:spcAft>
          <a:spcPct val="0"/>
        </a:spcAft>
        <a:defRPr sz="4400" b="1">
          <a:solidFill>
            <a:srgbClr val="003366"/>
          </a:solidFill>
          <a:latin typeface="Trebuchet MS" pitchFamily="34" charset="0"/>
        </a:defRPr>
      </a:lvl5pPr>
      <a:lvl6pPr marL="457200" algn="l" rtl="0" fontAlgn="base">
        <a:spcBef>
          <a:spcPct val="0"/>
        </a:spcBef>
        <a:spcAft>
          <a:spcPct val="0"/>
        </a:spcAft>
        <a:defRPr b="1">
          <a:solidFill>
            <a:srgbClr val="003366"/>
          </a:solidFill>
          <a:latin typeface="Trebuchet MS" pitchFamily="34" charset="0"/>
        </a:defRPr>
      </a:lvl6pPr>
      <a:lvl7pPr marL="914400" algn="l" rtl="0" fontAlgn="base">
        <a:spcBef>
          <a:spcPct val="0"/>
        </a:spcBef>
        <a:spcAft>
          <a:spcPct val="0"/>
        </a:spcAft>
        <a:defRPr b="1">
          <a:solidFill>
            <a:srgbClr val="003366"/>
          </a:solidFill>
          <a:latin typeface="Trebuchet MS" pitchFamily="34" charset="0"/>
        </a:defRPr>
      </a:lvl7pPr>
      <a:lvl8pPr marL="1371600" algn="l" rtl="0" fontAlgn="base">
        <a:spcBef>
          <a:spcPct val="0"/>
        </a:spcBef>
        <a:spcAft>
          <a:spcPct val="0"/>
        </a:spcAft>
        <a:defRPr b="1">
          <a:solidFill>
            <a:srgbClr val="003366"/>
          </a:solidFill>
          <a:latin typeface="Trebuchet MS" pitchFamily="34" charset="0"/>
        </a:defRPr>
      </a:lvl8pPr>
      <a:lvl9pPr marL="1828800" algn="l" rtl="0" fontAlgn="base">
        <a:spcBef>
          <a:spcPct val="0"/>
        </a:spcBef>
        <a:spcAft>
          <a:spcPct val="0"/>
        </a:spcAft>
        <a:defRPr b="1">
          <a:solidFill>
            <a:srgbClr val="003366"/>
          </a:solidFill>
          <a:latin typeface="Trebuchet MS" pitchFamily="34" charset="0"/>
        </a:defRPr>
      </a:lvl9pPr>
    </p:titleStyle>
    <p:bodyStyle>
      <a:lvl1pPr marL="342900" indent="-342900" algn="l" rtl="0" eaLnBrk="0" fontAlgn="base" hangingPunct="0">
        <a:spcBef>
          <a:spcPct val="20000"/>
        </a:spcBef>
        <a:spcAft>
          <a:spcPct val="0"/>
        </a:spcAft>
        <a:buChar char="•"/>
        <a:defRPr sz="3200">
          <a:solidFill>
            <a:srgbClr val="003366"/>
          </a:solidFill>
          <a:latin typeface="+mn-lt"/>
          <a:ea typeface="+mn-ea"/>
          <a:cs typeface="+mn-cs"/>
        </a:defRPr>
      </a:lvl1pPr>
      <a:lvl2pPr marL="742950" indent="-285750" algn="l" rtl="0" eaLnBrk="0" fontAlgn="base" hangingPunct="0">
        <a:spcBef>
          <a:spcPct val="20000"/>
        </a:spcBef>
        <a:spcAft>
          <a:spcPct val="0"/>
        </a:spcAft>
        <a:buChar char="–"/>
        <a:defRPr sz="2800">
          <a:solidFill>
            <a:srgbClr val="003366"/>
          </a:solidFill>
          <a:latin typeface="+mn-lt"/>
        </a:defRPr>
      </a:lvl2pPr>
      <a:lvl3pPr marL="1143000" indent="-228600" algn="l" rtl="0" eaLnBrk="0" fontAlgn="base" hangingPunct="0">
        <a:spcBef>
          <a:spcPct val="20000"/>
        </a:spcBef>
        <a:spcAft>
          <a:spcPct val="0"/>
        </a:spcAft>
        <a:buChar char="•"/>
        <a:defRPr sz="2400">
          <a:solidFill>
            <a:srgbClr val="003366"/>
          </a:solidFill>
          <a:latin typeface="+mn-lt"/>
        </a:defRPr>
      </a:lvl3pPr>
      <a:lvl4pPr marL="1600200" indent="-228600" algn="l" rtl="0" eaLnBrk="0" fontAlgn="base" hangingPunct="0">
        <a:spcBef>
          <a:spcPct val="20000"/>
        </a:spcBef>
        <a:spcAft>
          <a:spcPct val="0"/>
        </a:spcAft>
        <a:buChar char="–"/>
        <a:defRPr sz="2000">
          <a:solidFill>
            <a:srgbClr val="003366"/>
          </a:solidFill>
          <a:latin typeface="+mn-lt"/>
        </a:defRPr>
      </a:lvl4pPr>
      <a:lvl5pPr marL="2057400" indent="-228600" algn="l" rtl="0" eaLnBrk="0" fontAlgn="base" hangingPunct="0">
        <a:spcBef>
          <a:spcPct val="20000"/>
        </a:spcBef>
        <a:spcAft>
          <a:spcPct val="0"/>
        </a:spcAft>
        <a:buChar char="»"/>
        <a:defRPr sz="2000">
          <a:solidFill>
            <a:srgbClr val="003366"/>
          </a:solidFill>
          <a:latin typeface="+mn-lt"/>
        </a:defRPr>
      </a:lvl5pPr>
      <a:lvl6pPr marL="2514600" indent="-228600" algn="l" rtl="0" fontAlgn="base">
        <a:spcBef>
          <a:spcPct val="20000"/>
        </a:spcBef>
        <a:spcAft>
          <a:spcPct val="0"/>
        </a:spcAft>
        <a:buChar char="»"/>
        <a:defRPr sz="2000">
          <a:solidFill>
            <a:srgbClr val="003366"/>
          </a:solidFill>
          <a:latin typeface="+mn-lt"/>
        </a:defRPr>
      </a:lvl6pPr>
      <a:lvl7pPr marL="2971800" indent="-228600" algn="l" rtl="0" fontAlgn="base">
        <a:spcBef>
          <a:spcPct val="20000"/>
        </a:spcBef>
        <a:spcAft>
          <a:spcPct val="0"/>
        </a:spcAft>
        <a:buChar char="»"/>
        <a:defRPr sz="2000">
          <a:solidFill>
            <a:srgbClr val="003366"/>
          </a:solidFill>
          <a:latin typeface="+mn-lt"/>
        </a:defRPr>
      </a:lvl7pPr>
      <a:lvl8pPr marL="3429000" indent="-228600" algn="l" rtl="0" fontAlgn="base">
        <a:spcBef>
          <a:spcPct val="20000"/>
        </a:spcBef>
        <a:spcAft>
          <a:spcPct val="0"/>
        </a:spcAft>
        <a:buChar char="»"/>
        <a:defRPr sz="2000">
          <a:solidFill>
            <a:srgbClr val="003366"/>
          </a:solidFill>
          <a:latin typeface="+mn-lt"/>
        </a:defRPr>
      </a:lvl8pPr>
      <a:lvl9pPr marL="3886200" indent="-228600" algn="l" rtl="0" fontAlgn="base">
        <a:spcBef>
          <a:spcPct val="20000"/>
        </a:spcBef>
        <a:spcAft>
          <a:spcPct val="0"/>
        </a:spcAft>
        <a:buChar char="»"/>
        <a:defRPr sz="2000">
          <a:solidFill>
            <a:srgbClr val="003366"/>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Picture 3" descr="rodape.jpg"/>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588" y="6423025"/>
            <a:ext cx="9144001"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9" name="Rectangle 2"/>
          <p:cNvSpPr>
            <a:spLocks noGrp="1" noChangeArrowheads="1"/>
          </p:cNvSpPr>
          <p:nvPr>
            <p:ph type="title"/>
          </p:nvPr>
        </p:nvSpPr>
        <p:spPr bwMode="auto">
          <a:xfrm>
            <a:off x="284163" y="333375"/>
            <a:ext cx="6192837"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pt-BR" smtClean="0"/>
              <a:t>D</a:t>
            </a:r>
          </a:p>
        </p:txBody>
      </p:sp>
      <p:sp>
        <p:nvSpPr>
          <p:cNvPr id="1028" name="Rectangle 3"/>
          <p:cNvSpPr>
            <a:spLocks noChangeArrowheads="1"/>
          </p:cNvSpPr>
          <p:nvPr/>
        </p:nvSpPr>
        <p:spPr bwMode="auto">
          <a:xfrm>
            <a:off x="328613" y="7794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endParaRPr lang="en-US" sz="3200">
              <a:solidFill>
                <a:srgbClr val="003366"/>
              </a:solidFill>
            </a:endParaRPr>
          </a:p>
        </p:txBody>
      </p:sp>
      <p:sp>
        <p:nvSpPr>
          <p:cNvPr id="1029" name="Rectangle 3"/>
          <p:cNvSpPr>
            <a:spLocks noChangeArrowheads="1"/>
          </p:cNvSpPr>
          <p:nvPr/>
        </p:nvSpPr>
        <p:spPr bwMode="auto">
          <a:xfrm>
            <a:off x="328613" y="7921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r>
              <a:rPr lang="pt-BR" sz="3200">
                <a:solidFill>
                  <a:srgbClr val="003366"/>
                </a:solidFill>
              </a:rPr>
              <a:t> </a:t>
            </a:r>
          </a:p>
        </p:txBody>
      </p:sp>
    </p:spTree>
    <p:extLst>
      <p:ext uri="{BB962C8B-B14F-4D97-AF65-F5344CB8AC3E}">
        <p14:creationId xmlns:p14="http://schemas.microsoft.com/office/powerpoint/2010/main" val="42212739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rtl="0" eaLnBrk="0" fontAlgn="base" hangingPunct="0">
        <a:spcBef>
          <a:spcPct val="0"/>
        </a:spcBef>
        <a:spcAft>
          <a:spcPct val="0"/>
        </a:spcAft>
        <a:defRPr sz="4400" b="1">
          <a:solidFill>
            <a:srgbClr val="003366"/>
          </a:solidFill>
          <a:latin typeface="+mj-lt"/>
          <a:ea typeface="+mj-ea"/>
          <a:cs typeface="+mj-cs"/>
        </a:defRPr>
      </a:lvl1pPr>
      <a:lvl2pPr algn="l" rtl="0" eaLnBrk="0" fontAlgn="base" hangingPunct="0">
        <a:spcBef>
          <a:spcPct val="0"/>
        </a:spcBef>
        <a:spcAft>
          <a:spcPct val="0"/>
        </a:spcAft>
        <a:defRPr sz="4400" b="1">
          <a:solidFill>
            <a:srgbClr val="003366"/>
          </a:solidFill>
          <a:latin typeface="Trebuchet MS" pitchFamily="34" charset="0"/>
        </a:defRPr>
      </a:lvl2pPr>
      <a:lvl3pPr algn="l" rtl="0" eaLnBrk="0" fontAlgn="base" hangingPunct="0">
        <a:spcBef>
          <a:spcPct val="0"/>
        </a:spcBef>
        <a:spcAft>
          <a:spcPct val="0"/>
        </a:spcAft>
        <a:defRPr sz="4400" b="1">
          <a:solidFill>
            <a:srgbClr val="003366"/>
          </a:solidFill>
          <a:latin typeface="Trebuchet MS" pitchFamily="34" charset="0"/>
        </a:defRPr>
      </a:lvl3pPr>
      <a:lvl4pPr algn="l" rtl="0" eaLnBrk="0" fontAlgn="base" hangingPunct="0">
        <a:spcBef>
          <a:spcPct val="0"/>
        </a:spcBef>
        <a:spcAft>
          <a:spcPct val="0"/>
        </a:spcAft>
        <a:defRPr sz="4400" b="1">
          <a:solidFill>
            <a:srgbClr val="003366"/>
          </a:solidFill>
          <a:latin typeface="Trebuchet MS" pitchFamily="34" charset="0"/>
        </a:defRPr>
      </a:lvl4pPr>
      <a:lvl5pPr algn="l" rtl="0" eaLnBrk="0" fontAlgn="base" hangingPunct="0">
        <a:spcBef>
          <a:spcPct val="0"/>
        </a:spcBef>
        <a:spcAft>
          <a:spcPct val="0"/>
        </a:spcAft>
        <a:defRPr sz="4400" b="1">
          <a:solidFill>
            <a:srgbClr val="003366"/>
          </a:solidFill>
          <a:latin typeface="Trebuchet MS" pitchFamily="34" charset="0"/>
        </a:defRPr>
      </a:lvl5pPr>
      <a:lvl6pPr marL="457200" algn="l" rtl="0" fontAlgn="base">
        <a:spcBef>
          <a:spcPct val="0"/>
        </a:spcBef>
        <a:spcAft>
          <a:spcPct val="0"/>
        </a:spcAft>
        <a:defRPr b="1">
          <a:solidFill>
            <a:srgbClr val="003366"/>
          </a:solidFill>
          <a:latin typeface="Trebuchet MS" pitchFamily="34" charset="0"/>
        </a:defRPr>
      </a:lvl6pPr>
      <a:lvl7pPr marL="914400" algn="l" rtl="0" fontAlgn="base">
        <a:spcBef>
          <a:spcPct val="0"/>
        </a:spcBef>
        <a:spcAft>
          <a:spcPct val="0"/>
        </a:spcAft>
        <a:defRPr b="1">
          <a:solidFill>
            <a:srgbClr val="003366"/>
          </a:solidFill>
          <a:latin typeface="Trebuchet MS" pitchFamily="34" charset="0"/>
        </a:defRPr>
      </a:lvl7pPr>
      <a:lvl8pPr marL="1371600" algn="l" rtl="0" fontAlgn="base">
        <a:spcBef>
          <a:spcPct val="0"/>
        </a:spcBef>
        <a:spcAft>
          <a:spcPct val="0"/>
        </a:spcAft>
        <a:defRPr b="1">
          <a:solidFill>
            <a:srgbClr val="003366"/>
          </a:solidFill>
          <a:latin typeface="Trebuchet MS" pitchFamily="34" charset="0"/>
        </a:defRPr>
      </a:lvl8pPr>
      <a:lvl9pPr marL="1828800" algn="l" rtl="0" fontAlgn="base">
        <a:spcBef>
          <a:spcPct val="0"/>
        </a:spcBef>
        <a:spcAft>
          <a:spcPct val="0"/>
        </a:spcAft>
        <a:defRPr b="1">
          <a:solidFill>
            <a:srgbClr val="003366"/>
          </a:solidFill>
          <a:latin typeface="Trebuchet MS" pitchFamily="34" charset="0"/>
        </a:defRPr>
      </a:lvl9pPr>
    </p:titleStyle>
    <p:bodyStyle>
      <a:lvl1pPr marL="342900" indent="-342900" algn="l" rtl="0" eaLnBrk="0" fontAlgn="base" hangingPunct="0">
        <a:spcBef>
          <a:spcPct val="20000"/>
        </a:spcBef>
        <a:spcAft>
          <a:spcPct val="0"/>
        </a:spcAft>
        <a:buChar char="•"/>
        <a:defRPr sz="3200">
          <a:solidFill>
            <a:srgbClr val="003366"/>
          </a:solidFill>
          <a:latin typeface="+mn-lt"/>
          <a:ea typeface="+mn-ea"/>
          <a:cs typeface="+mn-cs"/>
        </a:defRPr>
      </a:lvl1pPr>
      <a:lvl2pPr marL="742950" indent="-285750" algn="l" rtl="0" eaLnBrk="0" fontAlgn="base" hangingPunct="0">
        <a:spcBef>
          <a:spcPct val="20000"/>
        </a:spcBef>
        <a:spcAft>
          <a:spcPct val="0"/>
        </a:spcAft>
        <a:buChar char="–"/>
        <a:defRPr sz="2800">
          <a:solidFill>
            <a:srgbClr val="003366"/>
          </a:solidFill>
          <a:latin typeface="+mn-lt"/>
        </a:defRPr>
      </a:lvl2pPr>
      <a:lvl3pPr marL="1143000" indent="-228600" algn="l" rtl="0" eaLnBrk="0" fontAlgn="base" hangingPunct="0">
        <a:spcBef>
          <a:spcPct val="20000"/>
        </a:spcBef>
        <a:spcAft>
          <a:spcPct val="0"/>
        </a:spcAft>
        <a:buChar char="•"/>
        <a:defRPr sz="2400">
          <a:solidFill>
            <a:srgbClr val="003366"/>
          </a:solidFill>
          <a:latin typeface="+mn-lt"/>
        </a:defRPr>
      </a:lvl3pPr>
      <a:lvl4pPr marL="1600200" indent="-228600" algn="l" rtl="0" eaLnBrk="0" fontAlgn="base" hangingPunct="0">
        <a:spcBef>
          <a:spcPct val="20000"/>
        </a:spcBef>
        <a:spcAft>
          <a:spcPct val="0"/>
        </a:spcAft>
        <a:buChar char="–"/>
        <a:defRPr sz="2000">
          <a:solidFill>
            <a:srgbClr val="003366"/>
          </a:solidFill>
          <a:latin typeface="+mn-lt"/>
        </a:defRPr>
      </a:lvl4pPr>
      <a:lvl5pPr marL="2057400" indent="-228600" algn="l" rtl="0" eaLnBrk="0" fontAlgn="base" hangingPunct="0">
        <a:spcBef>
          <a:spcPct val="20000"/>
        </a:spcBef>
        <a:spcAft>
          <a:spcPct val="0"/>
        </a:spcAft>
        <a:buChar char="»"/>
        <a:defRPr sz="2000">
          <a:solidFill>
            <a:srgbClr val="003366"/>
          </a:solidFill>
          <a:latin typeface="+mn-lt"/>
        </a:defRPr>
      </a:lvl5pPr>
      <a:lvl6pPr marL="2514600" indent="-228600" algn="l" rtl="0" fontAlgn="base">
        <a:spcBef>
          <a:spcPct val="20000"/>
        </a:spcBef>
        <a:spcAft>
          <a:spcPct val="0"/>
        </a:spcAft>
        <a:buChar char="»"/>
        <a:defRPr sz="2000">
          <a:solidFill>
            <a:srgbClr val="003366"/>
          </a:solidFill>
          <a:latin typeface="+mn-lt"/>
        </a:defRPr>
      </a:lvl6pPr>
      <a:lvl7pPr marL="2971800" indent="-228600" algn="l" rtl="0" fontAlgn="base">
        <a:spcBef>
          <a:spcPct val="20000"/>
        </a:spcBef>
        <a:spcAft>
          <a:spcPct val="0"/>
        </a:spcAft>
        <a:buChar char="»"/>
        <a:defRPr sz="2000">
          <a:solidFill>
            <a:srgbClr val="003366"/>
          </a:solidFill>
          <a:latin typeface="+mn-lt"/>
        </a:defRPr>
      </a:lvl7pPr>
      <a:lvl8pPr marL="3429000" indent="-228600" algn="l" rtl="0" fontAlgn="base">
        <a:spcBef>
          <a:spcPct val="20000"/>
        </a:spcBef>
        <a:spcAft>
          <a:spcPct val="0"/>
        </a:spcAft>
        <a:buChar char="»"/>
        <a:defRPr sz="2000">
          <a:solidFill>
            <a:srgbClr val="003366"/>
          </a:solidFill>
          <a:latin typeface="+mn-lt"/>
        </a:defRPr>
      </a:lvl8pPr>
      <a:lvl9pPr marL="3886200" indent="-228600" algn="l" rtl="0" fontAlgn="base">
        <a:spcBef>
          <a:spcPct val="20000"/>
        </a:spcBef>
        <a:spcAft>
          <a:spcPct val="0"/>
        </a:spcAft>
        <a:buChar char="»"/>
        <a:defRPr sz="2000">
          <a:solidFill>
            <a:srgbClr val="003366"/>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Picture 3" descr="rodape.jpg"/>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588" y="6423025"/>
            <a:ext cx="9144001"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9" name="Rectangle 2"/>
          <p:cNvSpPr>
            <a:spLocks noGrp="1" noChangeArrowheads="1"/>
          </p:cNvSpPr>
          <p:nvPr>
            <p:ph type="title"/>
          </p:nvPr>
        </p:nvSpPr>
        <p:spPr bwMode="auto">
          <a:xfrm>
            <a:off x="284163" y="333375"/>
            <a:ext cx="6192837"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pt-BR" smtClean="0"/>
              <a:t>D</a:t>
            </a:r>
          </a:p>
        </p:txBody>
      </p:sp>
      <p:sp>
        <p:nvSpPr>
          <p:cNvPr id="1028" name="Rectangle 3"/>
          <p:cNvSpPr>
            <a:spLocks noChangeArrowheads="1"/>
          </p:cNvSpPr>
          <p:nvPr/>
        </p:nvSpPr>
        <p:spPr bwMode="auto">
          <a:xfrm>
            <a:off x="328613" y="7794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endParaRPr lang="en-US" sz="3200">
              <a:solidFill>
                <a:srgbClr val="003366"/>
              </a:solidFill>
            </a:endParaRPr>
          </a:p>
        </p:txBody>
      </p:sp>
      <p:sp>
        <p:nvSpPr>
          <p:cNvPr id="1029" name="Rectangle 3"/>
          <p:cNvSpPr>
            <a:spLocks noChangeArrowheads="1"/>
          </p:cNvSpPr>
          <p:nvPr/>
        </p:nvSpPr>
        <p:spPr bwMode="auto">
          <a:xfrm>
            <a:off x="328613" y="7921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r>
              <a:rPr lang="pt-BR" sz="3200">
                <a:solidFill>
                  <a:srgbClr val="003366"/>
                </a:solidFill>
              </a:rPr>
              <a:t> </a:t>
            </a:r>
          </a:p>
        </p:txBody>
      </p:sp>
    </p:spTree>
    <p:extLst>
      <p:ext uri="{BB962C8B-B14F-4D97-AF65-F5344CB8AC3E}">
        <p14:creationId xmlns:p14="http://schemas.microsoft.com/office/powerpoint/2010/main" val="3924796512"/>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hf hdr="0" ftr="0" dt="0"/>
  <p:txStyles>
    <p:titleStyle>
      <a:lvl1pPr algn="l" rtl="0" eaLnBrk="0" fontAlgn="base" hangingPunct="0">
        <a:spcBef>
          <a:spcPct val="0"/>
        </a:spcBef>
        <a:spcAft>
          <a:spcPct val="0"/>
        </a:spcAft>
        <a:defRPr sz="4400" b="1">
          <a:solidFill>
            <a:srgbClr val="003366"/>
          </a:solidFill>
          <a:latin typeface="+mj-lt"/>
          <a:ea typeface="+mj-ea"/>
          <a:cs typeface="+mj-cs"/>
        </a:defRPr>
      </a:lvl1pPr>
      <a:lvl2pPr algn="l" rtl="0" eaLnBrk="0" fontAlgn="base" hangingPunct="0">
        <a:spcBef>
          <a:spcPct val="0"/>
        </a:spcBef>
        <a:spcAft>
          <a:spcPct val="0"/>
        </a:spcAft>
        <a:defRPr sz="4400" b="1">
          <a:solidFill>
            <a:srgbClr val="003366"/>
          </a:solidFill>
          <a:latin typeface="Trebuchet MS" pitchFamily="34" charset="0"/>
        </a:defRPr>
      </a:lvl2pPr>
      <a:lvl3pPr algn="l" rtl="0" eaLnBrk="0" fontAlgn="base" hangingPunct="0">
        <a:spcBef>
          <a:spcPct val="0"/>
        </a:spcBef>
        <a:spcAft>
          <a:spcPct val="0"/>
        </a:spcAft>
        <a:defRPr sz="4400" b="1">
          <a:solidFill>
            <a:srgbClr val="003366"/>
          </a:solidFill>
          <a:latin typeface="Trebuchet MS" pitchFamily="34" charset="0"/>
        </a:defRPr>
      </a:lvl3pPr>
      <a:lvl4pPr algn="l" rtl="0" eaLnBrk="0" fontAlgn="base" hangingPunct="0">
        <a:spcBef>
          <a:spcPct val="0"/>
        </a:spcBef>
        <a:spcAft>
          <a:spcPct val="0"/>
        </a:spcAft>
        <a:defRPr sz="4400" b="1">
          <a:solidFill>
            <a:srgbClr val="003366"/>
          </a:solidFill>
          <a:latin typeface="Trebuchet MS" pitchFamily="34" charset="0"/>
        </a:defRPr>
      </a:lvl4pPr>
      <a:lvl5pPr algn="l" rtl="0" eaLnBrk="0" fontAlgn="base" hangingPunct="0">
        <a:spcBef>
          <a:spcPct val="0"/>
        </a:spcBef>
        <a:spcAft>
          <a:spcPct val="0"/>
        </a:spcAft>
        <a:defRPr sz="4400" b="1">
          <a:solidFill>
            <a:srgbClr val="003366"/>
          </a:solidFill>
          <a:latin typeface="Trebuchet MS" pitchFamily="34" charset="0"/>
        </a:defRPr>
      </a:lvl5pPr>
      <a:lvl6pPr marL="457200" algn="l" rtl="0" fontAlgn="base">
        <a:spcBef>
          <a:spcPct val="0"/>
        </a:spcBef>
        <a:spcAft>
          <a:spcPct val="0"/>
        </a:spcAft>
        <a:defRPr b="1">
          <a:solidFill>
            <a:srgbClr val="003366"/>
          </a:solidFill>
          <a:latin typeface="Trebuchet MS" pitchFamily="34" charset="0"/>
        </a:defRPr>
      </a:lvl6pPr>
      <a:lvl7pPr marL="914400" algn="l" rtl="0" fontAlgn="base">
        <a:spcBef>
          <a:spcPct val="0"/>
        </a:spcBef>
        <a:spcAft>
          <a:spcPct val="0"/>
        </a:spcAft>
        <a:defRPr b="1">
          <a:solidFill>
            <a:srgbClr val="003366"/>
          </a:solidFill>
          <a:latin typeface="Trebuchet MS" pitchFamily="34" charset="0"/>
        </a:defRPr>
      </a:lvl7pPr>
      <a:lvl8pPr marL="1371600" algn="l" rtl="0" fontAlgn="base">
        <a:spcBef>
          <a:spcPct val="0"/>
        </a:spcBef>
        <a:spcAft>
          <a:spcPct val="0"/>
        </a:spcAft>
        <a:defRPr b="1">
          <a:solidFill>
            <a:srgbClr val="003366"/>
          </a:solidFill>
          <a:latin typeface="Trebuchet MS" pitchFamily="34" charset="0"/>
        </a:defRPr>
      </a:lvl8pPr>
      <a:lvl9pPr marL="1828800" algn="l" rtl="0" fontAlgn="base">
        <a:spcBef>
          <a:spcPct val="0"/>
        </a:spcBef>
        <a:spcAft>
          <a:spcPct val="0"/>
        </a:spcAft>
        <a:defRPr b="1">
          <a:solidFill>
            <a:srgbClr val="003366"/>
          </a:solidFill>
          <a:latin typeface="Trebuchet MS" pitchFamily="34" charset="0"/>
        </a:defRPr>
      </a:lvl9pPr>
    </p:titleStyle>
    <p:bodyStyle>
      <a:lvl1pPr marL="342900" indent="-342900" algn="l" rtl="0" eaLnBrk="0" fontAlgn="base" hangingPunct="0">
        <a:spcBef>
          <a:spcPct val="20000"/>
        </a:spcBef>
        <a:spcAft>
          <a:spcPct val="0"/>
        </a:spcAft>
        <a:buChar char="•"/>
        <a:defRPr sz="3200">
          <a:solidFill>
            <a:srgbClr val="003366"/>
          </a:solidFill>
          <a:latin typeface="+mn-lt"/>
          <a:ea typeface="+mn-ea"/>
          <a:cs typeface="+mn-cs"/>
        </a:defRPr>
      </a:lvl1pPr>
      <a:lvl2pPr marL="742950" indent="-285750" algn="l" rtl="0" eaLnBrk="0" fontAlgn="base" hangingPunct="0">
        <a:spcBef>
          <a:spcPct val="20000"/>
        </a:spcBef>
        <a:spcAft>
          <a:spcPct val="0"/>
        </a:spcAft>
        <a:buChar char="–"/>
        <a:defRPr sz="2800">
          <a:solidFill>
            <a:srgbClr val="003366"/>
          </a:solidFill>
          <a:latin typeface="+mn-lt"/>
        </a:defRPr>
      </a:lvl2pPr>
      <a:lvl3pPr marL="1143000" indent="-228600" algn="l" rtl="0" eaLnBrk="0" fontAlgn="base" hangingPunct="0">
        <a:spcBef>
          <a:spcPct val="20000"/>
        </a:spcBef>
        <a:spcAft>
          <a:spcPct val="0"/>
        </a:spcAft>
        <a:buChar char="•"/>
        <a:defRPr sz="2400">
          <a:solidFill>
            <a:srgbClr val="003366"/>
          </a:solidFill>
          <a:latin typeface="+mn-lt"/>
        </a:defRPr>
      </a:lvl3pPr>
      <a:lvl4pPr marL="1600200" indent="-228600" algn="l" rtl="0" eaLnBrk="0" fontAlgn="base" hangingPunct="0">
        <a:spcBef>
          <a:spcPct val="20000"/>
        </a:spcBef>
        <a:spcAft>
          <a:spcPct val="0"/>
        </a:spcAft>
        <a:buChar char="–"/>
        <a:defRPr sz="2000">
          <a:solidFill>
            <a:srgbClr val="003366"/>
          </a:solidFill>
          <a:latin typeface="+mn-lt"/>
        </a:defRPr>
      </a:lvl4pPr>
      <a:lvl5pPr marL="2057400" indent="-228600" algn="l" rtl="0" eaLnBrk="0" fontAlgn="base" hangingPunct="0">
        <a:spcBef>
          <a:spcPct val="20000"/>
        </a:spcBef>
        <a:spcAft>
          <a:spcPct val="0"/>
        </a:spcAft>
        <a:buChar char="»"/>
        <a:defRPr sz="2000">
          <a:solidFill>
            <a:srgbClr val="003366"/>
          </a:solidFill>
          <a:latin typeface="+mn-lt"/>
        </a:defRPr>
      </a:lvl5pPr>
      <a:lvl6pPr marL="2514600" indent="-228600" algn="l" rtl="0" fontAlgn="base">
        <a:spcBef>
          <a:spcPct val="20000"/>
        </a:spcBef>
        <a:spcAft>
          <a:spcPct val="0"/>
        </a:spcAft>
        <a:buChar char="»"/>
        <a:defRPr sz="2000">
          <a:solidFill>
            <a:srgbClr val="003366"/>
          </a:solidFill>
          <a:latin typeface="+mn-lt"/>
        </a:defRPr>
      </a:lvl6pPr>
      <a:lvl7pPr marL="2971800" indent="-228600" algn="l" rtl="0" fontAlgn="base">
        <a:spcBef>
          <a:spcPct val="20000"/>
        </a:spcBef>
        <a:spcAft>
          <a:spcPct val="0"/>
        </a:spcAft>
        <a:buChar char="»"/>
        <a:defRPr sz="2000">
          <a:solidFill>
            <a:srgbClr val="003366"/>
          </a:solidFill>
          <a:latin typeface="+mn-lt"/>
        </a:defRPr>
      </a:lvl7pPr>
      <a:lvl8pPr marL="3429000" indent="-228600" algn="l" rtl="0" fontAlgn="base">
        <a:spcBef>
          <a:spcPct val="20000"/>
        </a:spcBef>
        <a:spcAft>
          <a:spcPct val="0"/>
        </a:spcAft>
        <a:buChar char="»"/>
        <a:defRPr sz="2000">
          <a:solidFill>
            <a:srgbClr val="003366"/>
          </a:solidFill>
          <a:latin typeface="+mn-lt"/>
        </a:defRPr>
      </a:lvl8pPr>
      <a:lvl9pPr marL="3886200" indent="-228600" algn="l" rtl="0" fontAlgn="base">
        <a:spcBef>
          <a:spcPct val="20000"/>
        </a:spcBef>
        <a:spcAft>
          <a:spcPct val="0"/>
        </a:spcAft>
        <a:buChar char="»"/>
        <a:defRPr sz="2000">
          <a:solidFill>
            <a:srgbClr val="003366"/>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3" descr="rodape.jpg"/>
          <p:cNvPicPr>
            <a:picLocks noChangeAspect="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588" y="6423025"/>
            <a:ext cx="9144001"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2"/>
          <p:cNvSpPr>
            <a:spLocks noGrp="1" noChangeArrowheads="1"/>
          </p:cNvSpPr>
          <p:nvPr>
            <p:ph type="title"/>
          </p:nvPr>
        </p:nvSpPr>
        <p:spPr bwMode="auto">
          <a:xfrm>
            <a:off x="284163" y="333375"/>
            <a:ext cx="6192837"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pt-BR" smtClean="0"/>
              <a:t>D</a:t>
            </a:r>
          </a:p>
        </p:txBody>
      </p:sp>
      <p:sp>
        <p:nvSpPr>
          <p:cNvPr id="516100" name="Rectangle 3"/>
          <p:cNvSpPr>
            <a:spLocks noChangeArrowheads="1"/>
          </p:cNvSpPr>
          <p:nvPr/>
        </p:nvSpPr>
        <p:spPr bwMode="auto">
          <a:xfrm>
            <a:off x="328613" y="7794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endParaRPr lang="en-US" sz="3200">
              <a:solidFill>
                <a:srgbClr val="003366"/>
              </a:solidFill>
            </a:endParaRPr>
          </a:p>
        </p:txBody>
      </p:sp>
      <p:sp>
        <p:nvSpPr>
          <p:cNvPr id="516101" name="Rectangle 3"/>
          <p:cNvSpPr>
            <a:spLocks noChangeArrowheads="1"/>
          </p:cNvSpPr>
          <p:nvPr/>
        </p:nvSpPr>
        <p:spPr bwMode="auto">
          <a:xfrm>
            <a:off x="328613" y="792163"/>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r>
              <a:rPr lang="pt-BR" sz="3200">
                <a:solidFill>
                  <a:srgbClr val="003366"/>
                </a:solidFill>
              </a:rPr>
              <a:t> </a:t>
            </a:r>
          </a:p>
        </p:txBody>
      </p:sp>
    </p:spTree>
    <p:extLst>
      <p:ext uri="{BB962C8B-B14F-4D97-AF65-F5344CB8AC3E}">
        <p14:creationId xmlns:p14="http://schemas.microsoft.com/office/powerpoint/2010/main" val="394909262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p:hf hdr="0" ftr="0" dt="0"/>
  <p:txStyles>
    <p:titleStyle>
      <a:lvl1pPr algn="l" rtl="0" eaLnBrk="0" fontAlgn="base" hangingPunct="0">
        <a:spcBef>
          <a:spcPct val="0"/>
        </a:spcBef>
        <a:spcAft>
          <a:spcPct val="0"/>
        </a:spcAft>
        <a:defRPr b="1">
          <a:solidFill>
            <a:srgbClr val="003366"/>
          </a:solidFill>
          <a:latin typeface="+mj-lt"/>
          <a:ea typeface="+mj-ea"/>
          <a:cs typeface="+mj-cs"/>
        </a:defRPr>
      </a:lvl1pPr>
      <a:lvl2pPr algn="l" rtl="0" eaLnBrk="0" fontAlgn="base" hangingPunct="0">
        <a:spcBef>
          <a:spcPct val="0"/>
        </a:spcBef>
        <a:spcAft>
          <a:spcPct val="0"/>
        </a:spcAft>
        <a:defRPr b="1">
          <a:solidFill>
            <a:srgbClr val="003366"/>
          </a:solidFill>
          <a:latin typeface="Arial" pitchFamily="34" charset="0"/>
        </a:defRPr>
      </a:lvl2pPr>
      <a:lvl3pPr algn="l" rtl="0" eaLnBrk="0" fontAlgn="base" hangingPunct="0">
        <a:spcBef>
          <a:spcPct val="0"/>
        </a:spcBef>
        <a:spcAft>
          <a:spcPct val="0"/>
        </a:spcAft>
        <a:defRPr b="1">
          <a:solidFill>
            <a:srgbClr val="003366"/>
          </a:solidFill>
          <a:latin typeface="Arial" pitchFamily="34" charset="0"/>
        </a:defRPr>
      </a:lvl3pPr>
      <a:lvl4pPr algn="l" rtl="0" eaLnBrk="0" fontAlgn="base" hangingPunct="0">
        <a:spcBef>
          <a:spcPct val="0"/>
        </a:spcBef>
        <a:spcAft>
          <a:spcPct val="0"/>
        </a:spcAft>
        <a:defRPr b="1">
          <a:solidFill>
            <a:srgbClr val="003366"/>
          </a:solidFill>
          <a:latin typeface="Arial" pitchFamily="34" charset="0"/>
        </a:defRPr>
      </a:lvl4pPr>
      <a:lvl5pPr algn="l" rtl="0" eaLnBrk="0" fontAlgn="base" hangingPunct="0">
        <a:spcBef>
          <a:spcPct val="0"/>
        </a:spcBef>
        <a:spcAft>
          <a:spcPct val="0"/>
        </a:spcAft>
        <a:defRPr b="1">
          <a:solidFill>
            <a:srgbClr val="003366"/>
          </a:solidFill>
          <a:latin typeface="Arial" pitchFamily="34" charset="0"/>
        </a:defRPr>
      </a:lvl5pPr>
      <a:lvl6pPr marL="457200" algn="l" rtl="0" fontAlgn="base">
        <a:spcBef>
          <a:spcPct val="0"/>
        </a:spcBef>
        <a:spcAft>
          <a:spcPct val="0"/>
        </a:spcAft>
        <a:defRPr b="1">
          <a:solidFill>
            <a:srgbClr val="003366"/>
          </a:solidFill>
          <a:latin typeface="Arial" pitchFamily="34" charset="0"/>
        </a:defRPr>
      </a:lvl6pPr>
      <a:lvl7pPr marL="914400" algn="l" rtl="0" fontAlgn="base">
        <a:spcBef>
          <a:spcPct val="0"/>
        </a:spcBef>
        <a:spcAft>
          <a:spcPct val="0"/>
        </a:spcAft>
        <a:defRPr b="1">
          <a:solidFill>
            <a:srgbClr val="003366"/>
          </a:solidFill>
          <a:latin typeface="Arial" pitchFamily="34" charset="0"/>
        </a:defRPr>
      </a:lvl7pPr>
      <a:lvl8pPr marL="1371600" algn="l" rtl="0" fontAlgn="base">
        <a:spcBef>
          <a:spcPct val="0"/>
        </a:spcBef>
        <a:spcAft>
          <a:spcPct val="0"/>
        </a:spcAft>
        <a:defRPr b="1">
          <a:solidFill>
            <a:srgbClr val="003366"/>
          </a:solidFill>
          <a:latin typeface="Arial" pitchFamily="34" charset="0"/>
        </a:defRPr>
      </a:lvl8pPr>
      <a:lvl9pPr marL="1828800" algn="l" rtl="0" fontAlgn="base">
        <a:spcBef>
          <a:spcPct val="0"/>
        </a:spcBef>
        <a:spcAft>
          <a:spcPct val="0"/>
        </a:spcAft>
        <a:defRPr b="1">
          <a:solidFill>
            <a:srgbClr val="003366"/>
          </a:solidFill>
          <a:latin typeface="Arial" pitchFamily="34" charset="0"/>
        </a:defRPr>
      </a:lvl9pPr>
    </p:titleStyle>
    <p:bodyStyle>
      <a:lvl1pPr marL="342900" indent="-342900" algn="l" rtl="0" eaLnBrk="0" fontAlgn="base" hangingPunct="0">
        <a:spcBef>
          <a:spcPct val="20000"/>
        </a:spcBef>
        <a:spcAft>
          <a:spcPct val="0"/>
        </a:spcAft>
        <a:defRPr sz="3200">
          <a:solidFill>
            <a:srgbClr val="003366"/>
          </a:solidFill>
          <a:latin typeface="+mn-lt"/>
          <a:ea typeface="+mn-ea"/>
          <a:cs typeface="+mn-cs"/>
        </a:defRPr>
      </a:lvl1pPr>
      <a:lvl2pPr marL="742950" indent="-285750" algn="l" rtl="0" eaLnBrk="0" fontAlgn="base" hangingPunct="0">
        <a:spcBef>
          <a:spcPct val="20000"/>
        </a:spcBef>
        <a:spcAft>
          <a:spcPct val="0"/>
        </a:spcAft>
        <a:buChar char="–"/>
        <a:defRPr sz="2800">
          <a:solidFill>
            <a:srgbClr val="003366"/>
          </a:solidFill>
          <a:latin typeface="+mn-lt"/>
        </a:defRPr>
      </a:lvl2pPr>
      <a:lvl3pPr marL="1143000" indent="-228600" algn="l" rtl="0" eaLnBrk="0" fontAlgn="base" hangingPunct="0">
        <a:spcBef>
          <a:spcPct val="20000"/>
        </a:spcBef>
        <a:spcAft>
          <a:spcPct val="0"/>
        </a:spcAft>
        <a:buChar char="•"/>
        <a:defRPr sz="2400">
          <a:solidFill>
            <a:srgbClr val="003366"/>
          </a:solidFill>
          <a:latin typeface="+mn-lt"/>
        </a:defRPr>
      </a:lvl3pPr>
      <a:lvl4pPr marL="1600200" indent="-228600" algn="l" rtl="0" eaLnBrk="0" fontAlgn="base" hangingPunct="0">
        <a:spcBef>
          <a:spcPct val="20000"/>
        </a:spcBef>
        <a:spcAft>
          <a:spcPct val="0"/>
        </a:spcAft>
        <a:buChar char="–"/>
        <a:defRPr sz="2000">
          <a:solidFill>
            <a:srgbClr val="003366"/>
          </a:solidFill>
          <a:latin typeface="+mn-lt"/>
        </a:defRPr>
      </a:lvl4pPr>
      <a:lvl5pPr marL="2057400" indent="-228600" algn="l" rtl="0" eaLnBrk="0" fontAlgn="base" hangingPunct="0">
        <a:spcBef>
          <a:spcPct val="20000"/>
        </a:spcBef>
        <a:spcAft>
          <a:spcPct val="0"/>
        </a:spcAft>
        <a:buChar char="»"/>
        <a:defRPr sz="2000">
          <a:solidFill>
            <a:srgbClr val="003366"/>
          </a:solidFill>
          <a:latin typeface="+mn-lt"/>
        </a:defRPr>
      </a:lvl5pPr>
      <a:lvl6pPr marL="2514600" indent="-228600" algn="l" rtl="0" fontAlgn="base">
        <a:spcBef>
          <a:spcPct val="20000"/>
        </a:spcBef>
        <a:spcAft>
          <a:spcPct val="0"/>
        </a:spcAft>
        <a:buChar char="»"/>
        <a:defRPr sz="2000">
          <a:solidFill>
            <a:srgbClr val="003366"/>
          </a:solidFill>
          <a:latin typeface="+mn-lt"/>
        </a:defRPr>
      </a:lvl6pPr>
      <a:lvl7pPr marL="2971800" indent="-228600" algn="l" rtl="0" fontAlgn="base">
        <a:spcBef>
          <a:spcPct val="20000"/>
        </a:spcBef>
        <a:spcAft>
          <a:spcPct val="0"/>
        </a:spcAft>
        <a:buChar char="»"/>
        <a:defRPr sz="2000">
          <a:solidFill>
            <a:srgbClr val="003366"/>
          </a:solidFill>
          <a:latin typeface="+mn-lt"/>
        </a:defRPr>
      </a:lvl7pPr>
      <a:lvl8pPr marL="3429000" indent="-228600" algn="l" rtl="0" fontAlgn="base">
        <a:spcBef>
          <a:spcPct val="20000"/>
        </a:spcBef>
        <a:spcAft>
          <a:spcPct val="0"/>
        </a:spcAft>
        <a:buChar char="»"/>
        <a:defRPr sz="2000">
          <a:solidFill>
            <a:srgbClr val="003366"/>
          </a:solidFill>
          <a:latin typeface="+mn-lt"/>
        </a:defRPr>
      </a:lvl8pPr>
      <a:lvl9pPr marL="3886200" indent="-228600" algn="l" rtl="0" fontAlgn="base">
        <a:spcBef>
          <a:spcPct val="20000"/>
        </a:spcBef>
        <a:spcAft>
          <a:spcPct val="0"/>
        </a:spcAft>
        <a:buChar char="»"/>
        <a:defRPr sz="2000">
          <a:solidFill>
            <a:srgbClr val="003366"/>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Picture 3" descr="rodape.jp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88" y="6423025"/>
            <a:ext cx="9144001"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ChangeArrowheads="1"/>
          </p:cNvSpPr>
          <p:nvPr/>
        </p:nvSpPr>
        <p:spPr bwMode="auto">
          <a:xfrm>
            <a:off x="328614" y="779465"/>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endParaRPr lang="en-US" sz="3200">
              <a:solidFill>
                <a:srgbClr val="003366"/>
              </a:solidFill>
            </a:endParaRPr>
          </a:p>
        </p:txBody>
      </p:sp>
      <p:sp>
        <p:nvSpPr>
          <p:cNvPr id="1029" name="Rectangle 3"/>
          <p:cNvSpPr>
            <a:spLocks noChangeArrowheads="1"/>
          </p:cNvSpPr>
          <p:nvPr/>
        </p:nvSpPr>
        <p:spPr bwMode="auto">
          <a:xfrm>
            <a:off x="328614" y="792165"/>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r>
              <a:rPr lang="pt-BR" sz="3200">
                <a:solidFill>
                  <a:srgbClr val="003366"/>
                </a:solidFill>
              </a:rPr>
              <a:t> </a:t>
            </a:r>
          </a:p>
        </p:txBody>
      </p:sp>
      <p:sp>
        <p:nvSpPr>
          <p:cNvPr id="5" name="Rectangle 6"/>
          <p:cNvSpPr>
            <a:spLocks noGrp="1" noChangeArrowheads="1"/>
          </p:cNvSpPr>
          <p:nvPr>
            <p:ph type="sldNum" sz="quarter" idx="4"/>
          </p:nvPr>
        </p:nvSpPr>
        <p:spPr>
          <a:xfrm>
            <a:off x="7010400" y="6423025"/>
            <a:ext cx="2133600"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414051076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Lst>
  <p:timing>
    <p:tnLst>
      <p:par>
        <p:cTn id="1" dur="indefinite" restart="never" nodeType="tmRoot"/>
      </p:par>
    </p:tnLst>
  </p:timing>
  <p:hf hdr="0" ftr="0" dt="0"/>
  <p:txStyles>
    <p:titleStyle>
      <a:lvl1pPr algn="l" rtl="0" eaLnBrk="1" fontAlgn="base" hangingPunct="1">
        <a:spcBef>
          <a:spcPct val="0"/>
        </a:spcBef>
        <a:spcAft>
          <a:spcPct val="0"/>
        </a:spcAft>
        <a:defRPr sz="4400" b="1">
          <a:solidFill>
            <a:srgbClr val="003366"/>
          </a:solidFill>
          <a:latin typeface="+mj-lt"/>
          <a:ea typeface="+mj-ea"/>
          <a:cs typeface="+mj-cs"/>
        </a:defRPr>
      </a:lvl1pPr>
      <a:lvl2pPr algn="l" rtl="0" eaLnBrk="1" fontAlgn="base" hangingPunct="1">
        <a:spcBef>
          <a:spcPct val="0"/>
        </a:spcBef>
        <a:spcAft>
          <a:spcPct val="0"/>
        </a:spcAft>
        <a:defRPr sz="4400" b="1">
          <a:solidFill>
            <a:srgbClr val="003366"/>
          </a:solidFill>
          <a:latin typeface="Trebuchet MS" pitchFamily="34" charset="0"/>
        </a:defRPr>
      </a:lvl2pPr>
      <a:lvl3pPr algn="l" rtl="0" eaLnBrk="1" fontAlgn="base" hangingPunct="1">
        <a:spcBef>
          <a:spcPct val="0"/>
        </a:spcBef>
        <a:spcAft>
          <a:spcPct val="0"/>
        </a:spcAft>
        <a:defRPr sz="4400" b="1">
          <a:solidFill>
            <a:srgbClr val="003366"/>
          </a:solidFill>
          <a:latin typeface="Trebuchet MS" pitchFamily="34" charset="0"/>
        </a:defRPr>
      </a:lvl3pPr>
      <a:lvl4pPr algn="l" rtl="0" eaLnBrk="1" fontAlgn="base" hangingPunct="1">
        <a:spcBef>
          <a:spcPct val="0"/>
        </a:spcBef>
        <a:spcAft>
          <a:spcPct val="0"/>
        </a:spcAft>
        <a:defRPr sz="4400" b="1">
          <a:solidFill>
            <a:srgbClr val="003366"/>
          </a:solidFill>
          <a:latin typeface="Trebuchet MS" pitchFamily="34" charset="0"/>
        </a:defRPr>
      </a:lvl4pPr>
      <a:lvl5pPr algn="l" rtl="0" eaLnBrk="1" fontAlgn="base" hangingPunct="1">
        <a:spcBef>
          <a:spcPct val="0"/>
        </a:spcBef>
        <a:spcAft>
          <a:spcPct val="0"/>
        </a:spcAft>
        <a:defRPr sz="4400" b="1">
          <a:solidFill>
            <a:srgbClr val="003366"/>
          </a:solidFill>
          <a:latin typeface="Trebuchet MS" pitchFamily="34" charset="0"/>
        </a:defRPr>
      </a:lvl5pPr>
      <a:lvl6pPr marL="457200" algn="l" rtl="0" eaLnBrk="1" fontAlgn="base" hangingPunct="1">
        <a:spcBef>
          <a:spcPct val="0"/>
        </a:spcBef>
        <a:spcAft>
          <a:spcPct val="0"/>
        </a:spcAft>
        <a:defRPr b="1">
          <a:solidFill>
            <a:srgbClr val="003366"/>
          </a:solidFill>
          <a:latin typeface="Trebuchet MS" pitchFamily="34" charset="0"/>
        </a:defRPr>
      </a:lvl6pPr>
      <a:lvl7pPr marL="914400" algn="l" rtl="0" eaLnBrk="1" fontAlgn="base" hangingPunct="1">
        <a:spcBef>
          <a:spcPct val="0"/>
        </a:spcBef>
        <a:spcAft>
          <a:spcPct val="0"/>
        </a:spcAft>
        <a:defRPr b="1">
          <a:solidFill>
            <a:srgbClr val="003366"/>
          </a:solidFill>
          <a:latin typeface="Trebuchet MS" pitchFamily="34" charset="0"/>
        </a:defRPr>
      </a:lvl7pPr>
      <a:lvl8pPr marL="1371600" algn="l" rtl="0" eaLnBrk="1" fontAlgn="base" hangingPunct="1">
        <a:spcBef>
          <a:spcPct val="0"/>
        </a:spcBef>
        <a:spcAft>
          <a:spcPct val="0"/>
        </a:spcAft>
        <a:defRPr b="1">
          <a:solidFill>
            <a:srgbClr val="003366"/>
          </a:solidFill>
          <a:latin typeface="Trebuchet MS" pitchFamily="34" charset="0"/>
        </a:defRPr>
      </a:lvl8pPr>
      <a:lvl9pPr marL="1828800" algn="l" rtl="0" eaLnBrk="1" fontAlgn="base" hangingPunct="1">
        <a:spcBef>
          <a:spcPct val="0"/>
        </a:spcBef>
        <a:spcAft>
          <a:spcPct val="0"/>
        </a:spcAft>
        <a:defRPr b="1">
          <a:solidFill>
            <a:srgbClr val="003366"/>
          </a:solidFill>
          <a:latin typeface="Trebuchet MS" pitchFamily="34" charset="0"/>
        </a:defRPr>
      </a:lvl9pPr>
    </p:titleStyle>
    <p:bodyStyle>
      <a:lvl1pPr marL="342900" indent="-342900" algn="l" rtl="0" eaLnBrk="1" fontAlgn="base" hangingPunct="1">
        <a:spcBef>
          <a:spcPct val="20000"/>
        </a:spcBef>
        <a:spcAft>
          <a:spcPct val="0"/>
        </a:spcAft>
        <a:buChar char="•"/>
        <a:defRPr sz="3200">
          <a:solidFill>
            <a:srgbClr val="003366"/>
          </a:solidFill>
          <a:latin typeface="+mn-lt"/>
          <a:ea typeface="+mn-ea"/>
          <a:cs typeface="+mn-cs"/>
        </a:defRPr>
      </a:lvl1pPr>
      <a:lvl2pPr marL="742950" indent="-285750" algn="l" rtl="0" eaLnBrk="1" fontAlgn="base" hangingPunct="1">
        <a:spcBef>
          <a:spcPct val="20000"/>
        </a:spcBef>
        <a:spcAft>
          <a:spcPct val="0"/>
        </a:spcAft>
        <a:buChar char="–"/>
        <a:defRPr sz="2800">
          <a:solidFill>
            <a:srgbClr val="003366"/>
          </a:solidFill>
          <a:latin typeface="+mn-lt"/>
        </a:defRPr>
      </a:lvl2pPr>
      <a:lvl3pPr marL="1143000" indent="-228600" algn="l" rtl="0" eaLnBrk="1" fontAlgn="base" hangingPunct="1">
        <a:spcBef>
          <a:spcPct val="20000"/>
        </a:spcBef>
        <a:spcAft>
          <a:spcPct val="0"/>
        </a:spcAft>
        <a:buChar char="•"/>
        <a:defRPr sz="2400">
          <a:solidFill>
            <a:srgbClr val="003366"/>
          </a:solidFill>
          <a:latin typeface="+mn-lt"/>
        </a:defRPr>
      </a:lvl3pPr>
      <a:lvl4pPr marL="1600200" indent="-228600" algn="l" rtl="0" eaLnBrk="1" fontAlgn="base" hangingPunct="1">
        <a:spcBef>
          <a:spcPct val="20000"/>
        </a:spcBef>
        <a:spcAft>
          <a:spcPct val="0"/>
        </a:spcAft>
        <a:buChar char="–"/>
        <a:defRPr sz="2000">
          <a:solidFill>
            <a:srgbClr val="003366"/>
          </a:solidFill>
          <a:latin typeface="+mn-lt"/>
        </a:defRPr>
      </a:lvl4pPr>
      <a:lvl5pPr marL="2057400" indent="-228600" algn="l" rtl="0" eaLnBrk="1" fontAlgn="base" hangingPunct="1">
        <a:spcBef>
          <a:spcPct val="20000"/>
        </a:spcBef>
        <a:spcAft>
          <a:spcPct val="0"/>
        </a:spcAft>
        <a:buChar char="»"/>
        <a:defRPr sz="2000">
          <a:solidFill>
            <a:srgbClr val="003366"/>
          </a:solidFill>
          <a:latin typeface="+mn-lt"/>
        </a:defRPr>
      </a:lvl5pPr>
      <a:lvl6pPr marL="2514600" indent="-228600" algn="l" rtl="0" eaLnBrk="1" fontAlgn="base" hangingPunct="1">
        <a:spcBef>
          <a:spcPct val="20000"/>
        </a:spcBef>
        <a:spcAft>
          <a:spcPct val="0"/>
        </a:spcAft>
        <a:buChar char="»"/>
        <a:defRPr sz="2000">
          <a:solidFill>
            <a:srgbClr val="003366"/>
          </a:solidFill>
          <a:latin typeface="+mn-lt"/>
        </a:defRPr>
      </a:lvl6pPr>
      <a:lvl7pPr marL="2971800" indent="-228600" algn="l" rtl="0" eaLnBrk="1" fontAlgn="base" hangingPunct="1">
        <a:spcBef>
          <a:spcPct val="20000"/>
        </a:spcBef>
        <a:spcAft>
          <a:spcPct val="0"/>
        </a:spcAft>
        <a:buChar char="»"/>
        <a:defRPr sz="2000">
          <a:solidFill>
            <a:srgbClr val="003366"/>
          </a:solidFill>
          <a:latin typeface="+mn-lt"/>
        </a:defRPr>
      </a:lvl7pPr>
      <a:lvl8pPr marL="3429000" indent="-228600" algn="l" rtl="0" eaLnBrk="1" fontAlgn="base" hangingPunct="1">
        <a:spcBef>
          <a:spcPct val="20000"/>
        </a:spcBef>
        <a:spcAft>
          <a:spcPct val="0"/>
        </a:spcAft>
        <a:buChar char="»"/>
        <a:defRPr sz="2000">
          <a:solidFill>
            <a:srgbClr val="003366"/>
          </a:solidFill>
          <a:latin typeface="+mn-lt"/>
        </a:defRPr>
      </a:lvl8pPr>
      <a:lvl9pPr marL="3886200" indent="-228600" algn="l" rtl="0" eaLnBrk="1" fontAlgn="base" hangingPunct="1">
        <a:spcBef>
          <a:spcPct val="20000"/>
        </a:spcBef>
        <a:spcAft>
          <a:spcPct val="0"/>
        </a:spcAft>
        <a:buChar char="»"/>
        <a:defRPr sz="2000">
          <a:solidFill>
            <a:srgbClr val="003366"/>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Picture 3" descr="rodape.jp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88" y="6423025"/>
            <a:ext cx="9144001"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ChangeArrowheads="1"/>
          </p:cNvSpPr>
          <p:nvPr/>
        </p:nvSpPr>
        <p:spPr bwMode="auto">
          <a:xfrm>
            <a:off x="328614" y="779465"/>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endParaRPr lang="en-US" sz="3200">
              <a:solidFill>
                <a:srgbClr val="003366"/>
              </a:solidFill>
            </a:endParaRPr>
          </a:p>
        </p:txBody>
      </p:sp>
      <p:sp>
        <p:nvSpPr>
          <p:cNvPr id="1029" name="Rectangle 3"/>
          <p:cNvSpPr>
            <a:spLocks noChangeArrowheads="1"/>
          </p:cNvSpPr>
          <p:nvPr/>
        </p:nvSpPr>
        <p:spPr bwMode="auto">
          <a:xfrm>
            <a:off x="328614" y="792165"/>
            <a:ext cx="8445500" cy="473075"/>
          </a:xfrm>
          <a:prstGeom prst="rect">
            <a:avLst/>
          </a:prstGeom>
          <a:noFill/>
          <a:ln w="9525">
            <a:noFill/>
            <a:miter lim="800000"/>
            <a:headEnd/>
            <a:tailEnd/>
          </a:ln>
        </p:spPr>
        <p:txBody>
          <a:bodyPr lIns="0" tIns="0" rIns="0" bIns="0"/>
          <a:lstStyle/>
          <a:p>
            <a:pPr marL="342900" indent="-342900" fontAlgn="base">
              <a:spcBef>
                <a:spcPct val="20000"/>
              </a:spcBef>
              <a:spcAft>
                <a:spcPct val="0"/>
              </a:spcAft>
              <a:defRPr/>
            </a:pPr>
            <a:r>
              <a:rPr lang="pt-BR" sz="3200">
                <a:solidFill>
                  <a:srgbClr val="003366"/>
                </a:solidFill>
              </a:rPr>
              <a:t> </a:t>
            </a:r>
          </a:p>
        </p:txBody>
      </p:sp>
      <p:sp>
        <p:nvSpPr>
          <p:cNvPr id="5" name="Rectangle 6"/>
          <p:cNvSpPr>
            <a:spLocks noGrp="1" noChangeArrowheads="1"/>
          </p:cNvSpPr>
          <p:nvPr>
            <p:ph type="sldNum" sz="quarter" idx="4"/>
          </p:nvPr>
        </p:nvSpPr>
        <p:spPr>
          <a:xfrm>
            <a:off x="8460432" y="6423025"/>
            <a:ext cx="683568" cy="438150"/>
          </a:xfrm>
          <a:prstGeom prst="rect">
            <a:avLst/>
          </a:prstGeom>
        </p:spPr>
        <p:txBody>
          <a:bodyPr/>
          <a:lstStyle>
            <a:lvl1pPr algn="r">
              <a:defRPr sz="1400">
                <a:solidFill>
                  <a:schemeClr val="bg1">
                    <a:lumMod val="65000"/>
                  </a:schemeClr>
                </a:solidFill>
                <a:latin typeface="Trebuchet MS" pitchFamily="34" charset="0"/>
              </a:defRPr>
            </a:lvl1pPr>
          </a:lstStyle>
          <a:p>
            <a:pPr>
              <a:defRPr/>
            </a:pPr>
            <a:fld id="{05CD66A1-3E75-4426-AB72-7F226ADA43F0}" type="slidenum">
              <a:rPr lang="pt-BR" smtClean="0">
                <a:solidFill>
                  <a:srgbClr val="FFFFFF">
                    <a:lumMod val="65000"/>
                  </a:srgbClr>
                </a:solidFill>
              </a:rPr>
              <a:pPr>
                <a:defRPr/>
              </a:pPr>
              <a:t>‹nº›</a:t>
            </a:fld>
            <a:endParaRPr lang="pt-BR" dirty="0">
              <a:solidFill>
                <a:srgbClr val="FFFFFF">
                  <a:lumMod val="65000"/>
                </a:srgbClr>
              </a:solidFill>
            </a:endParaRPr>
          </a:p>
        </p:txBody>
      </p:sp>
    </p:spTree>
    <p:extLst>
      <p:ext uri="{BB962C8B-B14F-4D97-AF65-F5344CB8AC3E}">
        <p14:creationId xmlns:p14="http://schemas.microsoft.com/office/powerpoint/2010/main" val="425170195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Lst>
  <p:timing>
    <p:tnLst>
      <p:par>
        <p:cTn id="1" dur="indefinite" restart="never" nodeType="tmRoot"/>
      </p:par>
    </p:tnLst>
  </p:timing>
  <p:hf hdr="0" ftr="0" dt="0"/>
  <p:txStyles>
    <p:titleStyle>
      <a:lvl1pPr algn="l" rtl="0" eaLnBrk="1" fontAlgn="base" hangingPunct="1">
        <a:spcBef>
          <a:spcPct val="0"/>
        </a:spcBef>
        <a:spcAft>
          <a:spcPct val="0"/>
        </a:spcAft>
        <a:defRPr sz="4400" b="1">
          <a:solidFill>
            <a:srgbClr val="003366"/>
          </a:solidFill>
          <a:latin typeface="+mj-lt"/>
          <a:ea typeface="+mj-ea"/>
          <a:cs typeface="+mj-cs"/>
        </a:defRPr>
      </a:lvl1pPr>
      <a:lvl2pPr algn="l" rtl="0" eaLnBrk="1" fontAlgn="base" hangingPunct="1">
        <a:spcBef>
          <a:spcPct val="0"/>
        </a:spcBef>
        <a:spcAft>
          <a:spcPct val="0"/>
        </a:spcAft>
        <a:defRPr sz="4400" b="1">
          <a:solidFill>
            <a:srgbClr val="003366"/>
          </a:solidFill>
          <a:latin typeface="Trebuchet MS" pitchFamily="34" charset="0"/>
        </a:defRPr>
      </a:lvl2pPr>
      <a:lvl3pPr algn="l" rtl="0" eaLnBrk="1" fontAlgn="base" hangingPunct="1">
        <a:spcBef>
          <a:spcPct val="0"/>
        </a:spcBef>
        <a:spcAft>
          <a:spcPct val="0"/>
        </a:spcAft>
        <a:defRPr sz="4400" b="1">
          <a:solidFill>
            <a:srgbClr val="003366"/>
          </a:solidFill>
          <a:latin typeface="Trebuchet MS" pitchFamily="34" charset="0"/>
        </a:defRPr>
      </a:lvl3pPr>
      <a:lvl4pPr algn="l" rtl="0" eaLnBrk="1" fontAlgn="base" hangingPunct="1">
        <a:spcBef>
          <a:spcPct val="0"/>
        </a:spcBef>
        <a:spcAft>
          <a:spcPct val="0"/>
        </a:spcAft>
        <a:defRPr sz="4400" b="1">
          <a:solidFill>
            <a:srgbClr val="003366"/>
          </a:solidFill>
          <a:latin typeface="Trebuchet MS" pitchFamily="34" charset="0"/>
        </a:defRPr>
      </a:lvl4pPr>
      <a:lvl5pPr algn="l" rtl="0" eaLnBrk="1" fontAlgn="base" hangingPunct="1">
        <a:spcBef>
          <a:spcPct val="0"/>
        </a:spcBef>
        <a:spcAft>
          <a:spcPct val="0"/>
        </a:spcAft>
        <a:defRPr sz="4400" b="1">
          <a:solidFill>
            <a:srgbClr val="003366"/>
          </a:solidFill>
          <a:latin typeface="Trebuchet MS" pitchFamily="34" charset="0"/>
        </a:defRPr>
      </a:lvl5pPr>
      <a:lvl6pPr marL="457200" algn="l" rtl="0" eaLnBrk="1" fontAlgn="base" hangingPunct="1">
        <a:spcBef>
          <a:spcPct val="0"/>
        </a:spcBef>
        <a:spcAft>
          <a:spcPct val="0"/>
        </a:spcAft>
        <a:defRPr b="1">
          <a:solidFill>
            <a:srgbClr val="003366"/>
          </a:solidFill>
          <a:latin typeface="Trebuchet MS" pitchFamily="34" charset="0"/>
        </a:defRPr>
      </a:lvl6pPr>
      <a:lvl7pPr marL="914400" algn="l" rtl="0" eaLnBrk="1" fontAlgn="base" hangingPunct="1">
        <a:spcBef>
          <a:spcPct val="0"/>
        </a:spcBef>
        <a:spcAft>
          <a:spcPct val="0"/>
        </a:spcAft>
        <a:defRPr b="1">
          <a:solidFill>
            <a:srgbClr val="003366"/>
          </a:solidFill>
          <a:latin typeface="Trebuchet MS" pitchFamily="34" charset="0"/>
        </a:defRPr>
      </a:lvl7pPr>
      <a:lvl8pPr marL="1371600" algn="l" rtl="0" eaLnBrk="1" fontAlgn="base" hangingPunct="1">
        <a:spcBef>
          <a:spcPct val="0"/>
        </a:spcBef>
        <a:spcAft>
          <a:spcPct val="0"/>
        </a:spcAft>
        <a:defRPr b="1">
          <a:solidFill>
            <a:srgbClr val="003366"/>
          </a:solidFill>
          <a:latin typeface="Trebuchet MS" pitchFamily="34" charset="0"/>
        </a:defRPr>
      </a:lvl8pPr>
      <a:lvl9pPr marL="1828800" algn="l" rtl="0" eaLnBrk="1" fontAlgn="base" hangingPunct="1">
        <a:spcBef>
          <a:spcPct val="0"/>
        </a:spcBef>
        <a:spcAft>
          <a:spcPct val="0"/>
        </a:spcAft>
        <a:defRPr b="1">
          <a:solidFill>
            <a:srgbClr val="003366"/>
          </a:solidFill>
          <a:latin typeface="Trebuchet MS" pitchFamily="34" charset="0"/>
        </a:defRPr>
      </a:lvl9pPr>
    </p:titleStyle>
    <p:bodyStyle>
      <a:lvl1pPr marL="342900" indent="-342900" algn="l" rtl="0" eaLnBrk="1" fontAlgn="base" hangingPunct="1">
        <a:spcBef>
          <a:spcPct val="20000"/>
        </a:spcBef>
        <a:spcAft>
          <a:spcPct val="0"/>
        </a:spcAft>
        <a:buChar char="•"/>
        <a:defRPr sz="3200">
          <a:solidFill>
            <a:srgbClr val="003366"/>
          </a:solidFill>
          <a:latin typeface="+mn-lt"/>
          <a:ea typeface="+mn-ea"/>
          <a:cs typeface="+mn-cs"/>
        </a:defRPr>
      </a:lvl1pPr>
      <a:lvl2pPr marL="742950" indent="-285750" algn="l" rtl="0" eaLnBrk="1" fontAlgn="base" hangingPunct="1">
        <a:spcBef>
          <a:spcPct val="20000"/>
        </a:spcBef>
        <a:spcAft>
          <a:spcPct val="0"/>
        </a:spcAft>
        <a:buChar char="–"/>
        <a:defRPr sz="2800">
          <a:solidFill>
            <a:srgbClr val="003366"/>
          </a:solidFill>
          <a:latin typeface="+mn-lt"/>
        </a:defRPr>
      </a:lvl2pPr>
      <a:lvl3pPr marL="1143000" indent="-228600" algn="l" rtl="0" eaLnBrk="1" fontAlgn="base" hangingPunct="1">
        <a:spcBef>
          <a:spcPct val="20000"/>
        </a:spcBef>
        <a:spcAft>
          <a:spcPct val="0"/>
        </a:spcAft>
        <a:buChar char="•"/>
        <a:defRPr sz="2400">
          <a:solidFill>
            <a:srgbClr val="003366"/>
          </a:solidFill>
          <a:latin typeface="+mn-lt"/>
        </a:defRPr>
      </a:lvl3pPr>
      <a:lvl4pPr marL="1600200" indent="-228600" algn="l" rtl="0" eaLnBrk="1" fontAlgn="base" hangingPunct="1">
        <a:spcBef>
          <a:spcPct val="20000"/>
        </a:spcBef>
        <a:spcAft>
          <a:spcPct val="0"/>
        </a:spcAft>
        <a:buChar char="–"/>
        <a:defRPr sz="2000">
          <a:solidFill>
            <a:srgbClr val="003366"/>
          </a:solidFill>
          <a:latin typeface="+mn-lt"/>
        </a:defRPr>
      </a:lvl4pPr>
      <a:lvl5pPr marL="2057400" indent="-228600" algn="l" rtl="0" eaLnBrk="1" fontAlgn="base" hangingPunct="1">
        <a:spcBef>
          <a:spcPct val="20000"/>
        </a:spcBef>
        <a:spcAft>
          <a:spcPct val="0"/>
        </a:spcAft>
        <a:buChar char="»"/>
        <a:defRPr sz="2000">
          <a:solidFill>
            <a:srgbClr val="003366"/>
          </a:solidFill>
          <a:latin typeface="+mn-lt"/>
        </a:defRPr>
      </a:lvl5pPr>
      <a:lvl6pPr marL="2514600" indent="-228600" algn="l" rtl="0" eaLnBrk="1" fontAlgn="base" hangingPunct="1">
        <a:spcBef>
          <a:spcPct val="20000"/>
        </a:spcBef>
        <a:spcAft>
          <a:spcPct val="0"/>
        </a:spcAft>
        <a:buChar char="»"/>
        <a:defRPr sz="2000">
          <a:solidFill>
            <a:srgbClr val="003366"/>
          </a:solidFill>
          <a:latin typeface="+mn-lt"/>
        </a:defRPr>
      </a:lvl6pPr>
      <a:lvl7pPr marL="2971800" indent="-228600" algn="l" rtl="0" eaLnBrk="1" fontAlgn="base" hangingPunct="1">
        <a:spcBef>
          <a:spcPct val="20000"/>
        </a:spcBef>
        <a:spcAft>
          <a:spcPct val="0"/>
        </a:spcAft>
        <a:buChar char="»"/>
        <a:defRPr sz="2000">
          <a:solidFill>
            <a:srgbClr val="003366"/>
          </a:solidFill>
          <a:latin typeface="+mn-lt"/>
        </a:defRPr>
      </a:lvl7pPr>
      <a:lvl8pPr marL="3429000" indent="-228600" algn="l" rtl="0" eaLnBrk="1" fontAlgn="base" hangingPunct="1">
        <a:spcBef>
          <a:spcPct val="20000"/>
        </a:spcBef>
        <a:spcAft>
          <a:spcPct val="0"/>
        </a:spcAft>
        <a:buChar char="»"/>
        <a:defRPr sz="2000">
          <a:solidFill>
            <a:srgbClr val="003366"/>
          </a:solidFill>
          <a:latin typeface="+mn-lt"/>
        </a:defRPr>
      </a:lvl8pPr>
      <a:lvl9pPr marL="3886200" indent="-228600" algn="l" rtl="0" eaLnBrk="1" fontAlgn="base" hangingPunct="1">
        <a:spcBef>
          <a:spcPct val="20000"/>
        </a:spcBef>
        <a:spcAft>
          <a:spcPct val="0"/>
        </a:spcAft>
        <a:buChar char="»"/>
        <a:defRPr sz="2000">
          <a:solidFill>
            <a:srgbClr val="003366"/>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193" y="1591"/>
          <a:ext cx="1191" cy="1587"/>
        </p:xfrm>
        <a:graphic>
          <a:graphicData uri="http://schemas.openxmlformats.org/presentationml/2006/ole">
            <mc:AlternateContent xmlns:mc="http://schemas.openxmlformats.org/markup-compatibility/2006">
              <mc:Choice xmlns:v="urn:schemas-microsoft-com:vml" Requires="v">
                <p:oleObj spid="_x0000_s15404" name="think-cell Slide" r:id="rId12" imgW="581" imgH="586" progId="TCLayout.ActiveDocument.1">
                  <p:embed/>
                </p:oleObj>
              </mc:Choice>
              <mc:Fallback>
                <p:oleObj name="think-cell Slide" r:id="rId12" imgW="581" imgH="586" progId="TCLayout.ActiveDocument.1">
                  <p:embed/>
                  <p:pic>
                    <p:nvPicPr>
                      <p:cNvPr id="0" name=""/>
                      <p:cNvPicPr/>
                      <p:nvPr/>
                    </p:nvPicPr>
                    <p:blipFill>
                      <a:blip r:embed="rId13"/>
                      <a:stretch>
                        <a:fillRect/>
                      </a:stretch>
                    </p:blipFill>
                    <p:spPr>
                      <a:xfrm>
                        <a:off x="1193" y="1591"/>
                        <a:ext cx="1191" cy="1587"/>
                      </a:xfrm>
                      <a:prstGeom prst="rect">
                        <a:avLst/>
                      </a:prstGeom>
                    </p:spPr>
                  </p:pic>
                </p:oleObj>
              </mc:Fallback>
            </mc:AlternateContent>
          </a:graphicData>
        </a:graphic>
      </p:graphicFrame>
      <p:sp>
        <p:nvSpPr>
          <p:cNvPr id="8" name="TextBox 7"/>
          <p:cNvSpPr txBox="1"/>
          <p:nvPr/>
        </p:nvSpPr>
        <p:spPr>
          <a:xfrm>
            <a:off x="5057296" y="6678067"/>
            <a:ext cx="3508376" cy="77842"/>
          </a:xfrm>
          <a:prstGeom prst="rect">
            <a:avLst/>
          </a:prstGeom>
          <a:noFill/>
        </p:spPr>
        <p:txBody>
          <a:bodyPr wrap="square" lIns="0" tIns="0" rIns="0" bIns="0" rtlCol="0" anchor="b" anchorCtr="0">
            <a:spAutoFit/>
          </a:bodyPr>
          <a:lstStyle/>
          <a:p>
            <a:pPr algn="r" defTabSz="456060" fontAlgn="base">
              <a:spcBef>
                <a:spcPct val="0"/>
              </a:spcBef>
              <a:spcAft>
                <a:spcPct val="0"/>
              </a:spcAft>
              <a:defRPr/>
            </a:pPr>
            <a:r>
              <a:rPr lang="pt-BR" sz="506" dirty="0">
                <a:solidFill>
                  <a:prstClr val="white">
                    <a:lumMod val="50000"/>
                  </a:prstClr>
                </a:solidFill>
              </a:rPr>
              <a:t>Copyright © 2017 Accenture. Todos os direitos reservados. Proprietário e confidencial.</a:t>
            </a:r>
          </a:p>
        </p:txBody>
      </p:sp>
      <p:sp>
        <p:nvSpPr>
          <p:cNvPr id="7" name="TextBox 6"/>
          <p:cNvSpPr txBox="1"/>
          <p:nvPr/>
        </p:nvSpPr>
        <p:spPr>
          <a:xfrm>
            <a:off x="8332307" y="6586632"/>
            <a:ext cx="466728" cy="169277"/>
          </a:xfrm>
          <a:prstGeom prst="rect">
            <a:avLst/>
          </a:prstGeom>
          <a:noFill/>
        </p:spPr>
        <p:txBody>
          <a:bodyPr wrap="square" lIns="0" tIns="0" rIns="0" bIns="0" rtlCol="0" anchor="b" anchorCtr="0">
            <a:spAutoFit/>
          </a:bodyPr>
          <a:lstStyle/>
          <a:p>
            <a:pPr algn="r" fontAlgn="base">
              <a:spcBef>
                <a:spcPct val="0"/>
              </a:spcBef>
              <a:spcAft>
                <a:spcPct val="0"/>
              </a:spcAft>
            </a:pPr>
            <a:fld id="{9506F66D-3967-4DB8-9A18-525DE62AD90B}" type="slidenum">
              <a:rPr lang="pt-BR" sz="1100" smtClean="0">
                <a:solidFill>
                  <a:prstClr val="white">
                    <a:lumMod val="50000"/>
                  </a:prstClr>
                </a:solidFill>
              </a:rPr>
              <a:pPr algn="r" fontAlgn="base">
                <a:spcBef>
                  <a:spcPct val="0"/>
                </a:spcBef>
                <a:spcAft>
                  <a:spcPct val="0"/>
                </a:spcAft>
              </a:pPr>
              <a:t>‹nº›</a:t>
            </a:fld>
            <a:endParaRPr lang="pt-BR" sz="1100" dirty="0">
              <a:solidFill>
                <a:prstClr val="white">
                  <a:lumMod val="50000"/>
                </a:prstClr>
              </a:solidFill>
            </a:endParaRPr>
          </a:p>
        </p:txBody>
      </p:sp>
      <p:sp>
        <p:nvSpPr>
          <p:cNvPr id="1054" name="Rectangle 30"/>
          <p:cNvSpPr>
            <a:spLocks noGrp="1" noChangeArrowheads="1"/>
          </p:cNvSpPr>
          <p:nvPr>
            <p:ph type="title"/>
          </p:nvPr>
        </p:nvSpPr>
        <p:spPr bwMode="gray">
          <a:xfrm>
            <a:off x="349034" y="0"/>
            <a:ext cx="7983273" cy="1058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pt-BR" dirty="0"/>
              <a:t>Click </a:t>
            </a:r>
            <a:r>
              <a:rPr lang="pt-BR" dirty="0" err="1"/>
              <a:t>to</a:t>
            </a:r>
            <a:r>
              <a:rPr lang="pt-BR" dirty="0"/>
              <a:t> </a:t>
            </a:r>
            <a:r>
              <a:rPr lang="pt-BR" dirty="0" err="1"/>
              <a:t>edit</a:t>
            </a:r>
            <a:r>
              <a:rPr lang="pt-BR" dirty="0"/>
              <a:t> Master </a:t>
            </a:r>
            <a:r>
              <a:rPr lang="pt-BR" dirty="0" err="1"/>
              <a:t>title</a:t>
            </a:r>
            <a:r>
              <a:rPr lang="pt-BR" dirty="0"/>
              <a:t> </a:t>
            </a:r>
            <a:r>
              <a:rPr lang="pt-BR" dirty="0" err="1"/>
              <a:t>style</a:t>
            </a:r>
            <a:endParaRPr lang="pt-BR" dirty="0"/>
          </a:p>
        </p:txBody>
      </p:sp>
      <p:sp>
        <p:nvSpPr>
          <p:cNvPr id="1057" name="Rectangle 33"/>
          <p:cNvSpPr>
            <a:spLocks noGrp="1" noChangeArrowheads="1"/>
          </p:cNvSpPr>
          <p:nvPr>
            <p:ph type="body" idx="1"/>
          </p:nvPr>
        </p:nvSpPr>
        <p:spPr bwMode="auto">
          <a:xfrm>
            <a:off x="349034" y="1192534"/>
            <a:ext cx="8449923" cy="570926"/>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p>
            <a:pPr lvl="0"/>
            <a:r>
              <a:rPr lang="pt-BR" dirty="0"/>
              <a:t>Click </a:t>
            </a:r>
            <a:r>
              <a:rPr lang="pt-BR" dirty="0" err="1"/>
              <a:t>to</a:t>
            </a:r>
            <a:r>
              <a:rPr lang="pt-BR" dirty="0"/>
              <a:t> </a:t>
            </a:r>
            <a:r>
              <a:rPr lang="pt-BR" dirty="0" err="1"/>
              <a:t>edit</a:t>
            </a:r>
            <a:r>
              <a:rPr lang="pt-BR" dirty="0"/>
              <a:t> Master </a:t>
            </a:r>
            <a:r>
              <a:rPr lang="pt-BR" dirty="0" err="1"/>
              <a:t>text</a:t>
            </a:r>
            <a:r>
              <a:rPr lang="pt-BR" dirty="0"/>
              <a:t> </a:t>
            </a:r>
            <a:r>
              <a:rPr lang="pt-BR" dirty="0" err="1"/>
              <a:t>styles</a:t>
            </a:r>
            <a:endParaRPr lang="pt-BR" dirty="0"/>
          </a:p>
          <a:p>
            <a:pPr lvl="1"/>
            <a:r>
              <a:rPr lang="pt-BR" dirty="0" err="1"/>
              <a:t>Second</a:t>
            </a:r>
            <a:r>
              <a:rPr lang="pt-BR" dirty="0"/>
              <a:t> </a:t>
            </a:r>
            <a:r>
              <a:rPr lang="pt-BR" dirty="0" err="1"/>
              <a:t>level</a:t>
            </a:r>
            <a:endParaRPr lang="pt-BR" dirty="0"/>
          </a:p>
          <a:p>
            <a:pPr lvl="2"/>
            <a:r>
              <a:rPr lang="pt-BR" dirty="0" err="1"/>
              <a:t>Third</a:t>
            </a:r>
            <a:r>
              <a:rPr lang="pt-BR" dirty="0"/>
              <a:t> </a:t>
            </a:r>
            <a:r>
              <a:rPr lang="pt-BR" dirty="0" err="1"/>
              <a:t>level</a:t>
            </a:r>
            <a:endParaRPr lang="pt-BR" dirty="0"/>
          </a:p>
        </p:txBody>
      </p:sp>
      <p:sp>
        <p:nvSpPr>
          <p:cNvPr id="3" name="AcnSubjectTitle_ID_3" hidden="1"/>
          <p:cNvSpPr txBox="1"/>
          <p:nvPr userDrawn="1">
            <p:custDataLst>
              <p:tags r:id="rId10"/>
            </p:custDataLst>
          </p:nvPr>
        </p:nvSpPr>
        <p:spPr bwMode="gray">
          <a:xfrm>
            <a:off x="349034" y="1420814"/>
            <a:ext cx="5238750" cy="276999"/>
          </a:xfrm>
          <a:prstGeom prst="rect">
            <a:avLst/>
          </a:prstGeom>
          <a:noFill/>
        </p:spPr>
        <p:txBody>
          <a:bodyPr vert="horz" wrap="square" rtlCol="0">
            <a:spAutoFit/>
          </a:bodyPr>
          <a:lstStyle/>
          <a:p>
            <a:pPr fontAlgn="base">
              <a:spcBef>
                <a:spcPct val="0"/>
              </a:spcBef>
              <a:spcAft>
                <a:spcPct val="0"/>
              </a:spcAft>
            </a:pPr>
            <a:r>
              <a:rPr lang="pt-BR" sz="1200" b="1" dirty="0">
                <a:solidFill>
                  <a:prstClr val="black"/>
                </a:solidFill>
              </a:rPr>
              <a:t>Subject Title</a:t>
            </a:r>
          </a:p>
        </p:txBody>
      </p:sp>
      <p:sp>
        <p:nvSpPr>
          <p:cNvPr id="4" name="AcnFootnote_ID_4" hidden="1"/>
          <p:cNvSpPr txBox="1"/>
          <p:nvPr userDrawn="1">
            <p:custDataLst>
              <p:tags r:id="rId11"/>
            </p:custDataLst>
          </p:nvPr>
        </p:nvSpPr>
        <p:spPr bwMode="gray">
          <a:xfrm>
            <a:off x="349034" y="6339389"/>
            <a:ext cx="7983273" cy="346249"/>
          </a:xfrm>
          <a:prstGeom prst="rect">
            <a:avLst/>
          </a:prstGeom>
          <a:noFill/>
        </p:spPr>
        <p:txBody>
          <a:bodyPr vert="horz" wrap="square" rtlCol="0" anchor="b">
            <a:spAutoFit/>
          </a:bodyPr>
          <a:lstStyle/>
          <a:p>
            <a:pPr marL="403622" indent="-403622" fontAlgn="base">
              <a:spcBef>
                <a:spcPct val="0"/>
              </a:spcBef>
              <a:spcAft>
                <a:spcPct val="0"/>
              </a:spcAft>
            </a:pPr>
            <a:r>
              <a:rPr lang="pt-BR" sz="750" dirty="0">
                <a:solidFill>
                  <a:prstClr val="black"/>
                </a:solidFill>
              </a:rPr>
              <a:t>*	Footnote</a:t>
            </a:r>
          </a:p>
          <a:p>
            <a:pPr marL="403622" indent="-403622" fontAlgn="base">
              <a:spcBef>
                <a:spcPct val="20000"/>
              </a:spcBef>
              <a:spcAft>
                <a:spcPct val="0"/>
              </a:spcAft>
            </a:pPr>
            <a:r>
              <a:rPr lang="pt-BR" sz="750" dirty="0">
                <a:solidFill>
                  <a:prstClr val="black"/>
                </a:solidFill>
              </a:rPr>
              <a:t>Source:	Source</a:t>
            </a:r>
          </a:p>
        </p:txBody>
      </p:sp>
    </p:spTree>
    <p:extLst>
      <p:ext uri="{BB962C8B-B14F-4D97-AF65-F5344CB8AC3E}">
        <p14:creationId xmlns:p14="http://schemas.microsoft.com/office/powerpoint/2010/main" val="3331183406"/>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Lst>
  <p:hf hdr="0" dt="0"/>
  <p:txStyles>
    <p:titleStyle>
      <a:lvl1pPr algn="l" rtl="0" eaLnBrk="1" fontAlgn="base" hangingPunct="1">
        <a:spcBef>
          <a:spcPct val="0"/>
        </a:spcBef>
        <a:spcAft>
          <a:spcPct val="0"/>
        </a:spcAft>
        <a:defRPr sz="1126" b="0">
          <a:solidFill>
            <a:srgbClr val="EC282C"/>
          </a:solidFill>
          <a:latin typeface="+mj-lt"/>
          <a:ea typeface="+mj-ea"/>
          <a:cs typeface="+mj-cs"/>
        </a:defRPr>
      </a:lvl1pPr>
      <a:lvl2pPr algn="l" rtl="0" eaLnBrk="1" fontAlgn="base" hangingPunct="1">
        <a:spcBef>
          <a:spcPct val="0"/>
        </a:spcBef>
        <a:spcAft>
          <a:spcPct val="0"/>
        </a:spcAft>
        <a:defRPr sz="1070" b="1">
          <a:solidFill>
            <a:schemeClr val="bg1"/>
          </a:solidFill>
          <a:latin typeface="Arial" charset="0"/>
        </a:defRPr>
      </a:lvl2pPr>
      <a:lvl3pPr algn="l" rtl="0" eaLnBrk="1" fontAlgn="base" hangingPunct="1">
        <a:spcBef>
          <a:spcPct val="0"/>
        </a:spcBef>
        <a:spcAft>
          <a:spcPct val="0"/>
        </a:spcAft>
        <a:defRPr sz="1070" b="1">
          <a:solidFill>
            <a:schemeClr val="bg1"/>
          </a:solidFill>
          <a:latin typeface="Arial" charset="0"/>
        </a:defRPr>
      </a:lvl3pPr>
      <a:lvl4pPr algn="l" rtl="0" eaLnBrk="1" fontAlgn="base" hangingPunct="1">
        <a:spcBef>
          <a:spcPct val="0"/>
        </a:spcBef>
        <a:spcAft>
          <a:spcPct val="0"/>
        </a:spcAft>
        <a:defRPr sz="1070" b="1">
          <a:solidFill>
            <a:schemeClr val="bg1"/>
          </a:solidFill>
          <a:latin typeface="Arial" charset="0"/>
        </a:defRPr>
      </a:lvl4pPr>
      <a:lvl5pPr algn="l" rtl="0" eaLnBrk="1" fontAlgn="base" hangingPunct="1">
        <a:spcBef>
          <a:spcPct val="0"/>
        </a:spcBef>
        <a:spcAft>
          <a:spcPct val="0"/>
        </a:spcAft>
        <a:defRPr sz="1070" b="1">
          <a:solidFill>
            <a:schemeClr val="bg1"/>
          </a:solidFill>
          <a:latin typeface="Arial" charset="0"/>
        </a:defRPr>
      </a:lvl5pPr>
      <a:lvl6pPr marL="228030" algn="l" rtl="0" eaLnBrk="1" fontAlgn="base" hangingPunct="1">
        <a:spcBef>
          <a:spcPct val="0"/>
        </a:spcBef>
        <a:spcAft>
          <a:spcPct val="0"/>
        </a:spcAft>
        <a:defRPr sz="1070" b="1">
          <a:solidFill>
            <a:schemeClr val="bg1"/>
          </a:solidFill>
          <a:latin typeface="Arial" charset="0"/>
        </a:defRPr>
      </a:lvl6pPr>
      <a:lvl7pPr marL="456060" algn="l" rtl="0" eaLnBrk="1" fontAlgn="base" hangingPunct="1">
        <a:spcBef>
          <a:spcPct val="0"/>
        </a:spcBef>
        <a:spcAft>
          <a:spcPct val="0"/>
        </a:spcAft>
        <a:defRPr sz="1070" b="1">
          <a:solidFill>
            <a:schemeClr val="bg1"/>
          </a:solidFill>
          <a:latin typeface="Arial" charset="0"/>
        </a:defRPr>
      </a:lvl7pPr>
      <a:lvl8pPr marL="684090" algn="l" rtl="0" eaLnBrk="1" fontAlgn="base" hangingPunct="1">
        <a:spcBef>
          <a:spcPct val="0"/>
        </a:spcBef>
        <a:spcAft>
          <a:spcPct val="0"/>
        </a:spcAft>
        <a:defRPr sz="1070" b="1">
          <a:solidFill>
            <a:schemeClr val="bg1"/>
          </a:solidFill>
          <a:latin typeface="Arial" charset="0"/>
        </a:defRPr>
      </a:lvl8pPr>
      <a:lvl9pPr marL="912119" algn="l" rtl="0" eaLnBrk="1" fontAlgn="base" hangingPunct="1">
        <a:spcBef>
          <a:spcPct val="0"/>
        </a:spcBef>
        <a:spcAft>
          <a:spcPct val="0"/>
        </a:spcAft>
        <a:defRPr sz="1070" b="1">
          <a:solidFill>
            <a:schemeClr val="bg1"/>
          </a:solidFill>
          <a:latin typeface="Arial" charset="0"/>
        </a:defRPr>
      </a:lvl9pPr>
    </p:titleStyle>
    <p:bodyStyle>
      <a:lvl1pPr marL="100066" indent="-100066" algn="l" rtl="0" eaLnBrk="1" fontAlgn="base" hangingPunct="1">
        <a:spcBef>
          <a:spcPts val="675"/>
        </a:spcBef>
        <a:spcAft>
          <a:spcPct val="0"/>
        </a:spcAft>
        <a:buChar char="•"/>
        <a:defRPr sz="1070">
          <a:solidFill>
            <a:srgbClr val="000000"/>
          </a:solidFill>
          <a:latin typeface="+mn-lt"/>
          <a:ea typeface="+mn-ea"/>
          <a:cs typeface="+mn-cs"/>
        </a:defRPr>
      </a:lvl1pPr>
      <a:lvl2pPr marL="201919" indent="-99173" algn="l" rtl="0" eaLnBrk="1" fontAlgn="base" hangingPunct="1">
        <a:spcBef>
          <a:spcPts val="338"/>
        </a:spcBef>
        <a:spcAft>
          <a:spcPct val="0"/>
        </a:spcAft>
        <a:buChar char="–"/>
        <a:defRPr sz="1070">
          <a:solidFill>
            <a:srgbClr val="000000"/>
          </a:solidFill>
          <a:latin typeface="+mn-lt"/>
        </a:defRPr>
      </a:lvl2pPr>
      <a:lvl3pPr marL="304665" indent="-102746" algn="l" rtl="0" eaLnBrk="1" fontAlgn="base" hangingPunct="1">
        <a:spcBef>
          <a:spcPts val="338"/>
        </a:spcBef>
        <a:spcAft>
          <a:spcPct val="0"/>
        </a:spcAft>
        <a:buFont typeface="Arial" charset="0"/>
        <a:buChar char="-"/>
        <a:defRPr sz="1070">
          <a:solidFill>
            <a:srgbClr val="000000"/>
          </a:solidFill>
          <a:latin typeface="+mn-lt"/>
        </a:defRPr>
      </a:lvl3pPr>
      <a:lvl4pPr marL="798104" indent="-114015" algn="l" rtl="0" eaLnBrk="1" fontAlgn="base" hangingPunct="1">
        <a:spcBef>
          <a:spcPct val="20000"/>
        </a:spcBef>
        <a:spcAft>
          <a:spcPct val="0"/>
        </a:spcAft>
        <a:buChar char="–"/>
        <a:defRPr sz="1013">
          <a:solidFill>
            <a:schemeClr val="tx1"/>
          </a:solidFill>
          <a:latin typeface="+mn-lt"/>
        </a:defRPr>
      </a:lvl4pPr>
      <a:lvl5pPr marL="1026134" indent="-114015" algn="l" rtl="0" eaLnBrk="1" fontAlgn="base" hangingPunct="1">
        <a:spcBef>
          <a:spcPct val="20000"/>
        </a:spcBef>
        <a:spcAft>
          <a:spcPct val="0"/>
        </a:spcAft>
        <a:buChar char="»"/>
        <a:defRPr sz="1013">
          <a:solidFill>
            <a:schemeClr val="tx1"/>
          </a:solidFill>
          <a:latin typeface="+mn-lt"/>
        </a:defRPr>
      </a:lvl5pPr>
      <a:lvl6pPr marL="1254164" indent="-114015" algn="l" rtl="0" eaLnBrk="1" fontAlgn="base" hangingPunct="1">
        <a:spcBef>
          <a:spcPct val="20000"/>
        </a:spcBef>
        <a:spcAft>
          <a:spcPct val="0"/>
        </a:spcAft>
        <a:buChar char="»"/>
        <a:defRPr sz="1013">
          <a:solidFill>
            <a:schemeClr val="tx1"/>
          </a:solidFill>
          <a:latin typeface="+mn-lt"/>
        </a:defRPr>
      </a:lvl6pPr>
      <a:lvl7pPr marL="1482194" indent="-114015" algn="l" rtl="0" eaLnBrk="1" fontAlgn="base" hangingPunct="1">
        <a:spcBef>
          <a:spcPct val="20000"/>
        </a:spcBef>
        <a:spcAft>
          <a:spcPct val="0"/>
        </a:spcAft>
        <a:buChar char="»"/>
        <a:defRPr sz="1013">
          <a:solidFill>
            <a:schemeClr val="tx1"/>
          </a:solidFill>
          <a:latin typeface="+mn-lt"/>
        </a:defRPr>
      </a:lvl7pPr>
      <a:lvl8pPr marL="1710224" indent="-114015" algn="l" rtl="0" eaLnBrk="1" fontAlgn="base" hangingPunct="1">
        <a:spcBef>
          <a:spcPct val="20000"/>
        </a:spcBef>
        <a:spcAft>
          <a:spcPct val="0"/>
        </a:spcAft>
        <a:buChar char="»"/>
        <a:defRPr sz="1013">
          <a:solidFill>
            <a:schemeClr val="tx1"/>
          </a:solidFill>
          <a:latin typeface="+mn-lt"/>
        </a:defRPr>
      </a:lvl8pPr>
      <a:lvl9pPr marL="1938254" indent="-114015" algn="l" rtl="0" eaLnBrk="1" fontAlgn="base" hangingPunct="1">
        <a:spcBef>
          <a:spcPct val="20000"/>
        </a:spcBef>
        <a:spcAft>
          <a:spcPct val="0"/>
        </a:spcAft>
        <a:buChar char="»"/>
        <a:defRPr sz="1013">
          <a:solidFill>
            <a:schemeClr val="tx1"/>
          </a:solidFill>
          <a:latin typeface="+mn-lt"/>
        </a:defRPr>
      </a:lvl9pPr>
    </p:bodyStyle>
    <p:otherStyle>
      <a:defPPr>
        <a:defRPr lang="en-US"/>
      </a:defPPr>
      <a:lvl1pPr marL="0" algn="l" defTabSz="456060" rtl="0" eaLnBrk="1" latinLnBrk="0" hangingPunct="1">
        <a:defRPr sz="901" kern="1200">
          <a:solidFill>
            <a:schemeClr val="tx1"/>
          </a:solidFill>
          <a:latin typeface="+mn-lt"/>
          <a:ea typeface="+mn-ea"/>
          <a:cs typeface="+mn-cs"/>
        </a:defRPr>
      </a:lvl1pPr>
      <a:lvl2pPr marL="228030" algn="l" defTabSz="456060" rtl="0" eaLnBrk="1" latinLnBrk="0" hangingPunct="1">
        <a:defRPr sz="901" kern="1200">
          <a:solidFill>
            <a:schemeClr val="tx1"/>
          </a:solidFill>
          <a:latin typeface="+mn-lt"/>
          <a:ea typeface="+mn-ea"/>
          <a:cs typeface="+mn-cs"/>
        </a:defRPr>
      </a:lvl2pPr>
      <a:lvl3pPr marL="456060" algn="l" defTabSz="456060" rtl="0" eaLnBrk="1" latinLnBrk="0" hangingPunct="1">
        <a:defRPr sz="901" kern="1200">
          <a:solidFill>
            <a:schemeClr val="tx1"/>
          </a:solidFill>
          <a:latin typeface="+mn-lt"/>
          <a:ea typeface="+mn-ea"/>
          <a:cs typeface="+mn-cs"/>
        </a:defRPr>
      </a:lvl3pPr>
      <a:lvl4pPr marL="684090" algn="l" defTabSz="456060" rtl="0" eaLnBrk="1" latinLnBrk="0" hangingPunct="1">
        <a:defRPr sz="901" kern="1200">
          <a:solidFill>
            <a:schemeClr val="tx1"/>
          </a:solidFill>
          <a:latin typeface="+mn-lt"/>
          <a:ea typeface="+mn-ea"/>
          <a:cs typeface="+mn-cs"/>
        </a:defRPr>
      </a:lvl4pPr>
      <a:lvl5pPr marL="912119" algn="l" defTabSz="456060" rtl="0" eaLnBrk="1" latinLnBrk="0" hangingPunct="1">
        <a:defRPr sz="901" kern="1200">
          <a:solidFill>
            <a:schemeClr val="tx1"/>
          </a:solidFill>
          <a:latin typeface="+mn-lt"/>
          <a:ea typeface="+mn-ea"/>
          <a:cs typeface="+mn-cs"/>
        </a:defRPr>
      </a:lvl5pPr>
      <a:lvl6pPr marL="1140149" algn="l" defTabSz="456060" rtl="0" eaLnBrk="1" latinLnBrk="0" hangingPunct="1">
        <a:defRPr sz="901" kern="1200">
          <a:solidFill>
            <a:schemeClr val="tx1"/>
          </a:solidFill>
          <a:latin typeface="+mn-lt"/>
          <a:ea typeface="+mn-ea"/>
          <a:cs typeface="+mn-cs"/>
        </a:defRPr>
      </a:lvl6pPr>
      <a:lvl7pPr marL="1368179" algn="l" defTabSz="456060" rtl="0" eaLnBrk="1" latinLnBrk="0" hangingPunct="1">
        <a:defRPr sz="901" kern="1200">
          <a:solidFill>
            <a:schemeClr val="tx1"/>
          </a:solidFill>
          <a:latin typeface="+mn-lt"/>
          <a:ea typeface="+mn-ea"/>
          <a:cs typeface="+mn-cs"/>
        </a:defRPr>
      </a:lvl7pPr>
      <a:lvl8pPr marL="1596209" algn="l" defTabSz="456060" rtl="0" eaLnBrk="1" latinLnBrk="0" hangingPunct="1">
        <a:defRPr sz="901" kern="1200">
          <a:solidFill>
            <a:schemeClr val="tx1"/>
          </a:solidFill>
          <a:latin typeface="+mn-lt"/>
          <a:ea typeface="+mn-ea"/>
          <a:cs typeface="+mn-cs"/>
        </a:defRPr>
      </a:lvl8pPr>
      <a:lvl9pPr marL="1824239" algn="l" defTabSz="456060" rtl="0" eaLnBrk="1" latinLnBrk="0" hangingPunct="1">
        <a:defRPr sz="9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3" Type="http://schemas.openxmlformats.org/officeDocument/2006/relationships/tags" Target="../tags/tag81.xml"/><Relationship Id="rId21" Type="http://schemas.openxmlformats.org/officeDocument/2006/relationships/image" Target="../media/image9.emf"/><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oleObject" Target="../embeddings/oleObject36.bin"/><Relationship Id="rId1" Type="http://schemas.openxmlformats.org/officeDocument/2006/relationships/vmlDrawing" Target="../drawings/vmlDrawing34.v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image" Target="../media/image12.emf"/><Relationship Id="rId10" Type="http://schemas.openxmlformats.org/officeDocument/2006/relationships/tags" Target="../tags/tag88.xml"/><Relationship Id="rId19" Type="http://schemas.openxmlformats.org/officeDocument/2006/relationships/slideLayout" Target="../slideLayouts/slideLayout10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oleObject" Target="../embeddings/oleObject37.bin"/></Relationships>
</file>

<file path=ppt/slides/_rels/slide11.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tags" Target="../tags/tag113.xml"/><Relationship Id="rId26" Type="http://schemas.openxmlformats.org/officeDocument/2006/relationships/tags" Target="../tags/tag121.xml"/><Relationship Id="rId39" Type="http://schemas.openxmlformats.org/officeDocument/2006/relationships/image" Target="../media/image14.emf"/><Relationship Id="rId3" Type="http://schemas.openxmlformats.org/officeDocument/2006/relationships/tags" Target="../tags/tag98.xml"/><Relationship Id="rId21" Type="http://schemas.openxmlformats.org/officeDocument/2006/relationships/tags" Target="../tags/tag116.xml"/><Relationship Id="rId34" Type="http://schemas.openxmlformats.org/officeDocument/2006/relationships/oleObject" Target="../embeddings/oleObject38.bin"/><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tags" Target="../tags/tag112.xml"/><Relationship Id="rId25" Type="http://schemas.openxmlformats.org/officeDocument/2006/relationships/tags" Target="../tags/tag120.xml"/><Relationship Id="rId33" Type="http://schemas.openxmlformats.org/officeDocument/2006/relationships/notesSlide" Target="../notesSlides/notesSlide5.xml"/><Relationship Id="rId38" Type="http://schemas.openxmlformats.org/officeDocument/2006/relationships/oleObject" Target="../embeddings/oleObject40.bin"/><Relationship Id="rId2" Type="http://schemas.openxmlformats.org/officeDocument/2006/relationships/tags" Target="../tags/tag97.xml"/><Relationship Id="rId16" Type="http://schemas.openxmlformats.org/officeDocument/2006/relationships/tags" Target="../tags/tag111.xml"/><Relationship Id="rId20" Type="http://schemas.openxmlformats.org/officeDocument/2006/relationships/tags" Target="../tags/tag115.xml"/><Relationship Id="rId29" Type="http://schemas.openxmlformats.org/officeDocument/2006/relationships/tags" Target="../tags/tag124.xml"/><Relationship Id="rId1" Type="http://schemas.openxmlformats.org/officeDocument/2006/relationships/vmlDrawing" Target="../drawings/vmlDrawing35.v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tags" Target="../tags/tag119.xml"/><Relationship Id="rId32" Type="http://schemas.openxmlformats.org/officeDocument/2006/relationships/slideLayout" Target="../slideLayouts/slideLayout114.xml"/><Relationship Id="rId37" Type="http://schemas.openxmlformats.org/officeDocument/2006/relationships/image" Target="../media/image13.emf"/><Relationship Id="rId5" Type="http://schemas.openxmlformats.org/officeDocument/2006/relationships/tags" Target="../tags/tag100.xml"/><Relationship Id="rId15" Type="http://schemas.openxmlformats.org/officeDocument/2006/relationships/tags" Target="../tags/tag110.xml"/><Relationship Id="rId23" Type="http://schemas.openxmlformats.org/officeDocument/2006/relationships/tags" Target="../tags/tag118.xml"/><Relationship Id="rId28" Type="http://schemas.openxmlformats.org/officeDocument/2006/relationships/tags" Target="../tags/tag123.xml"/><Relationship Id="rId36" Type="http://schemas.openxmlformats.org/officeDocument/2006/relationships/oleObject" Target="../embeddings/oleObject39.bin"/><Relationship Id="rId10" Type="http://schemas.openxmlformats.org/officeDocument/2006/relationships/tags" Target="../tags/tag105.xml"/><Relationship Id="rId19" Type="http://schemas.openxmlformats.org/officeDocument/2006/relationships/tags" Target="../tags/tag114.xml"/><Relationship Id="rId31" Type="http://schemas.openxmlformats.org/officeDocument/2006/relationships/tags" Target="../tags/tag126.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tags" Target="../tags/tag117.xml"/><Relationship Id="rId27" Type="http://schemas.openxmlformats.org/officeDocument/2006/relationships/tags" Target="../tags/tag122.xml"/><Relationship Id="rId30" Type="http://schemas.openxmlformats.org/officeDocument/2006/relationships/tags" Target="../tags/tag125.xml"/><Relationship Id="rId35" Type="http://schemas.openxmlformats.org/officeDocument/2006/relationships/image" Target="../media/image9.emf"/></Relationships>
</file>

<file path=ppt/slides/_rels/slide12.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tags" Target="../tags/tag151.xml"/><Relationship Id="rId39" Type="http://schemas.openxmlformats.org/officeDocument/2006/relationships/oleObject" Target="../embeddings/oleObject41.bin"/><Relationship Id="rId3" Type="http://schemas.openxmlformats.org/officeDocument/2006/relationships/tags" Target="../tags/tag128.xml"/><Relationship Id="rId21" Type="http://schemas.openxmlformats.org/officeDocument/2006/relationships/tags" Target="../tags/tag146.xml"/><Relationship Id="rId34" Type="http://schemas.openxmlformats.org/officeDocument/2006/relationships/tags" Target="../tags/tag159.xml"/><Relationship Id="rId42" Type="http://schemas.openxmlformats.org/officeDocument/2006/relationships/image" Target="../media/image15.emf"/><Relationship Id="rId47" Type="http://schemas.openxmlformats.org/officeDocument/2006/relationships/oleObject" Target="../embeddings/oleObject43.bin"/><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tags" Target="../tags/tag150.xml"/><Relationship Id="rId33" Type="http://schemas.openxmlformats.org/officeDocument/2006/relationships/tags" Target="../tags/tag158.xml"/><Relationship Id="rId38" Type="http://schemas.openxmlformats.org/officeDocument/2006/relationships/slideLayout" Target="../slideLayouts/slideLayout120.xml"/><Relationship Id="rId46" Type="http://schemas.openxmlformats.org/officeDocument/2006/relationships/image" Target="../media/image20.png"/><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29" Type="http://schemas.openxmlformats.org/officeDocument/2006/relationships/tags" Target="../tags/tag154.xml"/><Relationship Id="rId41" Type="http://schemas.openxmlformats.org/officeDocument/2006/relationships/oleObject" Target="../embeddings/oleObject42.bin"/><Relationship Id="rId1" Type="http://schemas.openxmlformats.org/officeDocument/2006/relationships/vmlDrawing" Target="../drawings/vmlDrawing36.v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tags" Target="../tags/tag149.xml"/><Relationship Id="rId32" Type="http://schemas.openxmlformats.org/officeDocument/2006/relationships/tags" Target="../tags/tag157.xml"/><Relationship Id="rId37" Type="http://schemas.openxmlformats.org/officeDocument/2006/relationships/tags" Target="../tags/tag162.xml"/><Relationship Id="rId40" Type="http://schemas.openxmlformats.org/officeDocument/2006/relationships/image" Target="../media/image9.emf"/><Relationship Id="rId45" Type="http://schemas.openxmlformats.org/officeDocument/2006/relationships/image" Target="../media/image19.png"/><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tags" Target="../tags/tag148.xml"/><Relationship Id="rId28" Type="http://schemas.openxmlformats.org/officeDocument/2006/relationships/tags" Target="../tags/tag153.xml"/><Relationship Id="rId36" Type="http://schemas.openxmlformats.org/officeDocument/2006/relationships/tags" Target="../tags/tag161.xml"/><Relationship Id="rId10" Type="http://schemas.openxmlformats.org/officeDocument/2006/relationships/tags" Target="../tags/tag135.xml"/><Relationship Id="rId19" Type="http://schemas.openxmlformats.org/officeDocument/2006/relationships/tags" Target="../tags/tag144.xml"/><Relationship Id="rId31" Type="http://schemas.openxmlformats.org/officeDocument/2006/relationships/tags" Target="../tags/tag156.xml"/><Relationship Id="rId44" Type="http://schemas.openxmlformats.org/officeDocument/2006/relationships/image" Target="../media/image18.png"/><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tags" Target="../tags/tag152.xml"/><Relationship Id="rId30" Type="http://schemas.openxmlformats.org/officeDocument/2006/relationships/tags" Target="../tags/tag155.xml"/><Relationship Id="rId35" Type="http://schemas.openxmlformats.org/officeDocument/2006/relationships/tags" Target="../tags/tag160.xml"/><Relationship Id="rId43" Type="http://schemas.openxmlformats.org/officeDocument/2006/relationships/image" Target="../media/image17.png"/><Relationship Id="rId48" Type="http://schemas.openxmlformats.org/officeDocument/2006/relationships/image" Target="../media/image16.emf"/></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tags" Target="../tags/tag179.xml"/><Relationship Id="rId26" Type="http://schemas.openxmlformats.org/officeDocument/2006/relationships/tags" Target="../tags/tag187.xml"/><Relationship Id="rId39" Type="http://schemas.openxmlformats.org/officeDocument/2006/relationships/image" Target="../media/image22.emf"/><Relationship Id="rId3" Type="http://schemas.openxmlformats.org/officeDocument/2006/relationships/tags" Target="../tags/tag164.xml"/><Relationship Id="rId21" Type="http://schemas.openxmlformats.org/officeDocument/2006/relationships/tags" Target="../tags/tag182.xml"/><Relationship Id="rId34" Type="http://schemas.openxmlformats.org/officeDocument/2006/relationships/oleObject" Target="../embeddings/oleObject44.bin"/><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tags" Target="../tags/tag186.xml"/><Relationship Id="rId33" Type="http://schemas.openxmlformats.org/officeDocument/2006/relationships/notesSlide" Target="../notesSlides/notesSlide8.xml"/><Relationship Id="rId38" Type="http://schemas.openxmlformats.org/officeDocument/2006/relationships/oleObject" Target="../embeddings/oleObject46.bin"/><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tags" Target="../tags/tag181.xml"/><Relationship Id="rId29" Type="http://schemas.openxmlformats.org/officeDocument/2006/relationships/tags" Target="../tags/tag190.xml"/><Relationship Id="rId1" Type="http://schemas.openxmlformats.org/officeDocument/2006/relationships/vmlDrawing" Target="../drawings/vmlDrawing37.v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tags" Target="../tags/tag185.xml"/><Relationship Id="rId32" Type="http://schemas.openxmlformats.org/officeDocument/2006/relationships/slideLayout" Target="../slideLayouts/slideLayout13.xml"/><Relationship Id="rId37" Type="http://schemas.openxmlformats.org/officeDocument/2006/relationships/image" Target="../media/image21.emf"/><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28" Type="http://schemas.openxmlformats.org/officeDocument/2006/relationships/tags" Target="../tags/tag189.xml"/><Relationship Id="rId36" Type="http://schemas.openxmlformats.org/officeDocument/2006/relationships/oleObject" Target="../embeddings/oleObject45.bin"/><Relationship Id="rId10" Type="http://schemas.openxmlformats.org/officeDocument/2006/relationships/tags" Target="../tags/tag171.xml"/><Relationship Id="rId19" Type="http://schemas.openxmlformats.org/officeDocument/2006/relationships/tags" Target="../tags/tag180.xml"/><Relationship Id="rId31" Type="http://schemas.openxmlformats.org/officeDocument/2006/relationships/tags" Target="../tags/tag192.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 Id="rId27" Type="http://schemas.openxmlformats.org/officeDocument/2006/relationships/tags" Target="../tags/tag188.xml"/><Relationship Id="rId30" Type="http://schemas.openxmlformats.org/officeDocument/2006/relationships/tags" Target="../tags/tag191.xml"/><Relationship Id="rId35"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5.xml"/></Relationships>
</file>

<file path=ppt/slides/_rels/slide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5.xml"/></Relationships>
</file>

<file path=ppt/slides/_rels/slide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5.xml"/></Relationships>
</file>

<file path=ppt/slides/_rels/slide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5.xml"/></Relationships>
</file>

<file path=ppt/slides/_rels/slide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5.xml"/></Relationships>
</file>

<file path=ppt/slides/_rels/slide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6.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image" Target="../media/image9.emf"/><Relationship Id="rId3" Type="http://schemas.openxmlformats.org/officeDocument/2006/relationships/tags" Target="../tags/tag45.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oleObject" Target="../embeddings/oleObject34.bin"/><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oleObject" Target="../embeddings/oleObject32.bin"/><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41" Type="http://schemas.openxmlformats.org/officeDocument/2006/relationships/image" Target="../media/image10.emf"/><Relationship Id="rId1" Type="http://schemas.openxmlformats.org/officeDocument/2006/relationships/vmlDrawing" Target="../drawings/vmlDrawing32.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notesSlide" Target="../notesSlides/notesSlide2.xml"/><Relationship Id="rId40" Type="http://schemas.openxmlformats.org/officeDocument/2006/relationships/oleObject" Target="../embeddings/oleObject33.bin"/><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slideLayout" Target="../slideLayouts/slideLayout96.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 Id="rId43"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79.xml"/><Relationship Id="rId7" Type="http://schemas.openxmlformats.org/officeDocument/2006/relationships/image" Target="../media/image9.emf"/><Relationship Id="rId2" Type="http://schemas.openxmlformats.org/officeDocument/2006/relationships/tags" Target="../tags/tag78.xml"/><Relationship Id="rId1" Type="http://schemas.openxmlformats.org/officeDocument/2006/relationships/vmlDrawing" Target="../drawings/vmlDrawing33.vml"/><Relationship Id="rId6" Type="http://schemas.openxmlformats.org/officeDocument/2006/relationships/oleObject" Target="../embeddings/oleObject35.bin"/><Relationship Id="rId5" Type="http://schemas.openxmlformats.org/officeDocument/2006/relationships/notesSlide" Target="../notesSlides/notesSlide3.xml"/><Relationship Id="rId4" Type="http://schemas.openxmlformats.org/officeDocument/2006/relationships/slideLayout" Target="../slideLayouts/slideLayout90.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02.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5" descr="capa.jpg"/>
          <p:cNvPicPr>
            <a:picLocks noChangeAspect="1"/>
          </p:cNvPicPr>
          <p:nvPr/>
        </p:nvPicPr>
        <p:blipFill>
          <a:blip r:embed="rId3" cstate="print"/>
          <a:srcRect/>
          <a:stretch>
            <a:fillRect/>
          </a:stretch>
        </p:blipFill>
        <p:spPr bwMode="auto">
          <a:xfrm>
            <a:off x="-20782" y="0"/>
            <a:ext cx="9144000" cy="6858000"/>
          </a:xfrm>
          <a:prstGeom prst="rect">
            <a:avLst/>
          </a:prstGeom>
          <a:noFill/>
          <a:ln w="9525">
            <a:noFill/>
            <a:miter lim="800000"/>
            <a:headEnd/>
            <a:tailEnd/>
          </a:ln>
        </p:spPr>
      </p:pic>
      <p:sp>
        <p:nvSpPr>
          <p:cNvPr id="22531" name="Rectangle 6"/>
          <p:cNvSpPr>
            <a:spLocks noChangeArrowheads="1"/>
          </p:cNvSpPr>
          <p:nvPr/>
        </p:nvSpPr>
        <p:spPr bwMode="auto">
          <a:xfrm>
            <a:off x="3886200" y="5299045"/>
            <a:ext cx="3862387" cy="552450"/>
          </a:xfrm>
          <a:prstGeom prst="rect">
            <a:avLst/>
          </a:prstGeom>
          <a:noFill/>
          <a:ln w="9525">
            <a:noFill/>
            <a:miter lim="800000"/>
            <a:headEnd/>
            <a:tailEnd/>
          </a:ln>
        </p:spPr>
        <p:txBody>
          <a:bodyPr lIns="0" tIns="0" rIns="0" bIns="0" anchor="ctr"/>
          <a:lstStyle/>
          <a:p>
            <a:pPr algn="ctr">
              <a:spcBef>
                <a:spcPct val="0"/>
              </a:spcBef>
            </a:pPr>
            <a:endParaRPr lang="pt-BR" sz="2200" b="1" dirty="0">
              <a:solidFill>
                <a:srgbClr val="003366"/>
              </a:solidFill>
              <a:latin typeface="Trebuchet MS" pitchFamily="34" charset="0"/>
            </a:endParaRPr>
          </a:p>
        </p:txBody>
      </p:sp>
      <p:sp>
        <p:nvSpPr>
          <p:cNvPr id="22532" name="Text Box 14"/>
          <p:cNvSpPr txBox="1">
            <a:spLocks noChangeArrowheads="1"/>
          </p:cNvSpPr>
          <p:nvPr/>
        </p:nvSpPr>
        <p:spPr bwMode="auto">
          <a:xfrm>
            <a:off x="0" y="2296883"/>
            <a:ext cx="5105400" cy="2339102"/>
          </a:xfrm>
          <a:prstGeom prst="rect">
            <a:avLst/>
          </a:prstGeom>
          <a:noFill/>
          <a:ln w="9525">
            <a:noFill/>
            <a:miter lim="800000"/>
            <a:headEnd/>
            <a:tailEnd/>
          </a:ln>
        </p:spPr>
        <p:txBody>
          <a:bodyPr wrap="square">
            <a:spAutoFit/>
          </a:bodyPr>
          <a:lstStyle/>
          <a:p>
            <a:pPr eaLnBrk="0" hangingPunct="0">
              <a:spcBef>
                <a:spcPct val="0"/>
              </a:spcBef>
            </a:pPr>
            <a:r>
              <a:rPr lang="pt-BR" sz="3200" b="1" dirty="0" smtClean="0">
                <a:solidFill>
                  <a:srgbClr val="0B336A"/>
                </a:solidFill>
                <a:latin typeface="Trebuchet MS" pitchFamily="34" charset="0"/>
              </a:rPr>
              <a:t>Spread Bancário no Brasil</a:t>
            </a:r>
          </a:p>
          <a:p>
            <a:pPr eaLnBrk="0" hangingPunct="0">
              <a:spcBef>
                <a:spcPct val="0"/>
              </a:spcBef>
            </a:pPr>
            <a:endParaRPr lang="pt-BR" sz="2400" b="1" dirty="0" smtClean="0">
              <a:solidFill>
                <a:srgbClr val="0B336A"/>
              </a:solidFill>
              <a:latin typeface="Trebuchet MS" pitchFamily="34" charset="0"/>
            </a:endParaRPr>
          </a:p>
          <a:p>
            <a:pPr eaLnBrk="0" hangingPunct="0">
              <a:spcBef>
                <a:spcPct val="0"/>
              </a:spcBef>
            </a:pPr>
            <a:endParaRPr lang="pt-BR" sz="2400" b="1" dirty="0" smtClean="0">
              <a:solidFill>
                <a:srgbClr val="0B336A"/>
              </a:solidFill>
              <a:latin typeface="Trebuchet MS" pitchFamily="34" charset="0"/>
            </a:endParaRPr>
          </a:p>
          <a:p>
            <a:pPr eaLnBrk="0" hangingPunct="0">
              <a:spcBef>
                <a:spcPct val="0"/>
              </a:spcBef>
            </a:pPr>
            <a:r>
              <a:rPr lang="pt-BR" sz="2400" b="1" dirty="0" smtClean="0">
                <a:solidFill>
                  <a:srgbClr val="0B336A"/>
                </a:solidFill>
                <a:latin typeface="Trebuchet MS" pitchFamily="34" charset="0"/>
              </a:rPr>
              <a:t>GT de Reformas Microeconômicas da CAE/Senado – 03/05/2017</a:t>
            </a:r>
          </a:p>
          <a:p>
            <a:pPr eaLnBrk="0" hangingPunct="0">
              <a:spcBef>
                <a:spcPct val="0"/>
              </a:spcBef>
            </a:pPr>
            <a:endParaRPr lang="pt-BR" b="1" dirty="0">
              <a:solidFill>
                <a:srgbClr val="0B336A"/>
              </a:solidFill>
              <a:latin typeface="Trebuchet MS" pitchFamily="34" charset="0"/>
            </a:endParaRPr>
          </a:p>
        </p:txBody>
      </p:sp>
      <p:sp>
        <p:nvSpPr>
          <p:cNvPr id="2" name="CaixaDeTexto 1"/>
          <p:cNvSpPr txBox="1"/>
          <p:nvPr/>
        </p:nvSpPr>
        <p:spPr>
          <a:xfrm>
            <a:off x="5105400" y="4648200"/>
            <a:ext cx="3281111" cy="400110"/>
          </a:xfrm>
          <a:prstGeom prst="rect">
            <a:avLst/>
          </a:prstGeom>
          <a:noFill/>
        </p:spPr>
        <p:txBody>
          <a:bodyPr wrap="square" rtlCol="0">
            <a:spAutoFit/>
          </a:bodyPr>
          <a:lstStyle/>
          <a:p>
            <a:endParaRPr lang="pt-BR" sz="2000" dirty="0"/>
          </a:p>
        </p:txBody>
      </p:sp>
      <p:sp>
        <p:nvSpPr>
          <p:cNvPr id="3" name="Retângulo 2"/>
          <p:cNvSpPr/>
          <p:nvPr/>
        </p:nvSpPr>
        <p:spPr>
          <a:xfrm>
            <a:off x="5115791" y="4658272"/>
            <a:ext cx="1998432" cy="707886"/>
          </a:xfrm>
          <a:prstGeom prst="rect">
            <a:avLst/>
          </a:prstGeom>
        </p:spPr>
        <p:txBody>
          <a:bodyPr wrap="none">
            <a:spAutoFit/>
          </a:bodyPr>
          <a:lstStyle/>
          <a:p>
            <a:r>
              <a:rPr lang="pt-BR" sz="2000" b="1" dirty="0" smtClean="0">
                <a:solidFill>
                  <a:srgbClr val="0B336A"/>
                </a:solidFill>
                <a:latin typeface="Trebuchet MS" pitchFamily="34" charset="0"/>
              </a:rPr>
              <a:t>Murilo Portugal</a:t>
            </a:r>
          </a:p>
          <a:p>
            <a:r>
              <a:rPr lang="pt-BR" sz="2000" b="1" dirty="0" smtClean="0">
                <a:solidFill>
                  <a:srgbClr val="0B336A"/>
                </a:solidFill>
                <a:latin typeface="Trebuchet MS" pitchFamily="34" charset="0"/>
              </a:rPr>
              <a:t>Presidente</a:t>
            </a:r>
            <a:endParaRPr lang="pt-BR" sz="2000" b="1"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38994" name="think-cell Slide" r:id="rId20" imgW="444" imgH="443" progId="TCLayout.ActiveDocument.1">
                  <p:embed/>
                </p:oleObj>
              </mc:Choice>
              <mc:Fallback>
                <p:oleObj name="think-cell Slide" r:id="rId20" imgW="444" imgH="443" progId="TCLayout.ActiveDocument.1">
                  <p:embed/>
                  <p:pic>
                    <p:nvPicPr>
                      <p:cNvPr id="0" name=""/>
                      <p:cNvPicPr/>
                      <p:nvPr/>
                    </p:nvPicPr>
                    <p:blipFill>
                      <a:blip r:embed="rId21"/>
                      <a:stretch>
                        <a:fillRect/>
                      </a:stretch>
                    </p:blipFill>
                    <p:spPr>
                      <a:xfrm>
                        <a:off x="1192" y="858442"/>
                        <a:ext cx="1190" cy="1190"/>
                      </a:xfrm>
                      <a:prstGeom prst="rect">
                        <a:avLst/>
                      </a:prstGeom>
                    </p:spPr>
                  </p:pic>
                </p:oleObj>
              </mc:Fallback>
            </mc:AlternateContent>
          </a:graphicData>
        </a:graphic>
      </p:graphicFrame>
      <p:sp>
        <p:nvSpPr>
          <p:cNvPr id="17" name="Rectangle 16" hidden="1"/>
          <p:cNvSpPr/>
          <p:nvPr>
            <p:custDataLst>
              <p:tags r:id="rId3"/>
            </p:custDataLst>
          </p:nvPr>
        </p:nvSpPr>
        <p:spPr bwMode="auto">
          <a:xfrm>
            <a:off x="0" y="85725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pt-BR" sz="900" dirty="0">
              <a:solidFill>
                <a:prstClr val="white"/>
              </a:solidFill>
              <a:sym typeface="Arial" panose="020B0604020202020204" pitchFamily="34" charset="0"/>
            </a:endParaRPr>
          </a:p>
        </p:txBody>
      </p:sp>
      <p:sp>
        <p:nvSpPr>
          <p:cNvPr id="2" name="Title 1"/>
          <p:cNvSpPr>
            <a:spLocks noGrp="1"/>
          </p:cNvSpPr>
          <p:nvPr>
            <p:ph type="title"/>
          </p:nvPr>
        </p:nvSpPr>
        <p:spPr>
          <a:xfrm>
            <a:off x="0" y="1"/>
            <a:ext cx="9144000" cy="1064352"/>
          </a:xfr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a:effectLst/>
        </p:spPr>
        <p:txBody>
          <a:bodyPr vert="horz" wrap="square" lIns="0" tIns="0" rIns="0" bIns="0" numCol="1" anchor="ctr" anchorCtr="0" compatLnSpc="1">
            <a:prstTxWarp prst="textNoShape">
              <a:avLst/>
            </a:prstTxWarp>
          </a:bodyPr>
          <a:lstStyle/>
          <a:p>
            <a:pPr marL="185738">
              <a:lnSpc>
                <a:spcPct val="80000"/>
              </a:lnSpc>
            </a:pPr>
            <a:r>
              <a:rPr lang="pt-BR" sz="3200" b="1" kern="1200" dirty="0" smtClean="0">
                <a:solidFill>
                  <a:srgbClr val="1F497D"/>
                </a:solidFill>
                <a:latin typeface="Calibri" panose="020F0502020204030204" pitchFamily="34" charset="0"/>
                <a:ea typeface="+mn-ea"/>
                <a:cs typeface="Calibri" panose="020F0502020204030204" pitchFamily="34" charset="0"/>
              </a:rPr>
              <a:t>Alíquota nominal da tributação sobre a renda é a mais elevada</a:t>
            </a:r>
            <a:endParaRPr lang="pt-BR" sz="3200" b="1" kern="1200" dirty="0">
              <a:solidFill>
                <a:srgbClr val="1F497D"/>
              </a:solidFill>
              <a:latin typeface="Calibri" panose="020F0502020204030204" pitchFamily="34" charset="0"/>
              <a:ea typeface="+mn-ea"/>
              <a:cs typeface="Calibri" panose="020F0502020204030204" pitchFamily="34" charset="0"/>
            </a:endParaRPr>
          </a:p>
        </p:txBody>
      </p:sp>
      <p:sp>
        <p:nvSpPr>
          <p:cNvPr id="3" name="Text Placeholder 2"/>
          <p:cNvSpPr>
            <a:spLocks noGrp="1"/>
          </p:cNvSpPr>
          <p:nvPr>
            <p:ph type="body" sz="quarter" idx="10"/>
          </p:nvPr>
        </p:nvSpPr>
        <p:spPr>
          <a:xfrm>
            <a:off x="344273" y="1751663"/>
            <a:ext cx="4293000" cy="215444"/>
          </a:xfrm>
        </p:spPr>
        <p:txBody>
          <a:bodyPr/>
          <a:lstStyle/>
          <a:p>
            <a:r>
              <a:rPr lang="pt-BR" sz="1400" b="1" dirty="0"/>
              <a:t>Impacto da Carga Tributária no Spread</a:t>
            </a:r>
          </a:p>
        </p:txBody>
      </p:sp>
      <p:sp>
        <p:nvSpPr>
          <p:cNvPr id="4" name="TextBox 3"/>
          <p:cNvSpPr txBox="1"/>
          <p:nvPr/>
        </p:nvSpPr>
        <p:spPr>
          <a:xfrm>
            <a:off x="4469330" y="2073641"/>
            <a:ext cx="1794031" cy="577081"/>
          </a:xfrm>
          <a:prstGeom prst="rect">
            <a:avLst/>
          </a:prstGeom>
          <a:noFill/>
        </p:spPr>
        <p:txBody>
          <a:bodyPr wrap="square" rtlCol="0">
            <a:spAutoFit/>
          </a:bodyPr>
          <a:lstStyle/>
          <a:p>
            <a:pPr fontAlgn="base">
              <a:spcBef>
                <a:spcPct val="0"/>
              </a:spcBef>
              <a:spcAft>
                <a:spcPct val="0"/>
              </a:spcAft>
            </a:pPr>
            <a:r>
              <a:rPr lang="pt-BR" sz="1050" b="1" dirty="0">
                <a:solidFill>
                  <a:srgbClr val="2F539C"/>
                </a:solidFill>
              </a:rPr>
              <a:t>Fatores que aumentam a carga tributária do Crédito no Brasil</a:t>
            </a:r>
          </a:p>
        </p:txBody>
      </p:sp>
      <p:sp>
        <p:nvSpPr>
          <p:cNvPr id="5" name="TextBox 4"/>
          <p:cNvSpPr txBox="1"/>
          <p:nvPr/>
        </p:nvSpPr>
        <p:spPr>
          <a:xfrm>
            <a:off x="4495800" y="2735839"/>
            <a:ext cx="3417358" cy="1131079"/>
          </a:xfrm>
          <a:prstGeom prst="rect">
            <a:avLst/>
          </a:prstGeom>
          <a:noFill/>
        </p:spPr>
        <p:txBody>
          <a:bodyPr wrap="square" rtlCol="0">
            <a:spAutoFit/>
          </a:bodyPr>
          <a:lstStyle/>
          <a:p>
            <a:pPr marL="214313" indent="-214313" fontAlgn="base">
              <a:spcBef>
                <a:spcPts val="900"/>
              </a:spcBef>
              <a:buFont typeface="Wingdings" panose="05000000000000000000" pitchFamily="2" charset="2"/>
              <a:buChar char="§"/>
            </a:pPr>
            <a:r>
              <a:rPr lang="pt-BR" sz="1050" dirty="0">
                <a:solidFill>
                  <a:prstClr val="black"/>
                </a:solidFill>
              </a:rPr>
              <a:t>Impostos adicionais sobre receita PIS/COFINS: 4,65% da receita total</a:t>
            </a:r>
          </a:p>
          <a:p>
            <a:pPr marL="214313" indent="-214313" fontAlgn="base">
              <a:spcBef>
                <a:spcPts val="900"/>
              </a:spcBef>
              <a:buFont typeface="Wingdings" panose="05000000000000000000" pitchFamily="2" charset="2"/>
              <a:buChar char="§"/>
            </a:pPr>
            <a:endParaRPr lang="pt-BR" sz="1050" dirty="0">
              <a:solidFill>
                <a:prstClr val="black"/>
              </a:solidFill>
            </a:endParaRPr>
          </a:p>
          <a:p>
            <a:pPr marL="214313" indent="-214313" fontAlgn="base">
              <a:spcBef>
                <a:spcPts val="900"/>
              </a:spcBef>
              <a:buFont typeface="Wingdings" panose="05000000000000000000" pitchFamily="2" charset="2"/>
              <a:buChar char="§"/>
            </a:pPr>
            <a:r>
              <a:rPr lang="pt-BR" sz="1050" dirty="0">
                <a:solidFill>
                  <a:prstClr val="black"/>
                </a:solidFill>
              </a:rPr>
              <a:t>IRPJ e CSLL com aliquota adicional frente aos demais negócios no Brasil</a:t>
            </a:r>
          </a:p>
        </p:txBody>
      </p:sp>
      <p:sp>
        <p:nvSpPr>
          <p:cNvPr id="6" name="TextBox 5"/>
          <p:cNvSpPr txBox="1"/>
          <p:nvPr/>
        </p:nvSpPr>
        <p:spPr>
          <a:xfrm>
            <a:off x="344273" y="2095261"/>
            <a:ext cx="2319396" cy="392415"/>
          </a:xfrm>
          <a:prstGeom prst="rect">
            <a:avLst/>
          </a:prstGeom>
          <a:noFill/>
        </p:spPr>
        <p:txBody>
          <a:bodyPr wrap="square" rtlCol="0">
            <a:spAutoFit/>
          </a:bodyPr>
          <a:lstStyle/>
          <a:p>
            <a:pPr fontAlgn="base">
              <a:spcBef>
                <a:spcPct val="0"/>
              </a:spcBef>
              <a:spcAft>
                <a:spcPct val="0"/>
              </a:spcAft>
            </a:pPr>
            <a:r>
              <a:rPr lang="pt-BR" sz="1050" b="1" dirty="0">
                <a:solidFill>
                  <a:srgbClr val="2F539C"/>
                </a:solidFill>
              </a:rPr>
              <a:t>Imposto sobre Resultado </a:t>
            </a:r>
          </a:p>
          <a:p>
            <a:pPr fontAlgn="base">
              <a:spcBef>
                <a:spcPct val="0"/>
              </a:spcBef>
              <a:spcAft>
                <a:spcPct val="0"/>
              </a:spcAft>
            </a:pPr>
            <a:r>
              <a:rPr lang="pt-BR" sz="900" dirty="0">
                <a:solidFill>
                  <a:srgbClr val="2F539C"/>
                </a:solidFill>
              </a:rPr>
              <a:t>%</a:t>
            </a:r>
          </a:p>
        </p:txBody>
      </p:sp>
      <p:sp>
        <p:nvSpPr>
          <p:cNvPr id="34" name="Curved Up Arrow 33"/>
          <p:cNvSpPr/>
          <p:nvPr/>
        </p:nvSpPr>
        <p:spPr>
          <a:xfrm rot="5920090" flipV="1">
            <a:off x="2840885" y="2708747"/>
            <a:ext cx="392710" cy="170112"/>
          </a:xfrm>
          <a:prstGeom prst="curvedUpArrow">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dirty="0">
              <a:solidFill>
                <a:prstClr val="black"/>
              </a:solidFill>
            </a:endParaRPr>
          </a:p>
        </p:txBody>
      </p:sp>
      <p:grpSp>
        <p:nvGrpSpPr>
          <p:cNvPr id="73" name="Group 72"/>
          <p:cNvGrpSpPr/>
          <p:nvPr/>
        </p:nvGrpSpPr>
        <p:grpSpPr>
          <a:xfrm>
            <a:off x="769578" y="5479656"/>
            <a:ext cx="2489338" cy="81000"/>
            <a:chOff x="-486973" y="5878066"/>
            <a:chExt cx="3319117" cy="108000"/>
          </a:xfrm>
        </p:grpSpPr>
        <p:sp>
          <p:nvSpPr>
            <p:cNvPr id="74" name="Rectangle 73"/>
            <p:cNvSpPr/>
            <p:nvPr/>
          </p:nvSpPr>
          <p:spPr bwMode="gray">
            <a:xfrm>
              <a:off x="563424" y="5878066"/>
              <a:ext cx="144000" cy="108000"/>
            </a:xfrm>
            <a:prstGeom prst="rect">
              <a:avLst/>
            </a:prstGeom>
            <a:solidFill>
              <a:schemeClr val="accent1">
                <a:lumMod val="50000"/>
              </a:schemeClr>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fontAlgn="base">
                <a:spcBef>
                  <a:spcPct val="0"/>
                </a:spcBef>
                <a:spcAft>
                  <a:spcPts val="225"/>
                </a:spcAft>
              </a:pPr>
              <a:r>
                <a:rPr lang="pt-BR" sz="750" kern="0" dirty="0">
                  <a:solidFill>
                    <a:prstClr val="black"/>
                  </a:solidFill>
                  <a:cs typeface="Arial" pitchFamily="34" charset="0"/>
                </a:rPr>
                <a:t>Demais Países Emergentes</a:t>
              </a:r>
            </a:p>
          </p:txBody>
        </p:sp>
        <p:sp>
          <p:nvSpPr>
            <p:cNvPr id="75" name="Rectangle 74"/>
            <p:cNvSpPr/>
            <p:nvPr/>
          </p:nvSpPr>
          <p:spPr bwMode="gray">
            <a:xfrm>
              <a:off x="2688144" y="5878066"/>
              <a:ext cx="144000" cy="108000"/>
            </a:xfrm>
            <a:prstGeom prst="rect">
              <a:avLst/>
            </a:prstGeom>
            <a:solidFill>
              <a:srgbClr val="808080"/>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fontAlgn="base">
                <a:spcBef>
                  <a:spcPct val="0"/>
                </a:spcBef>
                <a:spcAft>
                  <a:spcPts val="225"/>
                </a:spcAft>
              </a:pPr>
              <a:r>
                <a:rPr lang="pt-BR" sz="750" kern="0" dirty="0">
                  <a:solidFill>
                    <a:prstClr val="black"/>
                  </a:solidFill>
                  <a:cs typeface="Arial" pitchFamily="34" charset="0"/>
                </a:rPr>
                <a:t> Países Desenvolvidos</a:t>
              </a:r>
            </a:p>
          </p:txBody>
        </p:sp>
        <p:sp>
          <p:nvSpPr>
            <p:cNvPr id="76" name="Rectangle 75"/>
            <p:cNvSpPr/>
            <p:nvPr/>
          </p:nvSpPr>
          <p:spPr bwMode="gray">
            <a:xfrm>
              <a:off x="-486973" y="5878066"/>
              <a:ext cx="144000" cy="108000"/>
            </a:xfrm>
            <a:prstGeom prst="rect">
              <a:avLst/>
            </a:prstGeom>
            <a:solidFill>
              <a:srgbClr val="00B0F0"/>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fontAlgn="base">
                <a:spcBef>
                  <a:spcPct val="0"/>
                </a:spcBef>
                <a:spcAft>
                  <a:spcPts val="225"/>
                </a:spcAft>
              </a:pPr>
              <a:r>
                <a:rPr lang="pt-BR" sz="750" kern="0" dirty="0">
                  <a:solidFill>
                    <a:prstClr val="black"/>
                  </a:solidFill>
                  <a:cs typeface="Arial" pitchFamily="34" charset="0"/>
                </a:rPr>
                <a:t>Brasil</a:t>
              </a:r>
            </a:p>
          </p:txBody>
        </p:sp>
      </p:grpSp>
      <p:graphicFrame>
        <p:nvGraphicFramePr>
          <p:cNvPr id="35" name="Object 34"/>
          <p:cNvGraphicFramePr>
            <a:graphicFrameLocks/>
          </p:cNvGraphicFramePr>
          <p:nvPr>
            <p:custDataLst>
              <p:tags r:id="rId4"/>
            </p:custDataLst>
            <p:extLst>
              <p:ext uri="{D42A27DB-BD31-4B8C-83A1-F6EECF244321}">
                <p14:modId xmlns:p14="http://schemas.microsoft.com/office/powerpoint/2010/main" val="2100040553"/>
              </p:ext>
            </p:extLst>
          </p:nvPr>
        </p:nvGraphicFramePr>
        <p:xfrm>
          <a:off x="1028700" y="2343150"/>
          <a:ext cx="1866900" cy="3078863"/>
        </p:xfrm>
        <a:graphic>
          <a:graphicData uri="http://schemas.openxmlformats.org/presentationml/2006/ole">
            <mc:AlternateContent xmlns:mc="http://schemas.openxmlformats.org/markup-compatibility/2006">
              <mc:Choice xmlns:v="urn:schemas-microsoft-com:vml" Requires="v">
                <p:oleObj spid="_x0000_s38995" name="Chart" r:id="rId22" imgW="2057490" imgH="4105182" progId="MSGraph.Chart.8">
                  <p:embed followColorScheme="full"/>
                </p:oleObj>
              </mc:Choice>
              <mc:Fallback>
                <p:oleObj name="Chart" r:id="rId22" imgW="2057490" imgH="4105182" progId="MSGraph.Chart.8">
                  <p:embed followColorScheme="full"/>
                  <p:pic>
                    <p:nvPicPr>
                      <p:cNvPr id="0" name=""/>
                      <p:cNvPicPr/>
                      <p:nvPr/>
                    </p:nvPicPr>
                    <p:blipFill>
                      <a:blip r:embed="rId23"/>
                      <a:stretch>
                        <a:fillRect/>
                      </a:stretch>
                    </p:blipFill>
                    <p:spPr>
                      <a:xfrm>
                        <a:off x="1028700" y="2343150"/>
                        <a:ext cx="1866900" cy="3078863"/>
                      </a:xfrm>
                      <a:prstGeom prst="rect">
                        <a:avLst/>
                      </a:prstGeom>
                    </p:spPr>
                  </p:pic>
                </p:oleObj>
              </mc:Fallback>
            </mc:AlternateContent>
          </a:graphicData>
        </a:graphic>
      </p:graphicFrame>
      <p:sp>
        <p:nvSpPr>
          <p:cNvPr id="61" name="Rectangle 60"/>
          <p:cNvSpPr>
            <a:spLocks noGrp="1" noChangeArrowheads="1"/>
          </p:cNvSpPr>
          <p:nvPr>
            <p:custDataLst>
              <p:tags r:id="rId5"/>
            </p:custDataLst>
          </p:nvPr>
        </p:nvSpPr>
        <p:spPr bwMode="auto">
          <a:xfrm>
            <a:off x="771525" y="5125642"/>
            <a:ext cx="34766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5F1CD297-008F-460F-8E6E-9F46209A0537}" type="datetime'Rú''''''''s''''''''''''''''s''i''''a'''''">
              <a:rPr lang="pt-BR" altLang="en-US" sz="900">
                <a:sym typeface="+mn-lt"/>
              </a:rPr>
              <a:pPr marL="0" indent="0" algn="r">
                <a:spcBef>
                  <a:spcPct val="0"/>
                </a:spcBef>
                <a:buNone/>
              </a:pPr>
              <a:t>Rússia</a:t>
            </a:fld>
            <a:endParaRPr lang="pt-BR" sz="900" dirty="0">
              <a:sym typeface="+mn-lt"/>
            </a:endParaRPr>
          </a:p>
        </p:txBody>
      </p:sp>
      <p:sp>
        <p:nvSpPr>
          <p:cNvPr id="59" name="Rectangle 58"/>
          <p:cNvSpPr>
            <a:spLocks noGrp="1" noChangeArrowheads="1"/>
          </p:cNvSpPr>
          <p:nvPr>
            <p:custDataLst>
              <p:tags r:id="rId6"/>
            </p:custDataLst>
          </p:nvPr>
        </p:nvSpPr>
        <p:spPr bwMode="auto">
          <a:xfrm>
            <a:off x="644129" y="4525567"/>
            <a:ext cx="4750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40BF57E2-2E9C-4DC9-8252-BC2CD7EE1114}" type="datetime'Co''''r''''''''''''é''i''''''''a'' S''''''''''''.'''''''''">
              <a:rPr lang="pt-BR" altLang="en-US" sz="900">
                <a:sym typeface="+mn-lt"/>
              </a:rPr>
              <a:pPr marL="0" indent="0" algn="r">
                <a:spcBef>
                  <a:spcPct val="0"/>
                </a:spcBef>
                <a:buNone/>
              </a:pPr>
              <a:t>Coréia S.</a:t>
            </a:fld>
            <a:endParaRPr lang="pt-BR" sz="900" dirty="0">
              <a:sym typeface="+mn-lt"/>
            </a:endParaRPr>
          </a:p>
        </p:txBody>
      </p:sp>
      <p:sp>
        <p:nvSpPr>
          <p:cNvPr id="58" name="Rectangle 57"/>
          <p:cNvSpPr>
            <a:spLocks noGrp="1" noChangeArrowheads="1"/>
          </p:cNvSpPr>
          <p:nvPr>
            <p:custDataLst>
              <p:tags r:id="rId7"/>
            </p:custDataLst>
          </p:nvPr>
        </p:nvSpPr>
        <p:spPr bwMode="auto">
          <a:xfrm>
            <a:off x="860822" y="4325542"/>
            <a:ext cx="258366"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B9711557-4D77-497A-8495-0A9A385A7045}" type="datetime'''''''''''''''''C''h''''i''le'''''''''''''''''''''''''''">
              <a:rPr lang="pt-BR" altLang="en-US" sz="900">
                <a:sym typeface="+mn-lt"/>
              </a:rPr>
              <a:pPr marL="0" indent="0" algn="r">
                <a:spcBef>
                  <a:spcPct val="0"/>
                </a:spcBef>
                <a:buNone/>
              </a:pPr>
              <a:t>Chile</a:t>
            </a:fld>
            <a:endParaRPr lang="pt-BR" sz="900" dirty="0">
              <a:sym typeface="+mn-lt"/>
            </a:endParaRPr>
          </a:p>
        </p:txBody>
      </p:sp>
      <p:sp>
        <p:nvSpPr>
          <p:cNvPr id="57" name="Rectangle 56"/>
          <p:cNvSpPr>
            <a:spLocks noGrp="1" noChangeArrowheads="1"/>
          </p:cNvSpPr>
          <p:nvPr>
            <p:custDataLst>
              <p:tags r:id="rId8"/>
            </p:custDataLst>
          </p:nvPr>
        </p:nvSpPr>
        <p:spPr bwMode="auto">
          <a:xfrm>
            <a:off x="639367" y="4125517"/>
            <a:ext cx="479822"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6B8ED210-EAA1-409B-897C-0B56D79CB556}" type="datetime'''''''''''C''''''''''''o''''l''ô''''''''''m''b''i''''a'">
              <a:rPr lang="pt-BR" altLang="en-US" sz="900">
                <a:sym typeface="+mn-lt"/>
              </a:rPr>
              <a:pPr marL="0" indent="0" algn="r">
                <a:spcBef>
                  <a:spcPct val="0"/>
                </a:spcBef>
                <a:buNone/>
              </a:pPr>
              <a:t>Colômbia</a:t>
            </a:fld>
            <a:endParaRPr lang="pt-BR" sz="900" dirty="0">
              <a:sym typeface="+mn-lt"/>
            </a:endParaRPr>
          </a:p>
        </p:txBody>
      </p:sp>
      <p:sp>
        <p:nvSpPr>
          <p:cNvPr id="60" name="Rectangle 59"/>
          <p:cNvSpPr>
            <a:spLocks noGrp="1" noChangeArrowheads="1"/>
          </p:cNvSpPr>
          <p:nvPr>
            <p:custDataLst>
              <p:tags r:id="rId9"/>
            </p:custDataLst>
          </p:nvPr>
        </p:nvSpPr>
        <p:spPr bwMode="auto">
          <a:xfrm>
            <a:off x="960835" y="4925617"/>
            <a:ext cx="1583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FDFC7E67-35D7-479D-A190-9974672B7356}" type="datetime'''''''''''''''''''''''''''''''''''''''U''''''''''''K'''">
              <a:rPr lang="pt-BR" altLang="en-US" sz="900">
                <a:sym typeface="+mn-lt"/>
              </a:rPr>
              <a:pPr marL="0" indent="0" algn="r">
                <a:spcBef>
                  <a:spcPct val="0"/>
                </a:spcBef>
                <a:buNone/>
              </a:pPr>
              <a:t>UK</a:t>
            </a:fld>
            <a:endParaRPr lang="pt-BR" sz="900" dirty="0">
              <a:sym typeface="+mn-lt"/>
            </a:endParaRPr>
          </a:p>
        </p:txBody>
      </p:sp>
      <p:sp>
        <p:nvSpPr>
          <p:cNvPr id="56" name="Rectangle 55"/>
          <p:cNvSpPr>
            <a:spLocks noGrp="1" noChangeArrowheads="1"/>
          </p:cNvSpPr>
          <p:nvPr>
            <p:custDataLst>
              <p:tags r:id="rId10"/>
            </p:custDataLst>
          </p:nvPr>
        </p:nvSpPr>
        <p:spPr bwMode="auto">
          <a:xfrm>
            <a:off x="686992" y="3925492"/>
            <a:ext cx="432197"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26BFABB9-1998-4645-92EC-1AB63C93E0E7}" type="datetime'Á''''f''r''''''i''''''''''''''''''''''''c''''a ''S.'''''''''">
              <a:rPr lang="pt-BR" altLang="en-US" sz="900">
                <a:sym typeface="+mn-lt"/>
              </a:rPr>
              <a:pPr marL="0" indent="0" algn="r">
                <a:spcBef>
                  <a:spcPct val="0"/>
                </a:spcBef>
                <a:buNone/>
              </a:pPr>
              <a:t>África S.</a:t>
            </a:fld>
            <a:endParaRPr lang="pt-BR" sz="900" dirty="0">
              <a:sym typeface="+mn-lt"/>
            </a:endParaRPr>
          </a:p>
        </p:txBody>
      </p:sp>
      <p:sp>
        <p:nvSpPr>
          <p:cNvPr id="55" name="Rectangle 54"/>
          <p:cNvSpPr>
            <a:spLocks noGrp="1" noChangeArrowheads="1"/>
          </p:cNvSpPr>
          <p:nvPr>
            <p:custDataLst>
              <p:tags r:id="rId11"/>
            </p:custDataLst>
          </p:nvPr>
        </p:nvSpPr>
        <p:spPr bwMode="auto">
          <a:xfrm>
            <a:off x="676275" y="3725467"/>
            <a:ext cx="44291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EB5F6255-8805-4B0D-AC50-4D01A4CF60F6}" type="datetime'''''''''''''''''''''''''''''''''''''''A''ustrá''''''li''a'">
              <a:rPr lang="pt-BR" altLang="en-US" sz="900">
                <a:sym typeface="+mn-lt"/>
              </a:rPr>
              <a:pPr marL="0" indent="0" algn="r">
                <a:spcBef>
                  <a:spcPct val="0"/>
                </a:spcBef>
                <a:buNone/>
              </a:pPr>
              <a:t>Austrália</a:t>
            </a:fld>
            <a:endParaRPr lang="pt-BR" sz="900" dirty="0">
              <a:sym typeface="+mn-lt"/>
            </a:endParaRPr>
          </a:p>
        </p:txBody>
      </p:sp>
      <p:sp>
        <p:nvSpPr>
          <p:cNvPr id="63" name="Rectangle 62"/>
          <p:cNvSpPr>
            <a:spLocks noGrp="1" noChangeArrowheads="1"/>
          </p:cNvSpPr>
          <p:nvPr>
            <p:custDataLst>
              <p:tags r:id="rId12"/>
            </p:custDataLst>
          </p:nvPr>
        </p:nvSpPr>
        <p:spPr bwMode="auto">
          <a:xfrm>
            <a:off x="738188" y="4725592"/>
            <a:ext cx="38100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C76AC0E4-2EAD-4AA8-888B-5469CD47445A}" type="datetime'''''T''ur''''''''''''q''''''u''i''''''a'''''''''">
              <a:rPr lang="pt-BR" altLang="en-US" sz="900">
                <a:sym typeface="+mn-lt"/>
              </a:rPr>
              <a:pPr marL="0" indent="0" algn="r">
                <a:spcBef>
                  <a:spcPct val="0"/>
                </a:spcBef>
                <a:buNone/>
              </a:pPr>
              <a:t>Turquia</a:t>
            </a:fld>
            <a:endParaRPr lang="pt-BR" sz="900" dirty="0">
              <a:sym typeface="+mn-lt"/>
            </a:endParaRPr>
          </a:p>
        </p:txBody>
      </p:sp>
      <p:sp>
        <p:nvSpPr>
          <p:cNvPr id="49" name="Rectangle 48"/>
          <p:cNvSpPr>
            <a:spLocks noGrp="1" noChangeArrowheads="1"/>
          </p:cNvSpPr>
          <p:nvPr>
            <p:custDataLst>
              <p:tags r:id="rId13"/>
            </p:custDataLst>
          </p:nvPr>
        </p:nvSpPr>
        <p:spPr bwMode="auto">
          <a:xfrm>
            <a:off x="884635" y="3125392"/>
            <a:ext cx="2345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F18353B6-0994-42EE-898F-F95A5BC3DC19}" type="datetime'''''''''''''''''''''''''''''''''''''''E''''''''U''''''''A'''">
              <a:rPr lang="pt-BR" altLang="en-US" sz="900">
                <a:sym typeface="+mn-lt"/>
              </a:rPr>
              <a:pPr marL="0" indent="0" algn="r">
                <a:spcBef>
                  <a:spcPct val="0"/>
                </a:spcBef>
                <a:buNone/>
              </a:pPr>
              <a:t>EUA</a:t>
            </a:fld>
            <a:endParaRPr lang="pt-BR" sz="900" dirty="0">
              <a:sym typeface="+mn-lt"/>
            </a:endParaRPr>
          </a:p>
        </p:txBody>
      </p:sp>
      <p:sp>
        <p:nvSpPr>
          <p:cNvPr id="46" name="Rectangle 45"/>
          <p:cNvSpPr>
            <a:spLocks noGrp="1" noChangeArrowheads="1"/>
          </p:cNvSpPr>
          <p:nvPr>
            <p:custDataLst>
              <p:tags r:id="rId14"/>
            </p:custDataLst>
          </p:nvPr>
        </p:nvSpPr>
        <p:spPr bwMode="auto">
          <a:xfrm>
            <a:off x="352425" y="2525317"/>
            <a:ext cx="76676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A18C4FA5-5B7E-401B-B1D2-97208076A028}" type="datetime'''Br''a''s''''''i''''l ''- ''''''''Ban''c''''o''''s'''">
              <a:rPr lang="pt-BR" altLang="en-US" sz="900">
                <a:sym typeface="+mn-lt"/>
              </a:rPr>
              <a:pPr marL="0" indent="0" algn="r">
                <a:spcBef>
                  <a:spcPct val="0"/>
                </a:spcBef>
                <a:buNone/>
              </a:pPr>
              <a:t>Brasil - Bancos</a:t>
            </a:fld>
            <a:endParaRPr lang="pt-BR" sz="900" dirty="0">
              <a:sym typeface="+mn-lt"/>
            </a:endParaRPr>
          </a:p>
        </p:txBody>
      </p:sp>
      <p:sp>
        <p:nvSpPr>
          <p:cNvPr id="48" name="Rectangle 47"/>
          <p:cNvSpPr>
            <a:spLocks noGrp="1" noChangeArrowheads="1"/>
          </p:cNvSpPr>
          <p:nvPr>
            <p:custDataLst>
              <p:tags r:id="rId15"/>
            </p:custDataLst>
          </p:nvPr>
        </p:nvSpPr>
        <p:spPr bwMode="auto">
          <a:xfrm>
            <a:off x="389335" y="2925367"/>
            <a:ext cx="7298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CD098FAD-AC99-4C09-9DF3-45282C8A3C33}" type="datetime'Br''''''''a''sil'''''' - O''u''''t''''''''r''os'''''''''''''''">
              <a:rPr lang="pt-BR" altLang="en-US" sz="900">
                <a:sym typeface="+mn-lt"/>
              </a:rPr>
              <a:pPr marL="0" indent="0" algn="r">
                <a:spcBef>
                  <a:spcPct val="0"/>
                </a:spcBef>
                <a:buNone/>
              </a:pPr>
              <a:t>Brasil - Outros</a:t>
            </a:fld>
            <a:endParaRPr lang="pt-BR" sz="900" dirty="0">
              <a:sym typeface="+mn-lt"/>
            </a:endParaRPr>
          </a:p>
        </p:txBody>
      </p:sp>
      <p:sp>
        <p:nvSpPr>
          <p:cNvPr id="47" name="Rectangle 46"/>
          <p:cNvSpPr>
            <a:spLocks noGrp="1" noChangeArrowheads="1"/>
          </p:cNvSpPr>
          <p:nvPr>
            <p:custDataLst>
              <p:tags r:id="rId16"/>
            </p:custDataLst>
          </p:nvPr>
        </p:nvSpPr>
        <p:spPr bwMode="auto">
          <a:xfrm>
            <a:off x="872729" y="2725342"/>
            <a:ext cx="2464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0F464C97-01EA-412F-9CC5-5E9C3161E689}" type="datetime'''''Ín''''d''''''''''''''''''''''''''''''''ia'''''''''''''">
              <a:rPr lang="pt-BR" altLang="en-US" sz="900">
                <a:sym typeface="+mn-lt"/>
              </a:rPr>
              <a:pPr marL="0" indent="0" algn="r">
                <a:spcBef>
                  <a:spcPct val="0"/>
                </a:spcBef>
                <a:buNone/>
              </a:pPr>
              <a:t>Índia</a:t>
            </a:fld>
            <a:endParaRPr lang="pt-BR" sz="900" dirty="0">
              <a:sym typeface="+mn-lt"/>
            </a:endParaRPr>
          </a:p>
        </p:txBody>
      </p:sp>
      <p:sp>
        <p:nvSpPr>
          <p:cNvPr id="50" name="Rectangle 49"/>
          <p:cNvSpPr>
            <a:spLocks noGrp="1" noChangeArrowheads="1"/>
          </p:cNvSpPr>
          <p:nvPr>
            <p:custDataLst>
              <p:tags r:id="rId17"/>
            </p:custDataLst>
          </p:nvPr>
        </p:nvSpPr>
        <p:spPr bwMode="auto">
          <a:xfrm>
            <a:off x="607219" y="3325417"/>
            <a:ext cx="511969"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5D48A95A-F5F9-4CC6-B10F-ECB2B66B326E}" type="datetime'''A''le''''''''''''''''''''''m''anh''''''''''''''''''''a'">
              <a:rPr lang="pt-BR" altLang="en-US" sz="900">
                <a:sym typeface="+mn-lt"/>
              </a:rPr>
              <a:pPr marL="0" indent="0" algn="r">
                <a:spcBef>
                  <a:spcPct val="0"/>
                </a:spcBef>
                <a:buNone/>
              </a:pPr>
              <a:t>Alemanha</a:t>
            </a:fld>
            <a:endParaRPr lang="pt-BR" sz="900" dirty="0">
              <a:sym typeface="+mn-lt"/>
            </a:endParaRPr>
          </a:p>
        </p:txBody>
      </p:sp>
      <p:sp>
        <p:nvSpPr>
          <p:cNvPr id="51" name="Rectangle 50"/>
          <p:cNvSpPr>
            <a:spLocks noGrp="1" noChangeArrowheads="1"/>
          </p:cNvSpPr>
          <p:nvPr>
            <p:custDataLst>
              <p:tags r:id="rId18"/>
            </p:custDataLst>
          </p:nvPr>
        </p:nvSpPr>
        <p:spPr bwMode="auto">
          <a:xfrm>
            <a:off x="758429" y="3525442"/>
            <a:ext cx="3607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349E6CD6-CE36-4907-B3FA-0E44B6F8CA49}" type="datetime'''''''''M''''''''é''''''''xi''''''''c''''''''''''''''''''o'">
              <a:rPr lang="pt-BR" altLang="en-US" sz="900">
                <a:sym typeface="+mn-lt"/>
              </a:rPr>
              <a:pPr marL="0" indent="0" algn="r">
                <a:spcBef>
                  <a:spcPct val="0"/>
                </a:spcBef>
                <a:buNone/>
              </a:pPr>
              <a:t>México</a:t>
            </a:fld>
            <a:endParaRPr lang="pt-BR" sz="900" dirty="0">
              <a:sym typeface="+mn-lt"/>
            </a:endParaRPr>
          </a:p>
        </p:txBody>
      </p:sp>
      <p:sp>
        <p:nvSpPr>
          <p:cNvPr id="89" name="TextBox 88"/>
          <p:cNvSpPr txBox="1"/>
          <p:nvPr/>
        </p:nvSpPr>
        <p:spPr>
          <a:xfrm>
            <a:off x="361590" y="5798656"/>
            <a:ext cx="5497477" cy="116314"/>
          </a:xfrm>
          <a:prstGeom prst="rect">
            <a:avLst/>
          </a:prstGeom>
          <a:noFill/>
        </p:spPr>
        <p:txBody>
          <a:bodyPr wrap="square" lIns="0" tIns="0" rIns="0" bIns="0" rtlCol="0">
            <a:spAutoFit/>
          </a:bodyPr>
          <a:lstStyle/>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Fonte: Data Request Bancos (Itaú, Bradesco, Banco do Brasil, Caixa Econômica Federal e Santander), S&amp;P Capital IQ, Receita Federal. Análise Accenture</a:t>
            </a:r>
          </a:p>
        </p:txBody>
      </p:sp>
    </p:spTree>
    <p:extLst>
      <p:ext uri="{BB962C8B-B14F-4D97-AF65-F5344CB8AC3E}">
        <p14:creationId xmlns:p14="http://schemas.microsoft.com/office/powerpoint/2010/main" val="10343888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45169" name="think-cell Slide" r:id="rId34" imgW="444" imgH="443" progId="TCLayout.ActiveDocument.1">
                  <p:embed/>
                </p:oleObj>
              </mc:Choice>
              <mc:Fallback>
                <p:oleObj name="think-cell Slide" r:id="rId34" imgW="444" imgH="443" progId="TCLayout.ActiveDocument.1">
                  <p:embed/>
                  <p:pic>
                    <p:nvPicPr>
                      <p:cNvPr id="0" name=""/>
                      <p:cNvPicPr/>
                      <p:nvPr/>
                    </p:nvPicPr>
                    <p:blipFill>
                      <a:blip r:embed="rId35"/>
                      <a:stretch>
                        <a:fillRect/>
                      </a:stretch>
                    </p:blipFill>
                    <p:spPr>
                      <a:xfrm>
                        <a:off x="1192" y="858442"/>
                        <a:ext cx="1190" cy="1190"/>
                      </a:xfrm>
                      <a:prstGeom prst="rect">
                        <a:avLst/>
                      </a:prstGeom>
                    </p:spPr>
                  </p:pic>
                </p:oleObj>
              </mc:Fallback>
            </mc:AlternateContent>
          </a:graphicData>
        </a:graphic>
      </p:graphicFrame>
      <p:sp>
        <p:nvSpPr>
          <p:cNvPr id="27" name="Rectangle 26" hidden="1"/>
          <p:cNvSpPr/>
          <p:nvPr>
            <p:custDataLst>
              <p:tags r:id="rId3"/>
            </p:custDataLst>
          </p:nvPr>
        </p:nvSpPr>
        <p:spPr bwMode="auto">
          <a:xfrm>
            <a:off x="0" y="85725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pt-BR" sz="900" dirty="0">
              <a:solidFill>
                <a:prstClr val="white"/>
              </a:solidFill>
              <a:sym typeface="+mn-lt"/>
            </a:endParaRPr>
          </a:p>
        </p:txBody>
      </p:sp>
      <p:sp>
        <p:nvSpPr>
          <p:cNvPr id="2" name="Title 1"/>
          <p:cNvSpPr>
            <a:spLocks noGrp="1"/>
          </p:cNvSpPr>
          <p:nvPr>
            <p:ph type="title"/>
          </p:nvPr>
        </p:nvSpPr>
        <p:spPr>
          <a:xfrm>
            <a:off x="0" y="0"/>
            <a:ext cx="9144000" cy="1058400"/>
          </a:xfr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a:effectLst/>
        </p:spPr>
        <p:txBody>
          <a:bodyPr vert="horz" wrap="square" lIns="0" tIns="0" rIns="0" bIns="0" numCol="1" anchor="ctr" anchorCtr="0" compatLnSpc="1">
            <a:prstTxWarp prst="textNoShape">
              <a:avLst/>
            </a:prstTxWarp>
          </a:bodyPr>
          <a:lstStyle/>
          <a:p>
            <a:pPr marL="185738">
              <a:lnSpc>
                <a:spcPct val="80000"/>
              </a:lnSpc>
            </a:pPr>
            <a:r>
              <a:rPr lang="pt-BR" sz="2800" b="1" kern="1200" dirty="0">
                <a:solidFill>
                  <a:srgbClr val="1F497D"/>
                </a:solidFill>
                <a:latin typeface="Calibri" panose="020F0502020204030204" pitchFamily="34" charset="0"/>
                <a:ea typeface="+mn-ea"/>
                <a:cs typeface="Calibri" panose="020F0502020204030204" pitchFamily="34" charset="0"/>
              </a:rPr>
              <a:t>O custo operacional do Brasil é o segundo maior dentre os países analisados, em comparação ao volume de negócios</a:t>
            </a:r>
          </a:p>
        </p:txBody>
      </p:sp>
      <p:graphicFrame>
        <p:nvGraphicFramePr>
          <p:cNvPr id="4" name="Object 3"/>
          <p:cNvGraphicFramePr>
            <a:graphicFrameLocks/>
          </p:cNvGraphicFramePr>
          <p:nvPr>
            <p:custDataLst>
              <p:tags r:id="rId4"/>
            </p:custDataLst>
            <p:extLst/>
          </p:nvPr>
        </p:nvGraphicFramePr>
        <p:xfrm>
          <a:off x="6143625" y="2371725"/>
          <a:ext cx="2121735" cy="3114696"/>
        </p:xfrm>
        <a:graphic>
          <a:graphicData uri="http://schemas.openxmlformats.org/presentationml/2006/ole">
            <mc:AlternateContent xmlns:mc="http://schemas.openxmlformats.org/markup-compatibility/2006">
              <mc:Choice xmlns:v="urn:schemas-microsoft-com:vml" Requires="v">
                <p:oleObj spid="_x0000_s45170" name="Chart" r:id="rId36" imgW="2829049" imgH="4152866" progId="MSGraph.Chart.8">
                  <p:embed followColorScheme="full"/>
                </p:oleObj>
              </mc:Choice>
              <mc:Fallback>
                <p:oleObj name="Chart" r:id="rId36" imgW="2829049" imgH="4152866" progId="MSGraph.Chart.8">
                  <p:embed followColorScheme="full"/>
                  <p:pic>
                    <p:nvPicPr>
                      <p:cNvPr id="0" name=""/>
                      <p:cNvPicPr/>
                      <p:nvPr/>
                    </p:nvPicPr>
                    <p:blipFill>
                      <a:blip r:embed="rId37"/>
                      <a:stretch>
                        <a:fillRect/>
                      </a:stretch>
                    </p:blipFill>
                    <p:spPr>
                      <a:xfrm>
                        <a:off x="6143625" y="2371725"/>
                        <a:ext cx="2121735" cy="3114696"/>
                      </a:xfrm>
                      <a:prstGeom prst="rect">
                        <a:avLst/>
                      </a:prstGeom>
                    </p:spPr>
                  </p:pic>
                </p:oleObj>
              </mc:Fallback>
            </mc:AlternateContent>
          </a:graphicData>
        </a:graphic>
      </p:graphicFrame>
      <p:sp>
        <p:nvSpPr>
          <p:cNvPr id="7" name="Arrow: Right 6"/>
          <p:cNvSpPr/>
          <p:nvPr>
            <p:custDataLst>
              <p:tags r:id="rId5"/>
            </p:custDataLst>
          </p:nvPr>
        </p:nvSpPr>
        <p:spPr bwMode="auto">
          <a:xfrm rot="16200000">
            <a:off x="6996113" y="5400675"/>
            <a:ext cx="96441" cy="114300"/>
          </a:xfrm>
          <a:prstGeom prst="rightArrow">
            <a:avLst>
              <a:gd name="adj1" fmla="val 100000"/>
              <a:gd name="adj2" fmla="val 100000"/>
            </a:avLst>
          </a:prstGeom>
          <a:solidFill>
            <a:schemeClr val="tx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dirty="0">
              <a:solidFill>
                <a:prstClr val="white"/>
              </a:solidFill>
            </a:endParaRPr>
          </a:p>
        </p:txBody>
      </p:sp>
      <p:cxnSp>
        <p:nvCxnSpPr>
          <p:cNvPr id="5" name="Straight Connector 4"/>
          <p:cNvCxnSpPr/>
          <p:nvPr>
            <p:custDataLst>
              <p:tags r:id="rId6"/>
            </p:custDataLst>
          </p:nvPr>
        </p:nvCxnSpPr>
        <p:spPr bwMode="gray">
          <a:xfrm>
            <a:off x="7043738" y="2521745"/>
            <a:ext cx="0" cy="475060"/>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7"/>
            </p:custDataLst>
          </p:nvPr>
        </p:nvCxnSpPr>
        <p:spPr bwMode="gray">
          <a:xfrm>
            <a:off x="7043738" y="3355181"/>
            <a:ext cx="0" cy="80963"/>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8"/>
            </p:custDataLst>
          </p:nvPr>
        </p:nvCxnSpPr>
        <p:spPr bwMode="gray">
          <a:xfrm>
            <a:off x="7043738" y="3573066"/>
            <a:ext cx="0" cy="80963"/>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9"/>
            </p:custDataLst>
          </p:nvPr>
        </p:nvCxnSpPr>
        <p:spPr bwMode="gray">
          <a:xfrm>
            <a:off x="7043738" y="3133725"/>
            <a:ext cx="0" cy="84535"/>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0"/>
            </p:custDataLst>
          </p:nvPr>
        </p:nvCxnSpPr>
        <p:spPr bwMode="gray">
          <a:xfrm>
            <a:off x="7043738" y="3790950"/>
            <a:ext cx="0" cy="1581150"/>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a:spLocks noGrp="1" noChangeArrowheads="1"/>
          </p:cNvSpPr>
          <p:nvPr>
            <p:custDataLst>
              <p:tags r:id="rId11"/>
            </p:custDataLst>
          </p:nvPr>
        </p:nvSpPr>
        <p:spPr bwMode="auto">
          <a:xfrm>
            <a:off x="6913960" y="5544742"/>
            <a:ext cx="259556"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ctr">
              <a:spcBef>
                <a:spcPct val="0"/>
              </a:spcBef>
              <a:buNone/>
            </a:pPr>
            <a:r>
              <a:rPr lang="pt-BR" altLang="en-US" sz="900" dirty="0">
                <a:sym typeface="+mn-lt"/>
              </a:rPr>
              <a:t>2,7%</a:t>
            </a:r>
            <a:endParaRPr lang="pt-BR" sz="900" dirty="0">
              <a:sym typeface="+mn-lt"/>
            </a:endParaRPr>
          </a:p>
        </p:txBody>
      </p:sp>
      <p:sp>
        <p:nvSpPr>
          <p:cNvPr id="26" name="Rectangle 25"/>
          <p:cNvSpPr>
            <a:spLocks noGrp="1" noChangeArrowheads="1"/>
          </p:cNvSpPr>
          <p:nvPr>
            <p:custDataLst>
              <p:tags r:id="rId12"/>
            </p:custDataLst>
          </p:nvPr>
        </p:nvSpPr>
        <p:spPr bwMode="auto">
          <a:xfrm>
            <a:off x="5867400" y="3436144"/>
            <a:ext cx="38100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34F9FBD0-DB6E-457C-8009-0FF58DB1914C}" type="datetime'''T''''''u''''''''''r''''qu''''''''''''''''i''''''a'''''">
              <a:rPr lang="pt-BR" altLang="en-US" sz="900"/>
              <a:pPr marL="0" indent="0" algn="r">
                <a:spcBef>
                  <a:spcPct val="0"/>
                </a:spcBef>
                <a:buNone/>
              </a:pPr>
              <a:t>Turquia</a:t>
            </a:fld>
            <a:endParaRPr lang="pt-BR" sz="900" dirty="0">
              <a:sym typeface="+mn-lt"/>
            </a:endParaRPr>
          </a:p>
        </p:txBody>
      </p:sp>
      <p:sp>
        <p:nvSpPr>
          <p:cNvPr id="22" name="Rectangle 21"/>
          <p:cNvSpPr>
            <a:spLocks noGrp="1" noChangeArrowheads="1"/>
          </p:cNvSpPr>
          <p:nvPr>
            <p:custDataLst>
              <p:tags r:id="rId13"/>
            </p:custDataLst>
          </p:nvPr>
        </p:nvSpPr>
        <p:spPr bwMode="auto">
          <a:xfrm>
            <a:off x="6013847" y="4314826"/>
            <a:ext cx="2345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3E451CEA-9F96-4140-B9F9-D0D97AA935D7}" type="datetime'''''''''''''''''''''''''''''E''''''''UA'">
              <a:rPr lang="pt-BR" altLang="en-US" sz="900"/>
              <a:pPr marL="0" indent="0" algn="r">
                <a:spcBef>
                  <a:spcPct val="0"/>
                </a:spcBef>
                <a:buNone/>
              </a:pPr>
              <a:t>EUA</a:t>
            </a:fld>
            <a:endParaRPr lang="pt-BR" sz="900" dirty="0">
              <a:sym typeface="+mn-lt"/>
            </a:endParaRPr>
          </a:p>
        </p:txBody>
      </p:sp>
      <p:sp>
        <p:nvSpPr>
          <p:cNvPr id="23" name="Rectangle 22"/>
          <p:cNvSpPr>
            <a:spLocks noGrp="1" noChangeArrowheads="1"/>
          </p:cNvSpPr>
          <p:nvPr>
            <p:custDataLst>
              <p:tags r:id="rId14"/>
            </p:custDataLst>
          </p:nvPr>
        </p:nvSpPr>
        <p:spPr bwMode="auto">
          <a:xfrm>
            <a:off x="5773341" y="3218260"/>
            <a:ext cx="4750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9173784C-D85D-4FF4-9E47-81EC1BC4648F}" type="datetime'C''''o''''''''r''éia'' ''''''''S''''.'''''''">
              <a:rPr lang="pt-BR" altLang="en-US" sz="900"/>
              <a:pPr marL="0" indent="0" algn="r">
                <a:spcBef>
                  <a:spcPct val="0"/>
                </a:spcBef>
                <a:buNone/>
              </a:pPr>
              <a:t>Coréia S.</a:t>
            </a:fld>
            <a:endParaRPr lang="pt-BR" sz="900" dirty="0">
              <a:sym typeface="+mn-lt"/>
            </a:endParaRPr>
          </a:p>
        </p:txBody>
      </p:sp>
      <p:sp>
        <p:nvSpPr>
          <p:cNvPr id="25" name="Rectangle 24"/>
          <p:cNvSpPr>
            <a:spLocks noGrp="1" noChangeArrowheads="1"/>
          </p:cNvSpPr>
          <p:nvPr>
            <p:custDataLst>
              <p:tags r:id="rId15"/>
            </p:custDataLst>
          </p:nvPr>
        </p:nvSpPr>
        <p:spPr bwMode="auto">
          <a:xfrm>
            <a:off x="5736432" y="2778919"/>
            <a:ext cx="511969"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71693B7F-61C6-4F5C-A676-6633D9FCAB49}" type="datetime'''''''A''''''''''''''l''em''''''a''''''n''''''''h''''a'''">
              <a:rPr lang="pt-BR" altLang="en-US" sz="900"/>
              <a:pPr marL="0" indent="0" algn="r">
                <a:spcBef>
                  <a:spcPct val="0"/>
                </a:spcBef>
                <a:buNone/>
              </a:pPr>
              <a:t>Alemanha</a:t>
            </a:fld>
            <a:endParaRPr lang="pt-BR" sz="900" dirty="0">
              <a:sym typeface="+mn-lt"/>
            </a:endParaRPr>
          </a:p>
        </p:txBody>
      </p:sp>
      <p:sp>
        <p:nvSpPr>
          <p:cNvPr id="20" name="Rectangle 19"/>
          <p:cNvSpPr>
            <a:spLocks noGrp="1" noChangeArrowheads="1"/>
          </p:cNvSpPr>
          <p:nvPr>
            <p:custDataLst>
              <p:tags r:id="rId16"/>
            </p:custDataLst>
          </p:nvPr>
        </p:nvSpPr>
        <p:spPr bwMode="auto">
          <a:xfrm>
            <a:off x="5816204" y="4754167"/>
            <a:ext cx="432197"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FE97B818-9C11-42F8-978B-DAC850E97A39}" type="datetime'''''Áfr''''''''''''''i''''ca'' ''''''''''''S''''.'''''''''''">
              <a:rPr lang="pt-BR" altLang="en-US" sz="900"/>
              <a:pPr marL="0" indent="0" algn="r">
                <a:spcBef>
                  <a:spcPct val="0"/>
                </a:spcBef>
                <a:buNone/>
              </a:pPr>
              <a:t>África S.</a:t>
            </a:fld>
            <a:endParaRPr lang="pt-BR" sz="900" dirty="0">
              <a:sym typeface="+mn-lt"/>
            </a:endParaRPr>
          </a:p>
        </p:txBody>
      </p:sp>
      <p:sp>
        <p:nvSpPr>
          <p:cNvPr id="9" name="Rectangle 8"/>
          <p:cNvSpPr>
            <a:spLocks noGrp="1" noChangeArrowheads="1"/>
          </p:cNvSpPr>
          <p:nvPr>
            <p:custDataLst>
              <p:tags r:id="rId17"/>
            </p:custDataLst>
          </p:nvPr>
        </p:nvSpPr>
        <p:spPr bwMode="auto">
          <a:xfrm>
            <a:off x="5805487" y="2561035"/>
            <a:ext cx="44291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41627203-A756-4070-AA79-AEE0BA446538}" type="datetime'A''''u''''''''''''''''''''''s''''''t''''''''r''''''á''''lia'">
              <a:rPr lang="pt-BR" altLang="en-US" sz="900"/>
              <a:pPr marL="0" indent="0" algn="r">
                <a:spcBef>
                  <a:spcPct val="0"/>
                </a:spcBef>
                <a:buNone/>
              </a:pPr>
              <a:t>Austrália</a:t>
            </a:fld>
            <a:endParaRPr lang="pt-BR" sz="900" dirty="0">
              <a:sym typeface="+mn-lt"/>
            </a:endParaRPr>
          </a:p>
        </p:txBody>
      </p:sp>
      <p:sp>
        <p:nvSpPr>
          <p:cNvPr id="15" name="Rectangle 14"/>
          <p:cNvSpPr>
            <a:spLocks noGrp="1" noChangeArrowheads="1"/>
          </p:cNvSpPr>
          <p:nvPr>
            <p:custDataLst>
              <p:tags r:id="rId18"/>
            </p:custDataLst>
          </p:nvPr>
        </p:nvSpPr>
        <p:spPr bwMode="auto">
          <a:xfrm>
            <a:off x="6090047" y="2996804"/>
            <a:ext cx="1583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0E2131B5-AF9A-4F7F-90CC-6E4019E6D671}" type="datetime'''''''''U''''''''''''''''''''''''''K'''''''''''''">
              <a:rPr lang="pt-BR" altLang="en-US" sz="900"/>
              <a:pPr marL="0" indent="0" algn="r">
                <a:spcBef>
                  <a:spcPct val="0"/>
                </a:spcBef>
                <a:buNone/>
              </a:pPr>
              <a:t>UK</a:t>
            </a:fld>
            <a:endParaRPr lang="pt-BR" sz="900" dirty="0">
              <a:sym typeface="+mn-lt"/>
            </a:endParaRPr>
          </a:p>
        </p:txBody>
      </p:sp>
      <p:sp>
        <p:nvSpPr>
          <p:cNvPr id="11" name="Rectangle 10"/>
          <p:cNvSpPr>
            <a:spLocks noGrp="1" noChangeArrowheads="1"/>
          </p:cNvSpPr>
          <p:nvPr>
            <p:custDataLst>
              <p:tags r:id="rId19"/>
            </p:custDataLst>
          </p:nvPr>
        </p:nvSpPr>
        <p:spPr bwMode="auto">
          <a:xfrm>
            <a:off x="5887641" y="4532710"/>
            <a:ext cx="3607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9FBEFAD4-4F85-4A31-AB78-5F49BD788AAE}" type="datetime'M''''''''''''''''''''''''''''''é''x''i''co'''''''''''''''">
              <a:rPr lang="pt-BR" altLang="en-US" sz="900"/>
              <a:pPr marL="0" indent="0" algn="r">
                <a:spcBef>
                  <a:spcPct val="0"/>
                </a:spcBef>
                <a:buNone/>
              </a:pPr>
              <a:t>México</a:t>
            </a:fld>
            <a:endParaRPr lang="pt-BR" sz="900" dirty="0">
              <a:sym typeface="+mn-lt"/>
            </a:endParaRPr>
          </a:p>
        </p:txBody>
      </p:sp>
      <p:sp>
        <p:nvSpPr>
          <p:cNvPr id="10" name="Rectangle 9"/>
          <p:cNvSpPr>
            <a:spLocks noGrp="1" noChangeArrowheads="1"/>
          </p:cNvSpPr>
          <p:nvPr>
            <p:custDataLst>
              <p:tags r:id="rId20"/>
            </p:custDataLst>
          </p:nvPr>
        </p:nvSpPr>
        <p:spPr bwMode="auto">
          <a:xfrm>
            <a:off x="5768579" y="5189935"/>
            <a:ext cx="479822"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6D2AACF7-E7D8-472E-A8EC-8A147A868F4E}" type="datetime'C''''''''o''''l''''''''ô''''''''''''''m''''''''''''''''bia'">
              <a:rPr lang="pt-BR" altLang="en-US" sz="900"/>
              <a:pPr marL="0" indent="0" algn="r">
                <a:spcBef>
                  <a:spcPct val="0"/>
                </a:spcBef>
                <a:buNone/>
              </a:pPr>
              <a:t>Colômbia</a:t>
            </a:fld>
            <a:endParaRPr lang="pt-BR" sz="900" dirty="0">
              <a:sym typeface="+mn-lt"/>
            </a:endParaRPr>
          </a:p>
        </p:txBody>
      </p:sp>
      <p:sp>
        <p:nvSpPr>
          <p:cNvPr id="14" name="Rectangle 13"/>
          <p:cNvSpPr>
            <a:spLocks noGrp="1" noChangeArrowheads="1"/>
          </p:cNvSpPr>
          <p:nvPr>
            <p:custDataLst>
              <p:tags r:id="rId21"/>
            </p:custDataLst>
          </p:nvPr>
        </p:nvSpPr>
        <p:spPr bwMode="auto">
          <a:xfrm>
            <a:off x="5900737" y="3875485"/>
            <a:ext cx="34766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C8452BEC-5616-49E0-A68A-3D87817173FD}" type="datetime'''''''''''''''R''''''''''ú''''''s''''s''''''''''''''i''''''a'">
              <a:rPr lang="pt-BR" altLang="en-US" sz="900"/>
              <a:pPr marL="0" indent="0" algn="r">
                <a:spcBef>
                  <a:spcPct val="0"/>
                </a:spcBef>
                <a:buNone/>
              </a:pPr>
              <a:t>Rússia</a:t>
            </a:fld>
            <a:endParaRPr lang="pt-BR" sz="900" dirty="0">
              <a:sym typeface="+mn-lt"/>
            </a:endParaRPr>
          </a:p>
        </p:txBody>
      </p:sp>
      <p:sp>
        <p:nvSpPr>
          <p:cNvPr id="54" name="Rectangle 53"/>
          <p:cNvSpPr>
            <a:spLocks noGrp="1" noChangeArrowheads="1"/>
          </p:cNvSpPr>
          <p:nvPr>
            <p:custDataLst>
              <p:tags r:id="rId22"/>
            </p:custDataLst>
          </p:nvPr>
        </p:nvSpPr>
        <p:spPr bwMode="auto">
          <a:xfrm>
            <a:off x="5990035" y="3654029"/>
            <a:ext cx="258366"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41436A5A-09AD-4C98-A80E-FFC3110102C2}" type="datetime'''''''''''C''''''h''i''''''''''''''''''l''''e'''''">
              <a:rPr lang="pt-BR" altLang="en-US" sz="900"/>
              <a:pPr marL="0" indent="0" algn="r">
                <a:spcBef>
                  <a:spcPct val="0"/>
                </a:spcBef>
                <a:buNone/>
              </a:pPr>
              <a:t>Chile</a:t>
            </a:fld>
            <a:endParaRPr lang="pt-BR" sz="900" dirty="0">
              <a:sym typeface="+mn-lt"/>
            </a:endParaRPr>
          </a:p>
        </p:txBody>
      </p:sp>
      <p:sp>
        <p:nvSpPr>
          <p:cNvPr id="21" name="Rectangle 20"/>
          <p:cNvSpPr>
            <a:spLocks noGrp="1" noChangeArrowheads="1"/>
          </p:cNvSpPr>
          <p:nvPr>
            <p:custDataLst>
              <p:tags r:id="rId23"/>
            </p:custDataLst>
          </p:nvPr>
        </p:nvSpPr>
        <p:spPr bwMode="auto">
          <a:xfrm>
            <a:off x="6001941" y="4096942"/>
            <a:ext cx="2464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8C97784E-446C-4D9E-B4C1-E1BE6D87D186}" type="datetime'''''''''''''''''Í''nd''''''''''''''''''i''''''a'''">
              <a:rPr lang="pt-BR" altLang="en-US" sz="900"/>
              <a:pPr marL="0" indent="0" algn="r">
                <a:spcBef>
                  <a:spcPct val="0"/>
                </a:spcBef>
                <a:buNone/>
              </a:pPr>
              <a:t>Índia</a:t>
            </a:fld>
            <a:endParaRPr lang="pt-BR" sz="900" dirty="0">
              <a:sym typeface="+mn-lt"/>
            </a:endParaRPr>
          </a:p>
        </p:txBody>
      </p:sp>
      <p:sp>
        <p:nvSpPr>
          <p:cNvPr id="13" name="Rectangle 12"/>
          <p:cNvSpPr>
            <a:spLocks noGrp="1" noChangeArrowheads="1"/>
          </p:cNvSpPr>
          <p:nvPr>
            <p:custDataLst>
              <p:tags r:id="rId24"/>
            </p:custDataLst>
          </p:nvPr>
        </p:nvSpPr>
        <p:spPr bwMode="auto">
          <a:xfrm>
            <a:off x="5963841" y="4972051"/>
            <a:ext cx="2845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605F0B5E-7FCE-4570-9BF6-DA2C45E94E69}" type="datetime'''''B''''r''''''''''''''as''''''''''''''''''i''''l'''''''''">
              <a:rPr lang="pt-BR" altLang="en-US" sz="900"/>
              <a:pPr marL="0" indent="0" algn="r">
                <a:spcBef>
                  <a:spcPct val="0"/>
                </a:spcBef>
                <a:buNone/>
              </a:pPr>
              <a:t>Brasil</a:t>
            </a:fld>
            <a:endParaRPr lang="pt-BR" sz="900" dirty="0">
              <a:sym typeface="+mn-lt"/>
            </a:endParaRPr>
          </a:p>
        </p:txBody>
      </p:sp>
      <p:sp>
        <p:nvSpPr>
          <p:cNvPr id="43" name="Text Placeholder 2"/>
          <p:cNvSpPr txBox="1">
            <a:spLocks/>
          </p:cNvSpPr>
          <p:nvPr/>
        </p:nvSpPr>
        <p:spPr bwMode="auto">
          <a:xfrm>
            <a:off x="349035" y="1904963"/>
            <a:ext cx="4282607" cy="161583"/>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lvl1pPr marL="0" indent="0" algn="l" rtl="0" eaLnBrk="1" fontAlgn="base" hangingPunct="1">
              <a:spcBef>
                <a:spcPts val="0"/>
              </a:spcBef>
              <a:spcAft>
                <a:spcPct val="0"/>
              </a:spcAft>
              <a:buNone/>
              <a:defRPr lang="pt-BR" sz="1400" dirty="0" smtClean="0">
                <a:solidFill>
                  <a:srgbClr val="2F539C"/>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r>
              <a:rPr sz="1050" b="1" kern="0" dirty="0"/>
              <a:t>Evolução do </a:t>
            </a:r>
            <a:r>
              <a:rPr sz="1050" b="1" kern="0" dirty="0" smtClean="0"/>
              <a:t>Custo sobre os Ativos</a:t>
            </a:r>
            <a:r>
              <a:rPr sz="1050" b="1" kern="0" baseline="30000" dirty="0" smtClean="0"/>
              <a:t>1</a:t>
            </a:r>
            <a:endParaRPr sz="1050" kern="0" baseline="30000" dirty="0"/>
          </a:p>
        </p:txBody>
      </p:sp>
      <p:graphicFrame>
        <p:nvGraphicFramePr>
          <p:cNvPr id="56" name="Object 55"/>
          <p:cNvGraphicFramePr>
            <a:graphicFrameLocks/>
          </p:cNvGraphicFramePr>
          <p:nvPr>
            <p:custDataLst>
              <p:tags r:id="rId25"/>
            </p:custDataLst>
            <p:extLst/>
          </p:nvPr>
        </p:nvGraphicFramePr>
        <p:xfrm>
          <a:off x="457201" y="2714624"/>
          <a:ext cx="4222010" cy="2707569"/>
        </p:xfrm>
        <a:graphic>
          <a:graphicData uri="http://schemas.openxmlformats.org/presentationml/2006/ole">
            <mc:AlternateContent xmlns:mc="http://schemas.openxmlformats.org/markup-compatibility/2006">
              <mc:Choice xmlns:v="urn:schemas-microsoft-com:vml" Requires="v">
                <p:oleObj spid="_x0000_s45171" name="Chart" r:id="rId38" imgW="5629241" imgH="3609916" progId="MSGraph.Chart.8">
                  <p:embed followColorScheme="full"/>
                </p:oleObj>
              </mc:Choice>
              <mc:Fallback>
                <p:oleObj name="Chart" r:id="rId38" imgW="5629241" imgH="3609916" progId="MSGraph.Chart.8">
                  <p:embed followColorScheme="full"/>
                  <p:pic>
                    <p:nvPicPr>
                      <p:cNvPr id="0" name=""/>
                      <p:cNvPicPr/>
                      <p:nvPr/>
                    </p:nvPicPr>
                    <p:blipFill>
                      <a:blip r:embed="rId39"/>
                      <a:stretch>
                        <a:fillRect/>
                      </a:stretch>
                    </p:blipFill>
                    <p:spPr>
                      <a:xfrm>
                        <a:off x="457201" y="2714624"/>
                        <a:ext cx="4222010" cy="2707569"/>
                      </a:xfrm>
                      <a:prstGeom prst="rect">
                        <a:avLst/>
                      </a:prstGeom>
                    </p:spPr>
                  </p:pic>
                </p:oleObj>
              </mc:Fallback>
            </mc:AlternateContent>
          </a:graphicData>
        </a:graphic>
      </p:graphicFrame>
      <p:cxnSp>
        <p:nvCxnSpPr>
          <p:cNvPr id="68" name="Straight Connector 67"/>
          <p:cNvCxnSpPr/>
          <p:nvPr>
            <p:custDataLst>
              <p:tags r:id="rId26"/>
            </p:custDataLst>
          </p:nvPr>
        </p:nvCxnSpPr>
        <p:spPr bwMode="gray">
          <a:xfrm>
            <a:off x="1371600" y="2628900"/>
            <a:ext cx="246460" cy="0"/>
          </a:xfrm>
          <a:prstGeom prst="line">
            <a:avLst/>
          </a:prstGeom>
          <a:ln w="2857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27"/>
            </p:custDataLst>
          </p:nvPr>
        </p:nvCxnSpPr>
        <p:spPr bwMode="gray">
          <a:xfrm>
            <a:off x="726282" y="2628900"/>
            <a:ext cx="246460" cy="0"/>
          </a:xfrm>
          <a:prstGeom prst="line">
            <a:avLst/>
          </a:prstGeom>
          <a:ln w="28575">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28"/>
            </p:custDataLst>
          </p:nvPr>
        </p:nvCxnSpPr>
        <p:spPr bwMode="gray">
          <a:xfrm>
            <a:off x="2471738" y="2628900"/>
            <a:ext cx="246460"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Rectangle 61"/>
          <p:cNvSpPr>
            <a:spLocks noGrp="1" noChangeArrowheads="1"/>
          </p:cNvSpPr>
          <p:nvPr>
            <p:custDataLst>
              <p:tags r:id="rId29"/>
            </p:custDataLst>
          </p:nvPr>
        </p:nvSpPr>
        <p:spPr bwMode="auto">
          <a:xfrm>
            <a:off x="2756297" y="2565798"/>
            <a:ext cx="61436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spcBef>
                <a:spcPct val="0"/>
              </a:spcBef>
              <a:buNone/>
            </a:pPr>
            <a:fld id="{7DAF3441-F2BF-43AF-B73F-7E51E622BE35}" type="datetime'''Em''er''''''''''''''''ge''''n''''''t''''e''''''''''''''''s'">
              <a:rPr lang="pt-BR" altLang="en-US" sz="900"/>
              <a:pPr marL="0" indent="0">
                <a:spcBef>
                  <a:spcPct val="0"/>
                </a:spcBef>
                <a:buNone/>
              </a:pPr>
              <a:t>Emergentes</a:t>
            </a:fld>
            <a:endParaRPr lang="pt-BR" sz="900" dirty="0">
              <a:sym typeface="+mn-lt"/>
            </a:endParaRPr>
          </a:p>
        </p:txBody>
      </p:sp>
      <p:sp>
        <p:nvSpPr>
          <p:cNvPr id="61" name="Rectangle 60"/>
          <p:cNvSpPr>
            <a:spLocks noGrp="1" noChangeArrowheads="1"/>
          </p:cNvSpPr>
          <p:nvPr>
            <p:custDataLst>
              <p:tags r:id="rId30"/>
            </p:custDataLst>
          </p:nvPr>
        </p:nvSpPr>
        <p:spPr bwMode="auto">
          <a:xfrm>
            <a:off x="1656160" y="2565798"/>
            <a:ext cx="739379"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spcBef>
                <a:spcPct val="0"/>
              </a:spcBef>
              <a:buNone/>
            </a:pPr>
            <a:fld id="{795871F0-CDC3-4AFA-B047-F107058828AF}" type="datetime'D''''''''''e''se''n''''''v''o''''''''l''''''v''i''''d''''os'">
              <a:rPr lang="pt-BR" altLang="en-US" sz="900"/>
              <a:pPr marL="0" indent="0">
                <a:spcBef>
                  <a:spcPct val="0"/>
                </a:spcBef>
                <a:buNone/>
              </a:pPr>
              <a:t>Desenvolvidos</a:t>
            </a:fld>
            <a:endParaRPr lang="pt-BR" sz="900" dirty="0">
              <a:sym typeface="+mn-lt"/>
            </a:endParaRPr>
          </a:p>
        </p:txBody>
      </p:sp>
      <p:sp>
        <p:nvSpPr>
          <p:cNvPr id="60" name="Rectangle 59"/>
          <p:cNvSpPr>
            <a:spLocks noGrp="1" noChangeArrowheads="1"/>
          </p:cNvSpPr>
          <p:nvPr>
            <p:custDataLst>
              <p:tags r:id="rId31"/>
            </p:custDataLst>
          </p:nvPr>
        </p:nvSpPr>
        <p:spPr bwMode="auto">
          <a:xfrm>
            <a:off x="1010842" y="2565798"/>
            <a:ext cx="2845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spcBef>
                <a:spcPct val="0"/>
              </a:spcBef>
              <a:buNone/>
            </a:pPr>
            <a:fld id="{5DC958FF-E84A-4AFA-9E6A-393822FBBD41}" type="datetime'B''''''''r''''''''a''''''''''''''''s''''i''''''''''''''l'">
              <a:rPr lang="pt-BR" altLang="en-US" sz="900"/>
              <a:pPr marL="0" indent="0">
                <a:spcBef>
                  <a:spcPct val="0"/>
                </a:spcBef>
                <a:buNone/>
              </a:pPr>
              <a:t>Brasil</a:t>
            </a:fld>
            <a:endParaRPr lang="pt-BR" sz="900" dirty="0">
              <a:sym typeface="+mn-lt"/>
            </a:endParaRPr>
          </a:p>
        </p:txBody>
      </p:sp>
      <p:sp>
        <p:nvSpPr>
          <p:cNvPr id="78" name="Text Placeholder 2"/>
          <p:cNvSpPr txBox="1">
            <a:spLocks/>
          </p:cNvSpPr>
          <p:nvPr/>
        </p:nvSpPr>
        <p:spPr bwMode="auto">
          <a:xfrm>
            <a:off x="5096092" y="1904962"/>
            <a:ext cx="3715399" cy="300082"/>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lvl1pPr marL="0" indent="0" algn="l" rtl="0" eaLnBrk="1" fontAlgn="base" hangingPunct="1">
              <a:spcBef>
                <a:spcPts val="0"/>
              </a:spcBef>
              <a:spcAft>
                <a:spcPct val="0"/>
              </a:spcAft>
              <a:buNone/>
              <a:defRPr lang="pt-BR" sz="1400" dirty="0" smtClean="0">
                <a:solidFill>
                  <a:srgbClr val="2F539C"/>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r>
              <a:rPr sz="1050" b="1" kern="0" dirty="0" smtClean="0"/>
              <a:t>Custo sobre Ativos</a:t>
            </a:r>
            <a:r>
              <a:rPr sz="1050" b="1" kern="0" baseline="30000" dirty="0" smtClean="0"/>
              <a:t>1</a:t>
            </a:r>
            <a:endParaRPr sz="1050" b="1" kern="0" baseline="30000" dirty="0"/>
          </a:p>
          <a:p>
            <a:r>
              <a:rPr sz="900" kern="0" dirty="0"/>
              <a:t>2016</a:t>
            </a:r>
            <a:endParaRPr sz="1050" kern="0" dirty="0"/>
          </a:p>
        </p:txBody>
      </p:sp>
      <p:sp>
        <p:nvSpPr>
          <p:cNvPr id="42" name="TextBox 41"/>
          <p:cNvSpPr txBox="1"/>
          <p:nvPr/>
        </p:nvSpPr>
        <p:spPr>
          <a:xfrm>
            <a:off x="361590" y="5325760"/>
            <a:ext cx="4520223" cy="581569"/>
          </a:xfrm>
          <a:prstGeom prst="rect">
            <a:avLst/>
          </a:prstGeom>
          <a:noFill/>
        </p:spPr>
        <p:txBody>
          <a:bodyPr wrap="square" lIns="0" tIns="0" rIns="0" bIns="0" rtlCol="0">
            <a:spAutoFit/>
          </a:bodyPr>
          <a:lstStyle/>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1) Cost to </a:t>
            </a:r>
            <a:r>
              <a:rPr lang="pt-BR" sz="630" spc="-15" dirty="0" err="1">
                <a:solidFill>
                  <a:prstClr val="black">
                    <a:lumMod val="65000"/>
                    <a:lumOff val="35000"/>
                  </a:prstClr>
                </a:solidFill>
                <a:ea typeface="Roboto Light" panose="02000000000000000000" pitchFamily="2" charset="0"/>
                <a:cs typeface="Arial" pitchFamily="34" charset="0"/>
              </a:rPr>
              <a:t>Assets</a:t>
            </a:r>
            <a:r>
              <a:rPr lang="pt-BR" sz="630" spc="-15" dirty="0">
                <a:solidFill>
                  <a:prstClr val="black">
                    <a:lumMod val="65000"/>
                    <a:lumOff val="35000"/>
                  </a:prstClr>
                </a:solidFill>
                <a:ea typeface="Roboto Light" panose="02000000000000000000" pitchFamily="2" charset="0"/>
                <a:cs typeface="Arial" pitchFamily="34" charset="0"/>
              </a:rPr>
              <a:t> = Despesas Operacionais / Ativos Rentáveis</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     Obs.: Despesas Operacionais = Despesa de Pessoal + Despesas Administrativas + Outras Despesas/ (Receitas) Operacionais</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     Obs.: Ativos Rentáveis = Carteira de Crédito + Investimentos (TVM) + Depósitos Compulsórios</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Países Emergentes excluem o Brasil</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Fonte: S&amp;P Capital IQ, Analise Accenture</a:t>
            </a:r>
          </a:p>
        </p:txBody>
      </p:sp>
    </p:spTree>
    <p:extLst>
      <p:ext uri="{BB962C8B-B14F-4D97-AF65-F5344CB8AC3E}">
        <p14:creationId xmlns:p14="http://schemas.microsoft.com/office/powerpoint/2010/main" val="19684284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51307" name="think-cell Slide" r:id="rId39" imgW="444" imgH="443" progId="TCLayout.ActiveDocument.1">
                  <p:embed/>
                </p:oleObj>
              </mc:Choice>
              <mc:Fallback>
                <p:oleObj name="think-cell Slide" r:id="rId39" imgW="444" imgH="443" progId="TCLayout.ActiveDocument.1">
                  <p:embed/>
                  <p:pic>
                    <p:nvPicPr>
                      <p:cNvPr id="0" name=""/>
                      <p:cNvPicPr/>
                      <p:nvPr/>
                    </p:nvPicPr>
                    <p:blipFill>
                      <a:blip r:embed="rId40"/>
                      <a:stretch>
                        <a:fillRect/>
                      </a:stretch>
                    </p:blipFill>
                    <p:spPr>
                      <a:xfrm>
                        <a:off x="1192" y="858442"/>
                        <a:ext cx="1190" cy="1190"/>
                      </a:xfrm>
                      <a:prstGeom prst="rect">
                        <a:avLst/>
                      </a:prstGeom>
                    </p:spPr>
                  </p:pic>
                </p:oleObj>
              </mc:Fallback>
            </mc:AlternateContent>
          </a:graphicData>
        </a:graphic>
      </p:graphicFrame>
      <p:sp>
        <p:nvSpPr>
          <p:cNvPr id="11" name="Rectangle 10" hidden="1"/>
          <p:cNvSpPr/>
          <p:nvPr>
            <p:custDataLst>
              <p:tags r:id="rId3"/>
            </p:custDataLst>
          </p:nvPr>
        </p:nvSpPr>
        <p:spPr bwMode="auto">
          <a:xfrm>
            <a:off x="0" y="85725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pt-BR" sz="900" dirty="0">
              <a:solidFill>
                <a:prstClr val="white"/>
              </a:solidFill>
              <a:sym typeface="+mn-lt"/>
            </a:endParaRPr>
          </a:p>
        </p:txBody>
      </p:sp>
      <p:sp>
        <p:nvSpPr>
          <p:cNvPr id="2" name="Title 1"/>
          <p:cNvSpPr>
            <a:spLocks noGrp="1"/>
          </p:cNvSpPr>
          <p:nvPr>
            <p:ph type="title"/>
          </p:nvPr>
        </p:nvSpPr>
        <p:spPr>
          <a:xfrm>
            <a:off x="0" y="-9954"/>
            <a:ext cx="9144000" cy="1100227"/>
          </a:xfr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a:effectLst/>
        </p:spPr>
        <p:txBody>
          <a:bodyPr vert="horz" wrap="square" lIns="0" tIns="0" rIns="0" bIns="0" numCol="1" anchor="ctr" anchorCtr="0" compatLnSpc="1">
            <a:prstTxWarp prst="textNoShape">
              <a:avLst/>
            </a:prstTxWarp>
          </a:bodyPr>
          <a:lstStyle/>
          <a:p>
            <a:pPr marL="185738">
              <a:lnSpc>
                <a:spcPct val="80000"/>
              </a:lnSpc>
            </a:pPr>
            <a:r>
              <a:rPr lang="pt-BR" sz="2800" b="1" kern="1200" dirty="0">
                <a:solidFill>
                  <a:srgbClr val="1F497D"/>
                </a:solidFill>
                <a:latin typeface="Calibri" panose="020F0502020204030204" pitchFamily="34" charset="0"/>
                <a:ea typeface="+mn-ea"/>
                <a:cs typeface="Calibri" panose="020F0502020204030204" pitchFamily="34" charset="0"/>
              </a:rPr>
              <a:t>O custo de pessoal por funcionário está acima da mediana e as provisões com processos trabalhistas são as mais </a:t>
            </a:r>
            <a:r>
              <a:rPr lang="pt-BR" sz="2800" b="1" kern="1200" dirty="0" smtClean="0">
                <a:solidFill>
                  <a:srgbClr val="1F497D"/>
                </a:solidFill>
                <a:latin typeface="Calibri" panose="020F0502020204030204" pitchFamily="34" charset="0"/>
                <a:ea typeface="+mn-ea"/>
                <a:cs typeface="Calibri" panose="020F0502020204030204" pitchFamily="34" charset="0"/>
              </a:rPr>
              <a:t>altas</a:t>
            </a:r>
            <a:endParaRPr lang="pt-BR" sz="2800" b="1" kern="1200" dirty="0">
              <a:solidFill>
                <a:srgbClr val="1F497D"/>
              </a:solidFill>
              <a:latin typeface="Calibri" panose="020F0502020204030204" pitchFamily="34" charset="0"/>
              <a:ea typeface="+mn-ea"/>
              <a:cs typeface="Calibri" panose="020F0502020204030204" pitchFamily="34" charset="0"/>
            </a:endParaRPr>
          </a:p>
        </p:txBody>
      </p:sp>
      <p:sp>
        <p:nvSpPr>
          <p:cNvPr id="7" name="TextBox 6"/>
          <p:cNvSpPr txBox="1"/>
          <p:nvPr/>
        </p:nvSpPr>
        <p:spPr>
          <a:xfrm>
            <a:off x="361590" y="5558178"/>
            <a:ext cx="7209281" cy="348942"/>
          </a:xfrm>
          <a:prstGeom prst="rect">
            <a:avLst/>
          </a:prstGeom>
          <a:noFill/>
        </p:spPr>
        <p:txBody>
          <a:bodyPr wrap="square" lIns="0" tIns="0" rIns="0" bIns="0" rtlCol="0" anchor="b" anchorCtr="0">
            <a:spAutoFit/>
          </a:bodyPr>
          <a:lstStyle/>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1) PPP: Purchasing Power Parity (Paridade de Poder de Compra)</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2) Provisões para contingências prováveis</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Fonte: Demonstrativos Financeiros dos Bancos, The </a:t>
            </a:r>
            <a:r>
              <a:rPr lang="pt-BR" sz="630" spc="-15" dirty="0" err="1">
                <a:solidFill>
                  <a:prstClr val="black">
                    <a:lumMod val="65000"/>
                    <a:lumOff val="35000"/>
                  </a:prstClr>
                </a:solidFill>
                <a:ea typeface="Roboto Light" panose="02000000000000000000" pitchFamily="2" charset="0"/>
                <a:cs typeface="Arial" pitchFamily="34" charset="0"/>
              </a:rPr>
              <a:t>Banker</a:t>
            </a:r>
            <a:r>
              <a:rPr lang="pt-BR" sz="630" spc="-15" dirty="0">
                <a:solidFill>
                  <a:prstClr val="black">
                    <a:lumMod val="65000"/>
                    <a:lumOff val="35000"/>
                  </a:prstClr>
                </a:solidFill>
                <a:ea typeface="Roboto Light" panose="02000000000000000000" pitchFamily="2" charset="0"/>
                <a:cs typeface="Arial" pitchFamily="34" charset="0"/>
              </a:rPr>
              <a:t>.  Análise Accenture</a:t>
            </a:r>
          </a:p>
        </p:txBody>
      </p:sp>
      <p:grpSp>
        <p:nvGrpSpPr>
          <p:cNvPr id="22" name="Group 21"/>
          <p:cNvGrpSpPr/>
          <p:nvPr/>
        </p:nvGrpSpPr>
        <p:grpSpPr>
          <a:xfrm>
            <a:off x="7890272" y="1633259"/>
            <a:ext cx="924327" cy="108000"/>
            <a:chOff x="10520363" y="1034679"/>
            <a:chExt cx="1232436" cy="144000"/>
          </a:xfrm>
        </p:grpSpPr>
        <p:sp>
          <p:nvSpPr>
            <p:cNvPr id="23" name="Rectangle: Rounded Corners 22"/>
            <p:cNvSpPr/>
            <p:nvPr/>
          </p:nvSpPr>
          <p:spPr>
            <a:xfrm flipH="1">
              <a:off x="11513168" y="1036332"/>
              <a:ext cx="239631" cy="142347"/>
            </a:xfrm>
            <a:prstGeom prst="roundRect">
              <a:avLst/>
            </a:prstGeom>
            <a:solidFill>
              <a:schemeClr val="bg1">
                <a:lumMod val="7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200" b="1" dirty="0">
                <a:solidFill>
                  <a:prstClr val="white"/>
                </a:solidFill>
              </a:endParaRPr>
            </a:p>
          </p:txBody>
        </p:sp>
        <p:sp>
          <p:nvSpPr>
            <p:cNvPr id="27" name="Rectangle: Rounded Corners 26"/>
            <p:cNvSpPr/>
            <p:nvPr/>
          </p:nvSpPr>
          <p:spPr>
            <a:xfrm flipH="1">
              <a:off x="11264966" y="1036332"/>
              <a:ext cx="239631" cy="142347"/>
            </a:xfrm>
            <a:prstGeom prst="roundRect">
              <a:avLst/>
            </a:prstGeom>
            <a:solidFill>
              <a:schemeClr val="bg1">
                <a:lumMod val="7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200" b="1" dirty="0">
                <a:solidFill>
                  <a:prstClr val="white"/>
                </a:solidFill>
              </a:endParaRPr>
            </a:p>
          </p:txBody>
        </p:sp>
        <p:sp>
          <p:nvSpPr>
            <p:cNvPr id="29" name="Rectangle: Rounded Corners 28"/>
            <p:cNvSpPr/>
            <p:nvPr/>
          </p:nvSpPr>
          <p:spPr>
            <a:xfrm flipH="1">
              <a:off x="11016765" y="1036332"/>
              <a:ext cx="239631" cy="142347"/>
            </a:xfrm>
            <a:prstGeom prst="roundRect">
              <a:avLst/>
            </a:prstGeom>
            <a:solidFill>
              <a:schemeClr val="bg1">
                <a:lumMod val="7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200" b="1" dirty="0">
                <a:solidFill>
                  <a:prstClr val="white"/>
                </a:solidFill>
              </a:endParaRPr>
            </a:p>
          </p:txBody>
        </p:sp>
        <p:sp>
          <p:nvSpPr>
            <p:cNvPr id="31" name="Rectangle: Rounded Corners 30"/>
            <p:cNvSpPr/>
            <p:nvPr/>
          </p:nvSpPr>
          <p:spPr>
            <a:xfrm flipH="1">
              <a:off x="10520363" y="1034679"/>
              <a:ext cx="239631" cy="142347"/>
            </a:xfrm>
            <a:prstGeom prst="roundRect">
              <a:avLst/>
            </a:prstGeom>
            <a:solidFill>
              <a:schemeClr val="bg1">
                <a:lumMod val="7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200" b="1" dirty="0">
                <a:solidFill>
                  <a:prstClr val="white"/>
                </a:solidFill>
              </a:endParaRPr>
            </a:p>
          </p:txBody>
        </p:sp>
        <p:sp>
          <p:nvSpPr>
            <p:cNvPr id="32" name="Rectangle: Rounded Corners 31"/>
            <p:cNvSpPr/>
            <p:nvPr/>
          </p:nvSpPr>
          <p:spPr>
            <a:xfrm flipH="1">
              <a:off x="10768564" y="1036332"/>
              <a:ext cx="239631" cy="142347"/>
            </a:xfrm>
            <a:prstGeom prst="roundRect">
              <a:avLst/>
            </a:prstGeom>
            <a:solidFill>
              <a:schemeClr val="tx2"/>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200" b="1" dirty="0">
                <a:solidFill>
                  <a:prstClr val="white"/>
                </a:solidFill>
              </a:endParaRPr>
            </a:p>
          </p:txBody>
        </p:sp>
      </p:grpSp>
      <p:grpSp>
        <p:nvGrpSpPr>
          <p:cNvPr id="42" name="Group 41"/>
          <p:cNvGrpSpPr/>
          <p:nvPr/>
        </p:nvGrpSpPr>
        <p:grpSpPr>
          <a:xfrm>
            <a:off x="2980081" y="5383547"/>
            <a:ext cx="2489338" cy="81000"/>
            <a:chOff x="-486973" y="5878066"/>
            <a:chExt cx="3319117" cy="108000"/>
          </a:xfrm>
        </p:grpSpPr>
        <p:sp>
          <p:nvSpPr>
            <p:cNvPr id="43" name="Rectangle 42"/>
            <p:cNvSpPr/>
            <p:nvPr/>
          </p:nvSpPr>
          <p:spPr bwMode="gray">
            <a:xfrm>
              <a:off x="563424" y="5878066"/>
              <a:ext cx="144000" cy="108000"/>
            </a:xfrm>
            <a:prstGeom prst="rect">
              <a:avLst/>
            </a:prstGeom>
            <a:solidFill>
              <a:schemeClr val="accent1">
                <a:lumMod val="50000"/>
              </a:schemeClr>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fontAlgn="base">
                <a:spcBef>
                  <a:spcPct val="0"/>
                </a:spcBef>
                <a:spcAft>
                  <a:spcPts val="225"/>
                </a:spcAft>
              </a:pPr>
              <a:r>
                <a:rPr lang="pt-BR" sz="750" kern="0" dirty="0">
                  <a:solidFill>
                    <a:prstClr val="black"/>
                  </a:solidFill>
                  <a:cs typeface="Arial" pitchFamily="34" charset="0"/>
                </a:rPr>
                <a:t>Demais Países Emergentes</a:t>
              </a:r>
            </a:p>
          </p:txBody>
        </p:sp>
        <p:sp>
          <p:nvSpPr>
            <p:cNvPr id="44" name="Rectangle 43"/>
            <p:cNvSpPr/>
            <p:nvPr/>
          </p:nvSpPr>
          <p:spPr bwMode="gray">
            <a:xfrm>
              <a:off x="2688144" y="5878066"/>
              <a:ext cx="144000" cy="108000"/>
            </a:xfrm>
            <a:prstGeom prst="rect">
              <a:avLst/>
            </a:prstGeom>
            <a:solidFill>
              <a:srgbClr val="808080"/>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fontAlgn="base">
                <a:spcBef>
                  <a:spcPct val="0"/>
                </a:spcBef>
                <a:spcAft>
                  <a:spcPts val="225"/>
                </a:spcAft>
              </a:pPr>
              <a:r>
                <a:rPr lang="pt-BR" sz="750" kern="0" dirty="0">
                  <a:solidFill>
                    <a:prstClr val="black"/>
                  </a:solidFill>
                  <a:cs typeface="Arial" pitchFamily="34" charset="0"/>
                </a:rPr>
                <a:t> Países Desenvolvidos</a:t>
              </a:r>
            </a:p>
          </p:txBody>
        </p:sp>
        <p:sp>
          <p:nvSpPr>
            <p:cNvPr id="45" name="Rectangle 44"/>
            <p:cNvSpPr/>
            <p:nvPr/>
          </p:nvSpPr>
          <p:spPr bwMode="gray">
            <a:xfrm>
              <a:off x="-486973" y="5878066"/>
              <a:ext cx="144000" cy="108000"/>
            </a:xfrm>
            <a:prstGeom prst="rect">
              <a:avLst/>
            </a:prstGeom>
            <a:solidFill>
              <a:srgbClr val="00B0F0"/>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fontAlgn="base">
                <a:spcBef>
                  <a:spcPct val="0"/>
                </a:spcBef>
                <a:spcAft>
                  <a:spcPts val="225"/>
                </a:spcAft>
              </a:pPr>
              <a:r>
                <a:rPr lang="pt-BR" sz="750" kern="0" dirty="0">
                  <a:solidFill>
                    <a:prstClr val="black"/>
                  </a:solidFill>
                  <a:cs typeface="Arial" pitchFamily="34" charset="0"/>
                </a:rPr>
                <a:t>Brasil</a:t>
              </a:r>
            </a:p>
          </p:txBody>
        </p:sp>
      </p:grpSp>
      <p:sp>
        <p:nvSpPr>
          <p:cNvPr id="46" name="Text Placeholder 2"/>
          <p:cNvSpPr txBox="1">
            <a:spLocks/>
          </p:cNvSpPr>
          <p:nvPr/>
        </p:nvSpPr>
        <p:spPr bwMode="auto">
          <a:xfrm>
            <a:off x="349035" y="1903744"/>
            <a:ext cx="2509361" cy="300082"/>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lvl1pPr marL="0" indent="0" algn="l" rtl="0" eaLnBrk="1" fontAlgn="base" hangingPunct="1">
              <a:spcBef>
                <a:spcPts val="0"/>
              </a:spcBef>
              <a:spcAft>
                <a:spcPct val="0"/>
              </a:spcAft>
              <a:buNone/>
              <a:defRPr lang="pt-BR" sz="1400" dirty="0" smtClean="0">
                <a:solidFill>
                  <a:srgbClr val="2F539C"/>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r>
              <a:rPr sz="1050" b="1" kern="0"/>
              <a:t>Custos de Pessoal por FTE</a:t>
            </a:r>
            <a:endParaRPr sz="1050" b="1" kern="0" baseline="30000"/>
          </a:p>
          <a:p>
            <a:r>
              <a:rPr sz="900" kern="0"/>
              <a:t>US$ PPP</a:t>
            </a:r>
            <a:r>
              <a:rPr sz="900" kern="0" baseline="30000"/>
              <a:t>1</a:t>
            </a:r>
            <a:r>
              <a:rPr sz="900" kern="0"/>
              <a:t> mil, 2015</a:t>
            </a:r>
          </a:p>
        </p:txBody>
      </p:sp>
      <p:sp>
        <p:nvSpPr>
          <p:cNvPr id="50" name="Text Placeholder 2"/>
          <p:cNvSpPr txBox="1">
            <a:spLocks/>
          </p:cNvSpPr>
          <p:nvPr/>
        </p:nvSpPr>
        <p:spPr bwMode="auto">
          <a:xfrm>
            <a:off x="4419600" y="1903744"/>
            <a:ext cx="4088022" cy="300082"/>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lvl1pPr marL="0" indent="0" algn="l" rtl="0" eaLnBrk="1" fontAlgn="base" hangingPunct="1">
              <a:spcBef>
                <a:spcPts val="0"/>
              </a:spcBef>
              <a:spcAft>
                <a:spcPct val="0"/>
              </a:spcAft>
              <a:buNone/>
              <a:defRPr lang="pt-BR" sz="1400" dirty="0" smtClean="0">
                <a:solidFill>
                  <a:srgbClr val="2F539C"/>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r>
              <a:rPr sz="1050" b="1" kern="0"/>
              <a:t>Saldo de Provisões para Processos Trabalhistas por FTE</a:t>
            </a:r>
            <a:r>
              <a:rPr sz="1050" b="1" kern="0" baseline="30000"/>
              <a:t>2</a:t>
            </a:r>
          </a:p>
          <a:p>
            <a:r>
              <a:rPr sz="900" kern="0"/>
              <a:t>US$ PPP</a:t>
            </a:r>
            <a:r>
              <a:rPr sz="900" kern="0" baseline="30000"/>
              <a:t>1</a:t>
            </a:r>
            <a:r>
              <a:rPr sz="900" kern="0"/>
              <a:t>, 2015</a:t>
            </a:r>
          </a:p>
        </p:txBody>
      </p:sp>
      <p:graphicFrame>
        <p:nvGraphicFramePr>
          <p:cNvPr id="51" name="Object 50"/>
          <p:cNvGraphicFramePr>
            <a:graphicFrameLocks/>
          </p:cNvGraphicFramePr>
          <p:nvPr>
            <p:custDataLst>
              <p:tags r:id="rId4"/>
            </p:custDataLst>
            <p:extLst/>
          </p:nvPr>
        </p:nvGraphicFramePr>
        <p:xfrm>
          <a:off x="6229349" y="2257426"/>
          <a:ext cx="1993176" cy="2807579"/>
        </p:xfrm>
        <a:graphic>
          <a:graphicData uri="http://schemas.openxmlformats.org/presentationml/2006/ole">
            <mc:AlternateContent xmlns:mc="http://schemas.openxmlformats.org/markup-compatibility/2006">
              <mc:Choice xmlns:v="urn:schemas-microsoft-com:vml" Requires="v">
                <p:oleObj spid="_x0000_s51308" name="Chart" r:id="rId41" imgW="2657351" imgH="3743215" progId="MSGraph.Chart.8">
                  <p:embed followColorScheme="full"/>
                </p:oleObj>
              </mc:Choice>
              <mc:Fallback>
                <p:oleObj name="Chart" r:id="rId41" imgW="2657351" imgH="3743215" progId="MSGraph.Chart.8">
                  <p:embed followColorScheme="full"/>
                  <p:pic>
                    <p:nvPicPr>
                      <p:cNvPr id="0" name=""/>
                      <p:cNvPicPr/>
                      <p:nvPr/>
                    </p:nvPicPr>
                    <p:blipFill>
                      <a:blip r:embed="rId42"/>
                      <a:stretch>
                        <a:fillRect/>
                      </a:stretch>
                    </p:blipFill>
                    <p:spPr>
                      <a:xfrm>
                        <a:off x="6229349" y="2257426"/>
                        <a:ext cx="1993176" cy="2807579"/>
                      </a:xfrm>
                      <a:prstGeom prst="rect">
                        <a:avLst/>
                      </a:prstGeom>
                    </p:spPr>
                  </p:pic>
                </p:oleObj>
              </mc:Fallback>
            </mc:AlternateContent>
          </a:graphicData>
        </a:graphic>
      </p:graphicFrame>
      <p:sp>
        <p:nvSpPr>
          <p:cNvPr id="56" name="Right Arrow 55"/>
          <p:cNvSpPr/>
          <p:nvPr>
            <p:custDataLst>
              <p:tags r:id="rId5"/>
            </p:custDataLst>
          </p:nvPr>
        </p:nvSpPr>
        <p:spPr bwMode="auto">
          <a:xfrm rot="16200000">
            <a:off x="6317456" y="5025629"/>
            <a:ext cx="96441" cy="114300"/>
          </a:xfrm>
          <a:prstGeom prst="rightArrow">
            <a:avLst>
              <a:gd name="adj1" fmla="val 100000"/>
              <a:gd name="adj2" fmla="val 100000"/>
            </a:avLst>
          </a:prstGeom>
          <a:solidFill>
            <a:schemeClr val="tx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dirty="0">
              <a:solidFill>
                <a:prstClr val="white"/>
              </a:solidFill>
            </a:endParaRPr>
          </a:p>
        </p:txBody>
      </p:sp>
      <p:cxnSp>
        <p:nvCxnSpPr>
          <p:cNvPr id="54" name="Straight Connector 53"/>
          <p:cNvCxnSpPr/>
          <p:nvPr>
            <p:custDataLst>
              <p:tags r:id="rId6"/>
            </p:custDataLst>
          </p:nvPr>
        </p:nvCxnSpPr>
        <p:spPr bwMode="gray">
          <a:xfrm>
            <a:off x="6365081" y="3948113"/>
            <a:ext cx="0" cy="305991"/>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7"/>
            </p:custDataLst>
          </p:nvPr>
        </p:nvCxnSpPr>
        <p:spPr bwMode="gray">
          <a:xfrm>
            <a:off x="6365081" y="2328862"/>
            <a:ext cx="0" cy="1482329"/>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8"/>
            </p:custDataLst>
          </p:nvPr>
        </p:nvCxnSpPr>
        <p:spPr bwMode="gray">
          <a:xfrm>
            <a:off x="6365081" y="4391025"/>
            <a:ext cx="0" cy="305991"/>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9"/>
            </p:custDataLst>
          </p:nvPr>
        </p:nvCxnSpPr>
        <p:spPr bwMode="gray">
          <a:xfrm>
            <a:off x="6365081" y="4833938"/>
            <a:ext cx="0" cy="163116"/>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64" name="Rectangle 63"/>
          <p:cNvSpPr>
            <a:spLocks noGrp="1" noChangeArrowheads="1"/>
          </p:cNvSpPr>
          <p:nvPr>
            <p:custDataLst>
              <p:tags r:id="rId10"/>
            </p:custDataLst>
          </p:nvPr>
        </p:nvSpPr>
        <p:spPr bwMode="auto">
          <a:xfrm>
            <a:off x="5420917" y="3368279"/>
            <a:ext cx="841772"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121C780B-3364-4F9B-AFBC-E2DC13478C9C}" type="datetime'BBV''''''''''''''''''''''A'' ''''Ba''n''''''''''''comer'">
              <a:rPr lang="pt-BR" altLang="en-US" sz="900"/>
              <a:pPr marL="0" indent="0" algn="r">
                <a:spcBef>
                  <a:spcPct val="0"/>
                </a:spcBef>
                <a:buNone/>
              </a:pPr>
              <a:t>BBVA Bancomer</a:t>
            </a:fld>
            <a:endParaRPr lang="pt-BR" sz="900" dirty="0">
              <a:sym typeface="+mn-lt"/>
            </a:endParaRPr>
          </a:p>
        </p:txBody>
      </p:sp>
      <p:sp>
        <p:nvSpPr>
          <p:cNvPr id="63" name="Rectangle 62"/>
          <p:cNvSpPr>
            <a:spLocks noGrp="1" noChangeArrowheads="1"/>
          </p:cNvSpPr>
          <p:nvPr>
            <p:custDataLst>
              <p:tags r:id="rId11"/>
            </p:custDataLst>
          </p:nvPr>
        </p:nvSpPr>
        <p:spPr bwMode="auto">
          <a:xfrm>
            <a:off x="4920854" y="3811192"/>
            <a:ext cx="1341835"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8C101997-0B5C-41FF-BD42-6DA9353128EE}" type="datetime'''B''''a''''''n''c''''o ''d''el'' ''Estado de'' Ch''i''l''''e'">
              <a:rPr lang="pt-BR" altLang="en-US" sz="900"/>
              <a:pPr marL="0" indent="0" algn="r">
                <a:spcBef>
                  <a:spcPct val="0"/>
                </a:spcBef>
                <a:buNone/>
              </a:pPr>
              <a:t>Banco del Estado de Chile</a:t>
            </a:fld>
            <a:endParaRPr lang="pt-BR" sz="900" dirty="0">
              <a:sym typeface="+mn-lt"/>
            </a:endParaRPr>
          </a:p>
        </p:txBody>
      </p:sp>
      <p:sp>
        <p:nvSpPr>
          <p:cNvPr id="62" name="Rectangle 61"/>
          <p:cNvSpPr>
            <a:spLocks noGrp="1" noChangeArrowheads="1"/>
          </p:cNvSpPr>
          <p:nvPr>
            <p:custDataLst>
              <p:tags r:id="rId12"/>
            </p:custDataLst>
          </p:nvPr>
        </p:nvSpPr>
        <p:spPr bwMode="auto">
          <a:xfrm>
            <a:off x="5139929" y="4254104"/>
            <a:ext cx="11227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D0A6CCC7-FB4F-4F37-8036-615587AE00C6}" type="datetime'''Ban''''''co ''''d''e ''''B''og''''''''o''ta'''' S''.A.'">
              <a:rPr lang="pt-BR" altLang="en-US" sz="900"/>
              <a:pPr marL="0" indent="0" algn="r">
                <a:spcBef>
                  <a:spcPct val="0"/>
                </a:spcBef>
                <a:buNone/>
              </a:pPr>
              <a:t>Banco de Bogota S.A.</a:t>
            </a:fld>
            <a:endParaRPr lang="pt-BR" sz="900" dirty="0">
              <a:sym typeface="+mn-lt"/>
            </a:endParaRPr>
          </a:p>
        </p:txBody>
      </p:sp>
      <p:sp>
        <p:nvSpPr>
          <p:cNvPr id="61" name="Rectangle 60"/>
          <p:cNvSpPr>
            <a:spLocks noGrp="1" noChangeArrowheads="1"/>
          </p:cNvSpPr>
          <p:nvPr>
            <p:custDataLst>
              <p:tags r:id="rId13"/>
            </p:custDataLst>
          </p:nvPr>
        </p:nvSpPr>
        <p:spPr bwMode="auto">
          <a:xfrm>
            <a:off x="5781675" y="4697017"/>
            <a:ext cx="48101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17188F6C-EC0E-452B-A1A2-C989DCB96F19}" type="datetime'''''''''B''''a''''n''''a''''''''m''''e''x'">
              <a:rPr lang="pt-BR" altLang="en-US" sz="900"/>
              <a:pPr marL="0" indent="0" algn="r">
                <a:spcBef>
                  <a:spcPct val="0"/>
                </a:spcBef>
                <a:buNone/>
              </a:pPr>
              <a:t>Banamex</a:t>
            </a:fld>
            <a:endParaRPr lang="pt-BR" sz="900" dirty="0">
              <a:sym typeface="+mn-lt"/>
            </a:endParaRPr>
          </a:p>
        </p:txBody>
      </p:sp>
      <p:sp>
        <p:nvSpPr>
          <p:cNvPr id="58" name="Rectangle 57"/>
          <p:cNvSpPr>
            <a:spLocks noGrp="1" noChangeArrowheads="1"/>
          </p:cNvSpPr>
          <p:nvPr>
            <p:custDataLst>
              <p:tags r:id="rId14"/>
            </p:custDataLst>
          </p:nvPr>
        </p:nvSpPr>
        <p:spPr bwMode="auto">
          <a:xfrm>
            <a:off x="5560219" y="2482454"/>
            <a:ext cx="702469"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7B9AA256-04CE-4E79-A0C8-A38B167535E6}" type="datetime'B''ras''''''''''''''''''il ''''(M''''é''''''d''''''i''''''a)'">
              <a:rPr lang="pt-BR" altLang="en-US" sz="900"/>
              <a:pPr marL="0" indent="0" algn="r">
                <a:spcBef>
                  <a:spcPct val="0"/>
                </a:spcBef>
                <a:buNone/>
              </a:pPr>
              <a:t>Brasil (Média)</a:t>
            </a:fld>
            <a:endParaRPr lang="pt-BR" sz="900" dirty="0">
              <a:sym typeface="+mn-lt"/>
            </a:endParaRPr>
          </a:p>
        </p:txBody>
      </p:sp>
      <p:sp>
        <p:nvSpPr>
          <p:cNvPr id="57" name="Rectangle 56"/>
          <p:cNvSpPr>
            <a:spLocks noGrp="1" noChangeArrowheads="1"/>
          </p:cNvSpPr>
          <p:nvPr>
            <p:custDataLst>
              <p:tags r:id="rId15"/>
            </p:custDataLst>
          </p:nvPr>
        </p:nvSpPr>
        <p:spPr bwMode="auto">
          <a:xfrm>
            <a:off x="5460207" y="2925367"/>
            <a:ext cx="802481"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111A5B8B-DC71-4711-83CC-4691F55656F3}" type="datetime'B''BV''A ''''''''C''''o''''l''''o''''''mbi''a'''''''''''''''''">
              <a:rPr lang="pt-BR" altLang="en-US" sz="900"/>
              <a:pPr marL="0" indent="0" algn="r">
                <a:spcBef>
                  <a:spcPct val="0"/>
                </a:spcBef>
                <a:buNone/>
              </a:pPr>
              <a:t>BBVA Colombia</a:t>
            </a:fld>
            <a:endParaRPr lang="pt-BR" sz="900" dirty="0">
              <a:sym typeface="+mn-lt"/>
            </a:endParaRPr>
          </a:p>
        </p:txBody>
      </p:sp>
      <p:sp>
        <p:nvSpPr>
          <p:cNvPr id="59" name="Rectangle 58"/>
          <p:cNvSpPr>
            <a:spLocks noGrp="1" noChangeArrowheads="1"/>
          </p:cNvSpPr>
          <p:nvPr>
            <p:custDataLst>
              <p:tags r:id="rId16"/>
            </p:custDataLst>
          </p:nvPr>
        </p:nvSpPr>
        <p:spPr bwMode="gray">
          <a:xfrm>
            <a:off x="8162925" y="2482454"/>
            <a:ext cx="38100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16669" tIns="0" rIns="16669"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spcBef>
                <a:spcPct val="0"/>
              </a:spcBef>
              <a:buNone/>
            </a:pPr>
            <a:fld id="{C85144CA-3E21-4BA7-904A-BB7E9D2CD908}" type="datetime'''''''''''''''''''''''''''''''''''''''1''''''''7''''.474'">
              <a:rPr lang="pt-BR" altLang="en-US" sz="900"/>
              <a:pPr marL="0" indent="0">
                <a:spcBef>
                  <a:spcPct val="0"/>
                </a:spcBef>
                <a:buNone/>
              </a:pPr>
              <a:t>17.474</a:t>
            </a:fld>
            <a:endParaRPr lang="pt-BR" sz="900" dirty="0">
              <a:sym typeface="+mn-lt"/>
            </a:endParaRPr>
          </a:p>
        </p:txBody>
      </p:sp>
      <p:sp>
        <p:nvSpPr>
          <p:cNvPr id="60" name="Rectangle 59"/>
          <p:cNvSpPr>
            <a:spLocks noGrp="1" noChangeArrowheads="1"/>
          </p:cNvSpPr>
          <p:nvPr>
            <p:custDataLst>
              <p:tags r:id="rId17"/>
            </p:custDataLst>
          </p:nvPr>
        </p:nvSpPr>
        <p:spPr bwMode="auto">
          <a:xfrm>
            <a:off x="6269832" y="5169694"/>
            <a:ext cx="18931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ctr">
              <a:spcBef>
                <a:spcPct val="0"/>
              </a:spcBef>
              <a:buNone/>
            </a:pPr>
            <a:r>
              <a:rPr lang="pt-BR" altLang="en-US" sz="900" dirty="0">
                <a:sym typeface="+mn-lt"/>
              </a:rPr>
              <a:t>387</a:t>
            </a:r>
            <a:endParaRPr lang="pt-BR" sz="900" dirty="0">
              <a:sym typeface="+mn-lt"/>
            </a:endParaRPr>
          </a:p>
        </p:txBody>
      </p:sp>
      <p:pic>
        <p:nvPicPr>
          <p:cNvPr id="65" name="Picture 10" descr="Resultado de imagem para round flag chile"/>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4650581" y="3800475"/>
            <a:ext cx="252000" cy="18900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6" descr="Resultado de imagem para round flag colômbia"/>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5173266" y="2890838"/>
            <a:ext cx="252000" cy="18900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9" descr="Image result for bandeira brasil icone"/>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5298281" y="2464594"/>
            <a:ext cx="252000" cy="18900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2" descr="Resultado de imagem para round flag mexico"/>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5120879" y="3343275"/>
            <a:ext cx="252000" cy="18900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2" descr="Resultado de imagem para round flag mexico"/>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5516166" y="4676775"/>
            <a:ext cx="252000" cy="18900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6" descr="Resultado de imagem para round flag colômbia"/>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4892279" y="4244579"/>
            <a:ext cx="252000" cy="189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8" name="Object 47"/>
          <p:cNvGraphicFramePr>
            <a:graphicFrameLocks/>
          </p:cNvGraphicFramePr>
          <p:nvPr>
            <p:custDataLst>
              <p:tags r:id="rId18"/>
            </p:custDataLst>
            <p:extLst/>
          </p:nvPr>
        </p:nvGraphicFramePr>
        <p:xfrm>
          <a:off x="828676" y="2285999"/>
          <a:ext cx="2857459" cy="2907590"/>
        </p:xfrm>
        <a:graphic>
          <a:graphicData uri="http://schemas.openxmlformats.org/presentationml/2006/ole">
            <mc:AlternateContent xmlns:mc="http://schemas.openxmlformats.org/markup-compatibility/2006">
              <mc:Choice xmlns:v="urn:schemas-microsoft-com:vml" Requires="v">
                <p:oleObj spid="_x0000_s51309" name="Chart" r:id="rId47" imgW="3810180" imgH="3876514" progId="MSGraph.Chart.8">
                  <p:embed followColorScheme="full"/>
                </p:oleObj>
              </mc:Choice>
              <mc:Fallback>
                <p:oleObj name="Chart" r:id="rId47" imgW="3810180" imgH="3876514" progId="MSGraph.Chart.8">
                  <p:embed followColorScheme="full"/>
                  <p:pic>
                    <p:nvPicPr>
                      <p:cNvPr id="0" name=""/>
                      <p:cNvPicPr/>
                      <p:nvPr/>
                    </p:nvPicPr>
                    <p:blipFill>
                      <a:blip r:embed="rId48"/>
                      <a:stretch>
                        <a:fillRect/>
                      </a:stretch>
                    </p:blipFill>
                    <p:spPr>
                      <a:xfrm>
                        <a:off x="828676" y="2285999"/>
                        <a:ext cx="2857459" cy="2907590"/>
                      </a:xfrm>
                      <a:prstGeom prst="rect">
                        <a:avLst/>
                      </a:prstGeom>
                    </p:spPr>
                  </p:pic>
                </p:oleObj>
              </mc:Fallback>
            </mc:AlternateContent>
          </a:graphicData>
        </a:graphic>
      </p:graphicFrame>
      <p:sp>
        <p:nvSpPr>
          <p:cNvPr id="72" name="Right Arrow 71"/>
          <p:cNvSpPr/>
          <p:nvPr>
            <p:custDataLst>
              <p:tags r:id="rId19"/>
            </p:custDataLst>
          </p:nvPr>
        </p:nvSpPr>
        <p:spPr bwMode="auto">
          <a:xfrm rot="16200000">
            <a:off x="2352675" y="5093494"/>
            <a:ext cx="96441" cy="114300"/>
          </a:xfrm>
          <a:prstGeom prst="rightArrow">
            <a:avLst>
              <a:gd name="adj1" fmla="val 100000"/>
              <a:gd name="adj2" fmla="val 100000"/>
            </a:avLst>
          </a:prstGeom>
          <a:solidFill>
            <a:schemeClr val="tx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dirty="0">
              <a:solidFill>
                <a:prstClr val="white"/>
              </a:solidFill>
            </a:endParaRPr>
          </a:p>
        </p:txBody>
      </p:sp>
      <p:cxnSp>
        <p:nvCxnSpPr>
          <p:cNvPr id="77" name="Straight Connector 76"/>
          <p:cNvCxnSpPr/>
          <p:nvPr>
            <p:custDataLst>
              <p:tags r:id="rId20"/>
            </p:custDataLst>
          </p:nvPr>
        </p:nvCxnSpPr>
        <p:spPr bwMode="gray">
          <a:xfrm>
            <a:off x="2400300" y="2428877"/>
            <a:ext cx="0" cy="1250156"/>
          </a:xfrm>
          <a:prstGeom prst="line">
            <a:avLst/>
          </a:prstGeom>
          <a:ln w="9525">
            <a:solidFill>
              <a:srgbClr val="8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21"/>
            </p:custDataLst>
          </p:nvPr>
        </p:nvCxnSpPr>
        <p:spPr bwMode="gray">
          <a:xfrm>
            <a:off x="2400300" y="4219575"/>
            <a:ext cx="0" cy="845344"/>
          </a:xfrm>
          <a:prstGeom prst="line">
            <a:avLst/>
          </a:prstGeom>
          <a:ln w="9525">
            <a:solidFill>
              <a:srgbClr val="8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22"/>
            </p:custDataLst>
          </p:nvPr>
        </p:nvCxnSpPr>
        <p:spPr bwMode="gray">
          <a:xfrm>
            <a:off x="2400300" y="3815954"/>
            <a:ext cx="0" cy="66675"/>
          </a:xfrm>
          <a:prstGeom prst="line">
            <a:avLst/>
          </a:prstGeom>
          <a:ln w="9525">
            <a:solidFill>
              <a:srgbClr val="8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23"/>
            </p:custDataLst>
          </p:nvPr>
        </p:nvCxnSpPr>
        <p:spPr bwMode="gray">
          <a:xfrm>
            <a:off x="2400300" y="4019550"/>
            <a:ext cx="0" cy="63104"/>
          </a:xfrm>
          <a:prstGeom prst="line">
            <a:avLst/>
          </a:prstGeom>
          <a:ln w="9525">
            <a:solidFill>
              <a:srgbClr val="8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82" name="Rectangle 81"/>
          <p:cNvSpPr>
            <a:spLocks noGrp="1" noChangeArrowheads="1"/>
          </p:cNvSpPr>
          <p:nvPr>
            <p:custDataLst>
              <p:tags r:id="rId24"/>
            </p:custDataLst>
          </p:nvPr>
        </p:nvSpPr>
        <p:spPr bwMode="auto">
          <a:xfrm>
            <a:off x="2337198" y="5237560"/>
            <a:ext cx="126206"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ctr">
              <a:spcBef>
                <a:spcPct val="0"/>
              </a:spcBef>
              <a:buNone/>
            </a:pPr>
            <a:r>
              <a:rPr lang="pt-BR" sz="900" dirty="0">
                <a:sym typeface="+mn-lt"/>
              </a:rPr>
              <a:t>78</a:t>
            </a:r>
          </a:p>
        </p:txBody>
      </p:sp>
      <p:sp>
        <p:nvSpPr>
          <p:cNvPr id="83" name="Rectangle 82"/>
          <p:cNvSpPr>
            <a:spLocks noGrp="1" noChangeArrowheads="1"/>
          </p:cNvSpPr>
          <p:nvPr>
            <p:custDataLst>
              <p:tags r:id="rId25"/>
            </p:custDataLst>
          </p:nvPr>
        </p:nvSpPr>
        <p:spPr bwMode="auto">
          <a:xfrm>
            <a:off x="571500" y="4693444"/>
            <a:ext cx="34766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A91EB737-FA39-477E-89D5-46AC7B428E5D}" type="datetime'''R''ús''''''s''''''''''''i''''''''''''a'''''''''''''''''">
              <a:rPr lang="pt-BR" altLang="en-US" sz="900"/>
              <a:pPr marL="0" indent="0" algn="r">
                <a:spcBef>
                  <a:spcPct val="0"/>
                </a:spcBef>
                <a:buNone/>
              </a:pPr>
              <a:t>Rússia</a:t>
            </a:fld>
            <a:endParaRPr lang="pt-BR" sz="900" dirty="0">
              <a:sym typeface="+mn-lt"/>
            </a:endParaRPr>
          </a:p>
        </p:txBody>
      </p:sp>
      <p:sp>
        <p:nvSpPr>
          <p:cNvPr id="91" name="Rectangle 90"/>
          <p:cNvSpPr>
            <a:spLocks noGrp="1" noChangeArrowheads="1"/>
          </p:cNvSpPr>
          <p:nvPr>
            <p:custDataLst>
              <p:tags r:id="rId26"/>
            </p:custDataLst>
          </p:nvPr>
        </p:nvSpPr>
        <p:spPr bwMode="auto">
          <a:xfrm>
            <a:off x="760810" y="3071813"/>
            <a:ext cx="1583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7AA324D0-20F3-4B75-B732-61EA4E6FC33A}" type="datetime'''''''''''''''''''''''''''''U''''''''''''''''''''''K'''">
              <a:rPr lang="pt-BR" altLang="en-US" sz="900"/>
              <a:pPr marL="0" indent="0" algn="r">
                <a:spcBef>
                  <a:spcPct val="0"/>
                </a:spcBef>
                <a:buNone/>
              </a:pPr>
              <a:t>UK</a:t>
            </a:fld>
            <a:endParaRPr lang="pt-BR" sz="900" dirty="0">
              <a:sym typeface="+mn-lt"/>
            </a:endParaRPr>
          </a:p>
        </p:txBody>
      </p:sp>
      <p:sp>
        <p:nvSpPr>
          <p:cNvPr id="103" name="Rectangle 102"/>
          <p:cNvSpPr>
            <a:spLocks noGrp="1" noChangeArrowheads="1"/>
          </p:cNvSpPr>
          <p:nvPr>
            <p:custDataLst>
              <p:tags r:id="rId27"/>
            </p:custDataLst>
          </p:nvPr>
        </p:nvSpPr>
        <p:spPr bwMode="auto">
          <a:xfrm>
            <a:off x="444104" y="2664619"/>
            <a:ext cx="4750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434A03B1-D825-4A1D-9D46-32FBAB86D7CE}" type="datetime'C''''''o''r''éi''''''a ''''''''''''''S''''''''.'">
              <a:rPr lang="pt-BR" altLang="en-US" sz="900"/>
              <a:pPr marL="0" indent="0" algn="r">
                <a:spcBef>
                  <a:spcPct val="0"/>
                </a:spcBef>
                <a:buNone/>
              </a:pPr>
              <a:t>Coréia S.</a:t>
            </a:fld>
            <a:endParaRPr lang="pt-BR" sz="900" dirty="0">
              <a:sym typeface="+mn-lt"/>
            </a:endParaRPr>
          </a:p>
        </p:txBody>
      </p:sp>
      <p:sp>
        <p:nvSpPr>
          <p:cNvPr id="89" name="Rectangle 88"/>
          <p:cNvSpPr>
            <a:spLocks noGrp="1" noChangeArrowheads="1"/>
          </p:cNvSpPr>
          <p:nvPr>
            <p:custDataLst>
              <p:tags r:id="rId28"/>
            </p:custDataLst>
          </p:nvPr>
        </p:nvSpPr>
        <p:spPr bwMode="auto">
          <a:xfrm>
            <a:off x="660797" y="4082654"/>
            <a:ext cx="258366"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92F5EB50-99CA-4C47-B2BC-55952EEAFF50}" type="datetime'C''''''''h''''''''''''''''''''''''''i''le'''''''''''''''''">
              <a:rPr lang="pt-BR" altLang="en-US" sz="900"/>
              <a:pPr marL="0" indent="0" algn="r">
                <a:spcBef>
                  <a:spcPct val="0"/>
                </a:spcBef>
                <a:buNone/>
              </a:pPr>
              <a:t>Chile</a:t>
            </a:fld>
            <a:endParaRPr lang="pt-BR" sz="900" dirty="0">
              <a:sym typeface="+mn-lt"/>
            </a:endParaRPr>
          </a:p>
        </p:txBody>
      </p:sp>
      <p:sp>
        <p:nvSpPr>
          <p:cNvPr id="97" name="Rectangle 96"/>
          <p:cNvSpPr>
            <a:spLocks noGrp="1" noChangeArrowheads="1"/>
          </p:cNvSpPr>
          <p:nvPr>
            <p:custDataLst>
              <p:tags r:id="rId29"/>
            </p:custDataLst>
          </p:nvPr>
        </p:nvSpPr>
        <p:spPr bwMode="auto">
          <a:xfrm>
            <a:off x="486967" y="3475435"/>
            <a:ext cx="432197"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3ED663E5-6E2A-4A5E-A2EC-8BD8071FDABA}" type="datetime'''''Á''''''''f''ri''''''c''a ''S''.'''''''''">
              <a:rPr lang="pt-BR" altLang="en-US" sz="900"/>
              <a:pPr marL="0" indent="0" algn="r">
                <a:spcBef>
                  <a:spcPct val="0"/>
                </a:spcBef>
                <a:buNone/>
              </a:pPr>
              <a:t>África S.</a:t>
            </a:fld>
            <a:endParaRPr lang="pt-BR" sz="900" dirty="0">
              <a:sym typeface="+mn-lt"/>
            </a:endParaRPr>
          </a:p>
        </p:txBody>
      </p:sp>
      <p:sp>
        <p:nvSpPr>
          <p:cNvPr id="85" name="Rectangle 84"/>
          <p:cNvSpPr>
            <a:spLocks noGrp="1" noChangeArrowheads="1"/>
          </p:cNvSpPr>
          <p:nvPr>
            <p:custDataLst>
              <p:tags r:id="rId30"/>
            </p:custDataLst>
          </p:nvPr>
        </p:nvSpPr>
        <p:spPr bwMode="auto">
          <a:xfrm>
            <a:off x="634604" y="3275410"/>
            <a:ext cx="2845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2CE5D761-26CA-4E71-9DA9-2EEC0F12A6FF}" type="datetime'''''''B''''ra''''''''s''il'''''''''''''''''''''">
              <a:rPr lang="pt-BR" altLang="en-US" sz="900"/>
              <a:pPr marL="0" indent="0" algn="r">
                <a:spcBef>
                  <a:spcPct val="0"/>
                </a:spcBef>
                <a:buNone/>
              </a:pPr>
              <a:t>Brasil</a:t>
            </a:fld>
            <a:endParaRPr lang="pt-BR" sz="900" dirty="0">
              <a:sym typeface="+mn-lt"/>
            </a:endParaRPr>
          </a:p>
        </p:txBody>
      </p:sp>
      <p:sp>
        <p:nvSpPr>
          <p:cNvPr id="93" name="Rectangle 92"/>
          <p:cNvSpPr>
            <a:spLocks noGrp="1" noChangeArrowheads="1"/>
          </p:cNvSpPr>
          <p:nvPr>
            <p:custDataLst>
              <p:tags r:id="rId31"/>
            </p:custDataLst>
          </p:nvPr>
        </p:nvSpPr>
        <p:spPr bwMode="auto">
          <a:xfrm>
            <a:off x="558404" y="4286251"/>
            <a:ext cx="3607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20700E2C-E82C-4D8B-A4B4-0AC15E597F65}" type="datetime'''''''''''M''''''''é''''''x''''''''''''''ic''o'''">
              <a:rPr lang="pt-BR" altLang="en-US" sz="900"/>
              <a:pPr marL="0" indent="0" algn="r">
                <a:spcBef>
                  <a:spcPct val="0"/>
                </a:spcBef>
                <a:buNone/>
              </a:pPr>
              <a:t>México</a:t>
            </a:fld>
            <a:endParaRPr lang="pt-BR" sz="900" dirty="0">
              <a:sym typeface="+mn-lt"/>
            </a:endParaRPr>
          </a:p>
        </p:txBody>
      </p:sp>
      <p:sp>
        <p:nvSpPr>
          <p:cNvPr id="101" name="Rectangle 100"/>
          <p:cNvSpPr>
            <a:spLocks noGrp="1" noChangeArrowheads="1"/>
          </p:cNvSpPr>
          <p:nvPr>
            <p:custDataLst>
              <p:tags r:id="rId32"/>
            </p:custDataLst>
          </p:nvPr>
        </p:nvSpPr>
        <p:spPr bwMode="auto">
          <a:xfrm>
            <a:off x="684610" y="2868217"/>
            <a:ext cx="2345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1211F931-5AF0-4632-B93A-5DA6F5E90D63}" type="datetime'''''''''''''''''''''''''''''E''''''''''''''''''UA'''''">
              <a:rPr lang="pt-BR" altLang="en-US" sz="900"/>
              <a:pPr marL="0" indent="0" algn="r">
                <a:spcBef>
                  <a:spcPct val="0"/>
                </a:spcBef>
                <a:buNone/>
              </a:pPr>
              <a:t>EUA</a:t>
            </a:fld>
            <a:endParaRPr lang="pt-BR" sz="900" dirty="0">
              <a:sym typeface="+mn-lt"/>
            </a:endParaRPr>
          </a:p>
        </p:txBody>
      </p:sp>
      <p:sp>
        <p:nvSpPr>
          <p:cNvPr id="87" name="Rectangle 86"/>
          <p:cNvSpPr>
            <a:spLocks noGrp="1" noChangeArrowheads="1"/>
          </p:cNvSpPr>
          <p:nvPr>
            <p:custDataLst>
              <p:tags r:id="rId33"/>
            </p:custDataLst>
          </p:nvPr>
        </p:nvSpPr>
        <p:spPr bwMode="auto">
          <a:xfrm>
            <a:off x="476250" y="3882629"/>
            <a:ext cx="44291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38291CAA-B077-4479-ADB2-8CEB38271383}" type="datetime'''''''''''A''u''''st''''''''''''''''''''r''''''''ália'''">
              <a:rPr lang="pt-BR" altLang="en-US" sz="900"/>
              <a:pPr marL="0" indent="0" algn="r">
                <a:spcBef>
                  <a:spcPct val="0"/>
                </a:spcBef>
                <a:buNone/>
              </a:pPr>
              <a:t>Austrália</a:t>
            </a:fld>
            <a:endParaRPr lang="pt-BR" sz="900" dirty="0">
              <a:sym typeface="+mn-lt"/>
            </a:endParaRPr>
          </a:p>
        </p:txBody>
      </p:sp>
      <p:sp>
        <p:nvSpPr>
          <p:cNvPr id="100" name="Rectangle 99"/>
          <p:cNvSpPr>
            <a:spLocks noGrp="1" noChangeArrowheads="1"/>
          </p:cNvSpPr>
          <p:nvPr>
            <p:custDataLst>
              <p:tags r:id="rId34"/>
            </p:custDataLst>
          </p:nvPr>
        </p:nvSpPr>
        <p:spPr bwMode="auto">
          <a:xfrm>
            <a:off x="407194" y="2461023"/>
            <a:ext cx="511969"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EC09535D-CFB0-4200-AB01-6A89249C6DF9}" type="datetime'''''''Al''''''''''''''e''''''ma''''''''''''''''''nh''''a'''''">
              <a:rPr lang="pt-BR" altLang="en-US" sz="900"/>
              <a:pPr marL="0" indent="0" algn="r">
                <a:spcBef>
                  <a:spcPct val="0"/>
                </a:spcBef>
                <a:buNone/>
              </a:pPr>
              <a:t>Alemanha</a:t>
            </a:fld>
            <a:endParaRPr lang="pt-BR" sz="900" dirty="0">
              <a:sym typeface="+mn-lt"/>
            </a:endParaRPr>
          </a:p>
        </p:txBody>
      </p:sp>
      <p:sp>
        <p:nvSpPr>
          <p:cNvPr id="81" name="Rectangle 80"/>
          <p:cNvSpPr>
            <a:spLocks noGrp="1" noChangeArrowheads="1"/>
          </p:cNvSpPr>
          <p:nvPr>
            <p:custDataLst>
              <p:tags r:id="rId35"/>
            </p:custDataLst>
          </p:nvPr>
        </p:nvSpPr>
        <p:spPr bwMode="auto">
          <a:xfrm>
            <a:off x="672704" y="4489848"/>
            <a:ext cx="2464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25BF73CF-E2BE-4F9D-B17F-39E25A75D6E7}" type="datetime'''''''''''Í''''''n''''''''''''''''''''''''''''''''''d''''ia'">
              <a:rPr lang="pt-BR" altLang="en-US" sz="900"/>
              <a:pPr marL="0" indent="0" algn="r">
                <a:spcBef>
                  <a:spcPct val="0"/>
                </a:spcBef>
                <a:buNone/>
              </a:pPr>
              <a:t>Índia</a:t>
            </a:fld>
            <a:endParaRPr lang="pt-BR" sz="900" dirty="0">
              <a:sym typeface="+mn-lt"/>
            </a:endParaRPr>
          </a:p>
        </p:txBody>
      </p:sp>
      <p:sp>
        <p:nvSpPr>
          <p:cNvPr id="95" name="Rectangle 94"/>
          <p:cNvSpPr>
            <a:spLocks noGrp="1" noChangeArrowheads="1"/>
          </p:cNvSpPr>
          <p:nvPr>
            <p:custDataLst>
              <p:tags r:id="rId36"/>
            </p:custDataLst>
          </p:nvPr>
        </p:nvSpPr>
        <p:spPr bwMode="auto">
          <a:xfrm>
            <a:off x="439342" y="4897042"/>
            <a:ext cx="479822"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A77E6D0E-4791-4E7F-8335-E682ACD14618}" type="datetime'''''C''''o''''''''lô''m''''''''''''bi''''''''''a'''''''''''">
              <a:rPr lang="pt-BR" altLang="en-US" sz="900"/>
              <a:pPr marL="0" indent="0" algn="r">
                <a:spcBef>
                  <a:spcPct val="0"/>
                </a:spcBef>
                <a:buNone/>
              </a:pPr>
              <a:t>Colômbia</a:t>
            </a:fld>
            <a:endParaRPr lang="pt-BR" sz="900" dirty="0">
              <a:sym typeface="+mn-lt"/>
            </a:endParaRPr>
          </a:p>
        </p:txBody>
      </p:sp>
      <p:sp>
        <p:nvSpPr>
          <p:cNvPr id="102" name="Rectangle 101"/>
          <p:cNvSpPr>
            <a:spLocks noGrp="1" noChangeArrowheads="1"/>
          </p:cNvSpPr>
          <p:nvPr>
            <p:custDataLst>
              <p:tags r:id="rId37"/>
            </p:custDataLst>
          </p:nvPr>
        </p:nvSpPr>
        <p:spPr bwMode="auto">
          <a:xfrm>
            <a:off x="538163" y="3679032"/>
            <a:ext cx="38100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D246C6D1-515A-4940-9392-DF78CF0B1759}" type="datetime'''''''Tur''''''''q''''u''''''''''''i''a'''''''">
              <a:rPr lang="pt-BR" altLang="en-US" sz="900"/>
              <a:pPr marL="0" indent="0" algn="r">
                <a:spcBef>
                  <a:spcPct val="0"/>
                </a:spcBef>
                <a:buNone/>
              </a:pPr>
              <a:t>Turquia</a:t>
            </a:fld>
            <a:endParaRPr lang="pt-BR" sz="900" dirty="0">
              <a:sym typeface="+mn-lt"/>
            </a:endParaRPr>
          </a:p>
        </p:txBody>
      </p:sp>
    </p:spTree>
    <p:extLst>
      <p:ext uri="{BB962C8B-B14F-4D97-AF65-F5344CB8AC3E}">
        <p14:creationId xmlns:p14="http://schemas.microsoft.com/office/powerpoint/2010/main" val="17475007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Text Box 17"/>
          <p:cNvSpPr txBox="1">
            <a:spLocks noChangeArrowheads="1"/>
          </p:cNvSpPr>
          <p:nvPr/>
        </p:nvSpPr>
        <p:spPr bwMode="auto">
          <a:xfrm>
            <a:off x="261938" y="1382713"/>
            <a:ext cx="3929062"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lstStyle>
            <a:lvl1pPr indent="14288" defTabSz="912813">
              <a:defRPr sz="3000" b="1">
                <a:solidFill>
                  <a:schemeClr val="tx1"/>
                </a:solidFill>
                <a:latin typeface="Arial" charset="0"/>
              </a:defRPr>
            </a:lvl1pPr>
            <a:lvl2pPr marL="742950" indent="-285750" defTabSz="912813">
              <a:defRPr sz="3000" b="1">
                <a:solidFill>
                  <a:schemeClr val="tx1"/>
                </a:solidFill>
                <a:latin typeface="Arial" charset="0"/>
              </a:defRPr>
            </a:lvl2pPr>
            <a:lvl3pPr marL="1143000" indent="-228600" defTabSz="912813">
              <a:defRPr sz="3000" b="1">
                <a:solidFill>
                  <a:schemeClr val="tx1"/>
                </a:solidFill>
                <a:latin typeface="Arial" charset="0"/>
              </a:defRPr>
            </a:lvl3pPr>
            <a:lvl4pPr marL="1600200" indent="-228600" defTabSz="912813">
              <a:defRPr sz="3000" b="1">
                <a:solidFill>
                  <a:schemeClr val="tx1"/>
                </a:solidFill>
                <a:latin typeface="Arial" charset="0"/>
              </a:defRPr>
            </a:lvl4pPr>
            <a:lvl5pPr marL="2057400" indent="-228600" defTabSz="912813">
              <a:defRPr sz="3000" b="1">
                <a:solidFill>
                  <a:schemeClr val="tx1"/>
                </a:solidFill>
                <a:latin typeface="Arial" charset="0"/>
              </a:defRPr>
            </a:lvl5pPr>
            <a:lvl6pPr marL="2514600" indent="-228600" defTabSz="912813" eaLnBrk="0" fontAlgn="base" hangingPunct="0">
              <a:spcBef>
                <a:spcPct val="0"/>
              </a:spcBef>
              <a:spcAft>
                <a:spcPct val="0"/>
              </a:spcAft>
              <a:defRPr sz="3000" b="1">
                <a:solidFill>
                  <a:schemeClr val="tx1"/>
                </a:solidFill>
                <a:latin typeface="Arial" charset="0"/>
              </a:defRPr>
            </a:lvl6pPr>
            <a:lvl7pPr marL="2971800" indent="-228600" defTabSz="912813" eaLnBrk="0" fontAlgn="base" hangingPunct="0">
              <a:spcBef>
                <a:spcPct val="0"/>
              </a:spcBef>
              <a:spcAft>
                <a:spcPct val="0"/>
              </a:spcAft>
              <a:defRPr sz="3000" b="1">
                <a:solidFill>
                  <a:schemeClr val="tx1"/>
                </a:solidFill>
                <a:latin typeface="Arial" charset="0"/>
              </a:defRPr>
            </a:lvl7pPr>
            <a:lvl8pPr marL="3429000" indent="-228600" defTabSz="912813" eaLnBrk="0" fontAlgn="base" hangingPunct="0">
              <a:spcBef>
                <a:spcPct val="0"/>
              </a:spcBef>
              <a:spcAft>
                <a:spcPct val="0"/>
              </a:spcAft>
              <a:defRPr sz="3000" b="1">
                <a:solidFill>
                  <a:schemeClr val="tx1"/>
                </a:solidFill>
                <a:latin typeface="Arial" charset="0"/>
              </a:defRPr>
            </a:lvl8pPr>
            <a:lvl9pPr marL="3886200" indent="-228600" defTabSz="912813" eaLnBrk="0" fontAlgn="base" hangingPunct="0">
              <a:spcBef>
                <a:spcPct val="0"/>
              </a:spcBef>
              <a:spcAft>
                <a:spcPct val="0"/>
              </a:spcAft>
              <a:defRPr sz="3000" b="1">
                <a:solidFill>
                  <a:schemeClr val="tx1"/>
                </a:solidFill>
                <a:latin typeface="Arial" charset="0"/>
              </a:defRPr>
            </a:lvl9pPr>
          </a:lstStyle>
          <a:p>
            <a:pPr eaLnBrk="1" hangingPunct="1">
              <a:spcBef>
                <a:spcPct val="50000"/>
              </a:spcBef>
            </a:pPr>
            <a:endParaRPr lang="en-US" altLang="pt-BR" sz="900" baseline="30000">
              <a:solidFill>
                <a:srgbClr val="003399"/>
              </a:solidFill>
            </a:endParaRPr>
          </a:p>
        </p:txBody>
      </p:sp>
      <p:sp>
        <p:nvSpPr>
          <p:cNvPr id="161795" name="Text Box 17"/>
          <p:cNvSpPr txBox="1">
            <a:spLocks noChangeArrowheads="1"/>
          </p:cNvSpPr>
          <p:nvPr/>
        </p:nvSpPr>
        <p:spPr bwMode="auto">
          <a:xfrm>
            <a:off x="20637" y="2225610"/>
            <a:ext cx="91440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lstStyle>
            <a:lvl1pPr indent="14288" defTabSz="912813">
              <a:defRPr sz="3000" b="1">
                <a:solidFill>
                  <a:schemeClr val="tx1"/>
                </a:solidFill>
                <a:latin typeface="Arial" charset="0"/>
              </a:defRPr>
            </a:lvl1pPr>
            <a:lvl2pPr marL="742950" indent="-285750" defTabSz="912813">
              <a:defRPr sz="3000" b="1">
                <a:solidFill>
                  <a:schemeClr val="tx1"/>
                </a:solidFill>
                <a:latin typeface="Arial" charset="0"/>
              </a:defRPr>
            </a:lvl2pPr>
            <a:lvl3pPr marL="1143000" indent="-228600" defTabSz="912813">
              <a:defRPr sz="3000" b="1">
                <a:solidFill>
                  <a:schemeClr val="tx1"/>
                </a:solidFill>
                <a:latin typeface="Arial" charset="0"/>
              </a:defRPr>
            </a:lvl3pPr>
            <a:lvl4pPr marL="1600200" indent="-228600" defTabSz="912813">
              <a:defRPr sz="3000" b="1">
                <a:solidFill>
                  <a:schemeClr val="tx1"/>
                </a:solidFill>
                <a:latin typeface="Arial" charset="0"/>
              </a:defRPr>
            </a:lvl4pPr>
            <a:lvl5pPr marL="2057400" indent="-228600" defTabSz="912813">
              <a:defRPr sz="3000" b="1">
                <a:solidFill>
                  <a:schemeClr val="tx1"/>
                </a:solidFill>
                <a:latin typeface="Arial" charset="0"/>
              </a:defRPr>
            </a:lvl5pPr>
            <a:lvl6pPr marL="2514600" indent="-228600" defTabSz="912813" eaLnBrk="0" fontAlgn="base" hangingPunct="0">
              <a:spcBef>
                <a:spcPct val="0"/>
              </a:spcBef>
              <a:spcAft>
                <a:spcPct val="0"/>
              </a:spcAft>
              <a:defRPr sz="3000" b="1">
                <a:solidFill>
                  <a:schemeClr val="tx1"/>
                </a:solidFill>
                <a:latin typeface="Arial" charset="0"/>
              </a:defRPr>
            </a:lvl6pPr>
            <a:lvl7pPr marL="2971800" indent="-228600" defTabSz="912813" eaLnBrk="0" fontAlgn="base" hangingPunct="0">
              <a:spcBef>
                <a:spcPct val="0"/>
              </a:spcBef>
              <a:spcAft>
                <a:spcPct val="0"/>
              </a:spcAft>
              <a:defRPr sz="3000" b="1">
                <a:solidFill>
                  <a:schemeClr val="tx1"/>
                </a:solidFill>
                <a:latin typeface="Arial" charset="0"/>
              </a:defRPr>
            </a:lvl7pPr>
            <a:lvl8pPr marL="3429000" indent="-228600" defTabSz="912813" eaLnBrk="0" fontAlgn="base" hangingPunct="0">
              <a:spcBef>
                <a:spcPct val="0"/>
              </a:spcBef>
              <a:spcAft>
                <a:spcPct val="0"/>
              </a:spcAft>
              <a:defRPr sz="3000" b="1">
                <a:solidFill>
                  <a:schemeClr val="tx1"/>
                </a:solidFill>
                <a:latin typeface="Arial" charset="0"/>
              </a:defRPr>
            </a:lvl8pPr>
            <a:lvl9pPr marL="3886200" indent="-228600" defTabSz="912813" eaLnBrk="0" fontAlgn="base" hangingPunct="0">
              <a:spcBef>
                <a:spcPct val="0"/>
              </a:spcBef>
              <a:spcAft>
                <a:spcPct val="0"/>
              </a:spcAft>
              <a:defRPr sz="3000" b="1">
                <a:solidFill>
                  <a:schemeClr val="tx1"/>
                </a:solidFill>
                <a:latin typeface="Arial" charset="0"/>
              </a:defRPr>
            </a:lvl9pPr>
          </a:lstStyle>
          <a:p>
            <a:pPr algn="ctr" eaLnBrk="1" hangingPunct="1">
              <a:spcBef>
                <a:spcPct val="50000"/>
              </a:spcBef>
            </a:pPr>
            <a:r>
              <a:rPr lang="pt-BR" altLang="pt-BR" sz="1500" dirty="0">
                <a:solidFill>
                  <a:srgbClr val="003366"/>
                </a:solidFill>
              </a:rPr>
              <a:t>Evolução do Spread Bancário </a:t>
            </a:r>
            <a:r>
              <a:rPr lang="pt-BR" altLang="pt-BR" sz="1500" dirty="0" smtClean="0">
                <a:solidFill>
                  <a:srgbClr val="003366"/>
                </a:solidFill>
              </a:rPr>
              <a:t>(%</a:t>
            </a:r>
            <a:r>
              <a:rPr lang="pt-BR" altLang="pt-BR" sz="1500" dirty="0">
                <a:solidFill>
                  <a:srgbClr val="003366"/>
                </a:solidFill>
              </a:rPr>
              <a:t>a.a.)</a:t>
            </a:r>
            <a:endParaRPr lang="pt-BR" altLang="pt-BR" sz="1500" baseline="30000" dirty="0">
              <a:solidFill>
                <a:srgbClr val="003366"/>
              </a:solidFill>
            </a:endParaRPr>
          </a:p>
        </p:txBody>
      </p:sp>
      <p:sp>
        <p:nvSpPr>
          <p:cNvPr id="161797" name="Rectangle 2"/>
          <p:cNvSpPr>
            <a:spLocks/>
          </p:cNvSpPr>
          <p:nvPr/>
        </p:nvSpPr>
        <p:spPr bwMode="auto">
          <a:xfrm>
            <a:off x="98425" y="144463"/>
            <a:ext cx="8988425"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a:extLst/>
        </p:spPr>
        <p:txBody>
          <a:bodyPr anchor="ctr"/>
          <a:lstStyle/>
          <a:p>
            <a:pPr marL="185738">
              <a:lnSpc>
                <a:spcPct val="80000"/>
              </a:lnSpc>
            </a:pPr>
            <a:r>
              <a:rPr lang="pt-BR" altLang="pt-BR" sz="2800" dirty="0" smtClean="0">
                <a:solidFill>
                  <a:srgbClr val="1F497D"/>
                </a:solidFill>
                <a:latin typeface="Calibri" panose="020F0502020204030204" pitchFamily="34" charset="0"/>
              </a:rPr>
              <a:t>Spread Bancário - evolução recente </a:t>
            </a:r>
            <a:endParaRPr lang="pt-BR" altLang="pt-BR" sz="2800" dirty="0">
              <a:solidFill>
                <a:srgbClr val="1F497D"/>
              </a:solidFill>
              <a:latin typeface="Calibri" panose="020F0502020204030204" pitchFamily="34" charset="0"/>
            </a:endParaRPr>
          </a:p>
        </p:txBody>
      </p:sp>
      <p:sp>
        <p:nvSpPr>
          <p:cNvPr id="13" name="Text Box 5"/>
          <p:cNvSpPr txBox="1">
            <a:spLocks noChangeArrowheads="1"/>
          </p:cNvSpPr>
          <p:nvPr/>
        </p:nvSpPr>
        <p:spPr bwMode="auto">
          <a:xfrm>
            <a:off x="990600" y="6453706"/>
            <a:ext cx="10668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square">
            <a:spAutoFit/>
          </a:bodyPr>
          <a:lstStyle>
            <a:lvl1pPr>
              <a:defRPr sz="3000" b="1">
                <a:solidFill>
                  <a:schemeClr val="tx1"/>
                </a:solidFill>
                <a:latin typeface="Arial" charset="0"/>
              </a:defRPr>
            </a:lvl1pPr>
            <a:lvl2pPr marL="742950" indent="-285750">
              <a:defRPr sz="3000" b="1">
                <a:solidFill>
                  <a:schemeClr val="tx1"/>
                </a:solidFill>
                <a:latin typeface="Arial" charset="0"/>
              </a:defRPr>
            </a:lvl2pPr>
            <a:lvl3pPr marL="1143000" indent="-228600">
              <a:defRPr sz="3000" b="1">
                <a:solidFill>
                  <a:schemeClr val="tx1"/>
                </a:solidFill>
                <a:latin typeface="Arial" charset="0"/>
              </a:defRPr>
            </a:lvl3pPr>
            <a:lvl4pPr marL="1600200" indent="-228600">
              <a:defRPr sz="3000" b="1">
                <a:solidFill>
                  <a:schemeClr val="tx1"/>
                </a:solidFill>
                <a:latin typeface="Arial" charset="0"/>
              </a:defRPr>
            </a:lvl4pPr>
            <a:lvl5pPr marL="2057400" indent="-228600">
              <a:defRPr sz="3000" b="1">
                <a:solidFill>
                  <a:schemeClr val="tx1"/>
                </a:solidFill>
                <a:latin typeface="Arial" charset="0"/>
              </a:defRPr>
            </a:lvl5pPr>
            <a:lvl6pPr marL="2514600" indent="-228600" eaLnBrk="0" fontAlgn="base" hangingPunct="0">
              <a:spcBef>
                <a:spcPct val="0"/>
              </a:spcBef>
              <a:spcAft>
                <a:spcPct val="0"/>
              </a:spcAft>
              <a:defRPr sz="3000" b="1">
                <a:solidFill>
                  <a:schemeClr val="tx1"/>
                </a:solidFill>
                <a:latin typeface="Arial" charset="0"/>
              </a:defRPr>
            </a:lvl6pPr>
            <a:lvl7pPr marL="2971800" indent="-228600" eaLnBrk="0" fontAlgn="base" hangingPunct="0">
              <a:spcBef>
                <a:spcPct val="0"/>
              </a:spcBef>
              <a:spcAft>
                <a:spcPct val="0"/>
              </a:spcAft>
              <a:defRPr sz="3000" b="1">
                <a:solidFill>
                  <a:schemeClr val="tx1"/>
                </a:solidFill>
                <a:latin typeface="Arial" charset="0"/>
              </a:defRPr>
            </a:lvl7pPr>
            <a:lvl8pPr marL="3429000" indent="-228600" eaLnBrk="0" fontAlgn="base" hangingPunct="0">
              <a:spcBef>
                <a:spcPct val="0"/>
              </a:spcBef>
              <a:spcAft>
                <a:spcPct val="0"/>
              </a:spcAft>
              <a:defRPr sz="3000" b="1">
                <a:solidFill>
                  <a:schemeClr val="tx1"/>
                </a:solidFill>
                <a:latin typeface="Arial" charset="0"/>
              </a:defRPr>
            </a:lvl8pPr>
            <a:lvl9pPr marL="3886200" indent="-228600" eaLnBrk="0" fontAlgn="base" hangingPunct="0">
              <a:spcBef>
                <a:spcPct val="0"/>
              </a:spcBef>
              <a:spcAft>
                <a:spcPct val="0"/>
              </a:spcAft>
              <a:defRPr sz="3000" b="1">
                <a:solidFill>
                  <a:schemeClr val="tx1"/>
                </a:solidFill>
                <a:latin typeface="Arial" charset="0"/>
              </a:defRPr>
            </a:lvl9pPr>
          </a:lstStyle>
          <a:p>
            <a:pPr eaLnBrk="1" hangingPunct="1">
              <a:spcBef>
                <a:spcPct val="50000"/>
              </a:spcBef>
            </a:pPr>
            <a:r>
              <a:rPr lang="pt-BR" altLang="pt-BR" sz="1000" b="0" dirty="0">
                <a:solidFill>
                  <a:srgbClr val="000000"/>
                </a:solidFill>
              </a:rPr>
              <a:t>Fonte: BCB</a:t>
            </a:r>
          </a:p>
        </p:txBody>
      </p:sp>
      <p:sp>
        <p:nvSpPr>
          <p:cNvPr id="15" name="Espaço Reservado para Número de Slide 4"/>
          <p:cNvSpPr txBox="1">
            <a:spLocks/>
          </p:cNvSpPr>
          <p:nvPr/>
        </p:nvSpPr>
        <p:spPr>
          <a:xfrm>
            <a:off x="8072284" y="6356352"/>
            <a:ext cx="614516" cy="365125"/>
          </a:xfrm>
          <a:prstGeom prst="rect">
            <a:avLst/>
          </a:prstGeom>
        </p:spPr>
        <p:txBody>
          <a:bodyPr vert="horz" lIns="91440" tIns="45720" rIns="91440" bIns="45720" rtlCol="0" anchor="ctr"/>
          <a:lstStyle>
            <a:defPPr>
              <a:defRPr lang="pt-BR"/>
            </a:defPPr>
            <a:lvl1pPr algn="r">
              <a:defRPr sz="1200">
                <a:solidFill>
                  <a:prstClr val="black">
                    <a:tint val="75000"/>
                  </a:prstClr>
                </a:solidFill>
              </a:defRPr>
            </a:lvl1pPr>
          </a:lstStyle>
          <a:p>
            <a:r>
              <a:rPr lang="pt-BR" dirty="0" smtClean="0"/>
              <a:t>13</a:t>
            </a:r>
            <a:endParaRPr lang="pt-BR" b="0" dirty="0"/>
          </a:p>
        </p:txBody>
      </p:sp>
      <p:sp>
        <p:nvSpPr>
          <p:cNvPr id="14" name="CaixaDeTexto 13"/>
          <p:cNvSpPr txBox="1">
            <a:spLocks noChangeArrowheads="1"/>
          </p:cNvSpPr>
          <p:nvPr/>
        </p:nvSpPr>
        <p:spPr bwMode="auto">
          <a:xfrm>
            <a:off x="128603" y="814655"/>
            <a:ext cx="8558973" cy="1015663"/>
          </a:xfrm>
          <a:prstGeom prst="rect">
            <a:avLst/>
          </a:prstGeom>
          <a:noFill/>
          <a:ln w="9525">
            <a:noFill/>
            <a:miter lim="800000"/>
            <a:headEnd/>
            <a:tailEnd/>
          </a:ln>
        </p:spPr>
        <p:txBody>
          <a:bodyPr wrap="square">
            <a:spAutoFit/>
          </a:bodyPr>
          <a:lstStyle/>
          <a:p>
            <a:pPr algn="just"/>
            <a:r>
              <a:rPr lang="pt-BR" sz="2000" dirty="0" smtClean="0">
                <a:solidFill>
                  <a:srgbClr val="003366"/>
                </a:solidFill>
              </a:rPr>
              <a:t>Após subirem a partir de dezembro/2013 em função do aumento do risco e inadimplência, provocados pela recessão, spreads mostram estabilização a partir do final de 2016</a:t>
            </a:r>
          </a:p>
        </p:txBody>
      </p:sp>
      <p:graphicFrame>
        <p:nvGraphicFramePr>
          <p:cNvPr id="9" name="Gráfico 8"/>
          <p:cNvGraphicFramePr>
            <a:graphicFrameLocks/>
          </p:cNvGraphicFramePr>
          <p:nvPr>
            <p:extLst>
              <p:ext uri="{D42A27DB-BD31-4B8C-83A1-F6EECF244321}">
                <p14:modId xmlns:p14="http://schemas.microsoft.com/office/powerpoint/2010/main" val="2746653252"/>
              </p:ext>
            </p:extLst>
          </p:nvPr>
        </p:nvGraphicFramePr>
        <p:xfrm>
          <a:off x="1143000" y="2514600"/>
          <a:ext cx="6400800" cy="3505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935184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5" name="Rectangle 2"/>
          <p:cNvSpPr>
            <a:spLocks/>
          </p:cNvSpPr>
          <p:nvPr/>
        </p:nvSpPr>
        <p:spPr bwMode="auto">
          <a:xfrm>
            <a:off x="98425" y="144463"/>
            <a:ext cx="8988425"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a:extLst/>
        </p:spPr>
        <p:txBody>
          <a:bodyPr anchor="ctr"/>
          <a:lstStyle/>
          <a:p>
            <a:pPr marL="185738">
              <a:lnSpc>
                <a:spcPct val="80000"/>
              </a:lnSpc>
            </a:pPr>
            <a:r>
              <a:rPr lang="pt-BR" altLang="pt-BR" sz="2800" dirty="0" smtClean="0">
                <a:solidFill>
                  <a:srgbClr val="1F497D"/>
                </a:solidFill>
                <a:latin typeface="Calibri" panose="020F0502020204030204" pitchFamily="34" charset="0"/>
              </a:rPr>
              <a:t>Indicador de Custo de Crédito (ICC-BCB)</a:t>
            </a:r>
            <a:endParaRPr lang="pt-BR" altLang="pt-BR" sz="2800" dirty="0">
              <a:solidFill>
                <a:srgbClr val="1F497D"/>
              </a:solidFill>
              <a:latin typeface="Calibri" panose="020F0502020204030204" pitchFamily="34" charset="0"/>
            </a:endParaRPr>
          </a:p>
        </p:txBody>
      </p:sp>
      <p:sp>
        <p:nvSpPr>
          <p:cNvPr id="10" name="Text Box 5"/>
          <p:cNvSpPr txBox="1">
            <a:spLocks noChangeArrowheads="1"/>
          </p:cNvSpPr>
          <p:nvPr/>
        </p:nvSpPr>
        <p:spPr bwMode="auto">
          <a:xfrm>
            <a:off x="990600" y="6444408"/>
            <a:ext cx="30480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square">
            <a:spAutoFit/>
          </a:bodyPr>
          <a:lstStyle>
            <a:lvl1pPr>
              <a:defRPr sz="3000" b="1">
                <a:solidFill>
                  <a:schemeClr val="tx1"/>
                </a:solidFill>
                <a:latin typeface="Arial" charset="0"/>
              </a:defRPr>
            </a:lvl1pPr>
            <a:lvl2pPr marL="742950" indent="-285750">
              <a:defRPr sz="3000" b="1">
                <a:solidFill>
                  <a:schemeClr val="tx1"/>
                </a:solidFill>
                <a:latin typeface="Arial" charset="0"/>
              </a:defRPr>
            </a:lvl2pPr>
            <a:lvl3pPr marL="1143000" indent="-228600">
              <a:defRPr sz="3000" b="1">
                <a:solidFill>
                  <a:schemeClr val="tx1"/>
                </a:solidFill>
                <a:latin typeface="Arial" charset="0"/>
              </a:defRPr>
            </a:lvl3pPr>
            <a:lvl4pPr marL="1600200" indent="-228600">
              <a:defRPr sz="3000" b="1">
                <a:solidFill>
                  <a:schemeClr val="tx1"/>
                </a:solidFill>
                <a:latin typeface="Arial" charset="0"/>
              </a:defRPr>
            </a:lvl4pPr>
            <a:lvl5pPr marL="2057400" indent="-228600">
              <a:defRPr sz="3000" b="1">
                <a:solidFill>
                  <a:schemeClr val="tx1"/>
                </a:solidFill>
                <a:latin typeface="Arial" charset="0"/>
              </a:defRPr>
            </a:lvl5pPr>
            <a:lvl6pPr marL="2514600" indent="-228600" eaLnBrk="0" fontAlgn="base" hangingPunct="0">
              <a:spcBef>
                <a:spcPct val="0"/>
              </a:spcBef>
              <a:spcAft>
                <a:spcPct val="0"/>
              </a:spcAft>
              <a:defRPr sz="3000" b="1">
                <a:solidFill>
                  <a:schemeClr val="tx1"/>
                </a:solidFill>
                <a:latin typeface="Arial" charset="0"/>
              </a:defRPr>
            </a:lvl6pPr>
            <a:lvl7pPr marL="2971800" indent="-228600" eaLnBrk="0" fontAlgn="base" hangingPunct="0">
              <a:spcBef>
                <a:spcPct val="0"/>
              </a:spcBef>
              <a:spcAft>
                <a:spcPct val="0"/>
              </a:spcAft>
              <a:defRPr sz="3000" b="1">
                <a:solidFill>
                  <a:schemeClr val="tx1"/>
                </a:solidFill>
                <a:latin typeface="Arial" charset="0"/>
              </a:defRPr>
            </a:lvl7pPr>
            <a:lvl8pPr marL="3429000" indent="-228600" eaLnBrk="0" fontAlgn="base" hangingPunct="0">
              <a:spcBef>
                <a:spcPct val="0"/>
              </a:spcBef>
              <a:spcAft>
                <a:spcPct val="0"/>
              </a:spcAft>
              <a:defRPr sz="3000" b="1">
                <a:solidFill>
                  <a:schemeClr val="tx1"/>
                </a:solidFill>
                <a:latin typeface="Arial" charset="0"/>
              </a:defRPr>
            </a:lvl8pPr>
            <a:lvl9pPr marL="3886200" indent="-228600" eaLnBrk="0" fontAlgn="base" hangingPunct="0">
              <a:spcBef>
                <a:spcPct val="0"/>
              </a:spcBef>
              <a:spcAft>
                <a:spcPct val="0"/>
              </a:spcAft>
              <a:defRPr sz="3000" b="1">
                <a:solidFill>
                  <a:schemeClr val="tx1"/>
                </a:solidFill>
                <a:latin typeface="Arial" charset="0"/>
              </a:defRPr>
            </a:lvl9pPr>
          </a:lstStyle>
          <a:p>
            <a:pPr eaLnBrk="1" hangingPunct="1">
              <a:spcBef>
                <a:spcPct val="50000"/>
              </a:spcBef>
            </a:pPr>
            <a:r>
              <a:rPr lang="pt-BR" altLang="pt-BR" sz="1000" b="0" dirty="0">
                <a:solidFill>
                  <a:srgbClr val="000000"/>
                </a:solidFill>
              </a:rPr>
              <a:t>Fonte: </a:t>
            </a:r>
            <a:r>
              <a:rPr lang="pt-BR" altLang="pt-BR" sz="1000" b="0" dirty="0" smtClean="0">
                <a:solidFill>
                  <a:srgbClr val="000000"/>
                </a:solidFill>
              </a:rPr>
              <a:t>BCB, Elaboração: FEBRABAN</a:t>
            </a:r>
            <a:endParaRPr lang="pt-BR" altLang="pt-BR" sz="1000" b="0" dirty="0">
              <a:solidFill>
                <a:srgbClr val="000000"/>
              </a:solidFill>
            </a:endParaRPr>
          </a:p>
        </p:txBody>
      </p:sp>
      <p:sp>
        <p:nvSpPr>
          <p:cNvPr id="3" name="Retângulo 2"/>
          <p:cNvSpPr/>
          <p:nvPr/>
        </p:nvSpPr>
        <p:spPr>
          <a:xfrm>
            <a:off x="138832" y="914400"/>
            <a:ext cx="8805143" cy="707886"/>
          </a:xfrm>
          <a:prstGeom prst="rect">
            <a:avLst/>
          </a:prstGeom>
        </p:spPr>
        <p:txBody>
          <a:bodyPr wrap="square">
            <a:spAutoFit/>
          </a:bodyPr>
          <a:lstStyle/>
          <a:p>
            <a:r>
              <a:rPr lang="pt-BR" sz="2000" dirty="0" smtClean="0">
                <a:solidFill>
                  <a:srgbClr val="003366"/>
                </a:solidFill>
              </a:rPr>
              <a:t>O </a:t>
            </a:r>
            <a:r>
              <a:rPr lang="pt-BR" sz="2000" dirty="0">
                <a:solidFill>
                  <a:srgbClr val="003366"/>
                </a:solidFill>
              </a:rPr>
              <a:t>ICC </a:t>
            </a:r>
            <a:r>
              <a:rPr lang="pt-BR" sz="2000" dirty="0" smtClean="0">
                <a:solidFill>
                  <a:srgbClr val="003366"/>
                </a:solidFill>
              </a:rPr>
              <a:t>seria um indicador mais próximo do </a:t>
            </a:r>
            <a:r>
              <a:rPr lang="pt-BR" sz="2000" dirty="0">
                <a:solidFill>
                  <a:srgbClr val="003366"/>
                </a:solidFill>
              </a:rPr>
              <a:t>custo de crédito no </a:t>
            </a:r>
            <a:r>
              <a:rPr lang="pt-BR" sz="2000" dirty="0" smtClean="0">
                <a:solidFill>
                  <a:srgbClr val="003366"/>
                </a:solidFill>
              </a:rPr>
              <a:t>Brasil do que as taxas de juros divulgadas usualmente pelo Bacen;</a:t>
            </a:r>
            <a:endParaRPr lang="pt-BR" sz="2000" dirty="0">
              <a:solidFill>
                <a:srgbClr val="003366"/>
              </a:solidFill>
            </a:endParaRPr>
          </a:p>
        </p:txBody>
      </p:sp>
      <p:sp>
        <p:nvSpPr>
          <p:cNvPr id="7" name="Espaço Reservado para Número de Slide 4"/>
          <p:cNvSpPr txBox="1">
            <a:spLocks/>
          </p:cNvSpPr>
          <p:nvPr/>
        </p:nvSpPr>
        <p:spPr>
          <a:xfrm>
            <a:off x="8072284" y="6356352"/>
            <a:ext cx="614516" cy="365125"/>
          </a:xfrm>
          <a:prstGeom prst="rect">
            <a:avLst/>
          </a:prstGeom>
        </p:spPr>
        <p:txBody>
          <a:bodyPr vert="horz" lIns="91440" tIns="45720" rIns="91440" bIns="45720" rtlCol="0" anchor="ctr"/>
          <a:lstStyle>
            <a:defPPr>
              <a:defRPr lang="pt-BR"/>
            </a:defPPr>
            <a:lvl1pPr algn="r">
              <a:defRPr sz="1200">
                <a:solidFill>
                  <a:prstClr val="black">
                    <a:tint val="75000"/>
                  </a:prstClr>
                </a:solidFill>
              </a:defRPr>
            </a:lvl1pPr>
          </a:lstStyle>
          <a:p>
            <a:r>
              <a:rPr lang="pt-BR" dirty="0" smtClean="0"/>
              <a:t>14</a:t>
            </a:r>
            <a:endParaRPr lang="pt-BR" b="0" dirty="0"/>
          </a:p>
        </p:txBody>
      </p:sp>
      <p:sp>
        <p:nvSpPr>
          <p:cNvPr id="9" name="Text Box 17"/>
          <p:cNvSpPr txBox="1">
            <a:spLocks noChangeArrowheads="1"/>
          </p:cNvSpPr>
          <p:nvPr/>
        </p:nvSpPr>
        <p:spPr bwMode="auto">
          <a:xfrm>
            <a:off x="228600" y="2232040"/>
            <a:ext cx="91440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lstStyle>
            <a:lvl1pPr indent="14288" defTabSz="912813">
              <a:defRPr sz="3000" b="1">
                <a:solidFill>
                  <a:schemeClr val="tx1"/>
                </a:solidFill>
                <a:latin typeface="Arial" charset="0"/>
              </a:defRPr>
            </a:lvl1pPr>
            <a:lvl2pPr marL="742950" indent="-285750" defTabSz="912813">
              <a:defRPr sz="3000" b="1">
                <a:solidFill>
                  <a:schemeClr val="tx1"/>
                </a:solidFill>
                <a:latin typeface="Arial" charset="0"/>
              </a:defRPr>
            </a:lvl2pPr>
            <a:lvl3pPr marL="1143000" indent="-228600" defTabSz="912813">
              <a:defRPr sz="3000" b="1">
                <a:solidFill>
                  <a:schemeClr val="tx1"/>
                </a:solidFill>
                <a:latin typeface="Arial" charset="0"/>
              </a:defRPr>
            </a:lvl3pPr>
            <a:lvl4pPr marL="1600200" indent="-228600" defTabSz="912813">
              <a:defRPr sz="3000" b="1">
                <a:solidFill>
                  <a:schemeClr val="tx1"/>
                </a:solidFill>
                <a:latin typeface="Arial" charset="0"/>
              </a:defRPr>
            </a:lvl4pPr>
            <a:lvl5pPr marL="2057400" indent="-228600" defTabSz="912813">
              <a:defRPr sz="3000" b="1">
                <a:solidFill>
                  <a:schemeClr val="tx1"/>
                </a:solidFill>
                <a:latin typeface="Arial" charset="0"/>
              </a:defRPr>
            </a:lvl5pPr>
            <a:lvl6pPr marL="2514600" indent="-228600" defTabSz="912813" eaLnBrk="0" fontAlgn="base" hangingPunct="0">
              <a:spcBef>
                <a:spcPct val="0"/>
              </a:spcBef>
              <a:spcAft>
                <a:spcPct val="0"/>
              </a:spcAft>
              <a:defRPr sz="3000" b="1">
                <a:solidFill>
                  <a:schemeClr val="tx1"/>
                </a:solidFill>
                <a:latin typeface="Arial" charset="0"/>
              </a:defRPr>
            </a:lvl6pPr>
            <a:lvl7pPr marL="2971800" indent="-228600" defTabSz="912813" eaLnBrk="0" fontAlgn="base" hangingPunct="0">
              <a:spcBef>
                <a:spcPct val="0"/>
              </a:spcBef>
              <a:spcAft>
                <a:spcPct val="0"/>
              </a:spcAft>
              <a:defRPr sz="3000" b="1">
                <a:solidFill>
                  <a:schemeClr val="tx1"/>
                </a:solidFill>
                <a:latin typeface="Arial" charset="0"/>
              </a:defRPr>
            </a:lvl7pPr>
            <a:lvl8pPr marL="3429000" indent="-228600" defTabSz="912813" eaLnBrk="0" fontAlgn="base" hangingPunct="0">
              <a:spcBef>
                <a:spcPct val="0"/>
              </a:spcBef>
              <a:spcAft>
                <a:spcPct val="0"/>
              </a:spcAft>
              <a:defRPr sz="3000" b="1">
                <a:solidFill>
                  <a:schemeClr val="tx1"/>
                </a:solidFill>
                <a:latin typeface="Arial" charset="0"/>
              </a:defRPr>
            </a:lvl8pPr>
            <a:lvl9pPr marL="3886200" indent="-228600" defTabSz="912813" eaLnBrk="0" fontAlgn="base" hangingPunct="0">
              <a:spcBef>
                <a:spcPct val="0"/>
              </a:spcBef>
              <a:spcAft>
                <a:spcPct val="0"/>
              </a:spcAft>
              <a:defRPr sz="3000" b="1">
                <a:solidFill>
                  <a:schemeClr val="tx1"/>
                </a:solidFill>
                <a:latin typeface="Arial" charset="0"/>
              </a:defRPr>
            </a:lvl9pPr>
          </a:lstStyle>
          <a:p>
            <a:pPr>
              <a:spcBef>
                <a:spcPct val="50000"/>
              </a:spcBef>
            </a:pPr>
            <a:r>
              <a:rPr lang="pt-BR" altLang="pt-BR" sz="1500" dirty="0">
                <a:solidFill>
                  <a:srgbClr val="003366"/>
                </a:solidFill>
              </a:rPr>
              <a:t>Evolução do Spread Bancário </a:t>
            </a:r>
            <a:r>
              <a:rPr lang="pt-BR" altLang="pt-BR" sz="1500" dirty="0" smtClean="0">
                <a:solidFill>
                  <a:srgbClr val="003366"/>
                </a:solidFill>
              </a:rPr>
              <a:t>x Spread ICC (%</a:t>
            </a:r>
            <a:r>
              <a:rPr lang="pt-BR" altLang="pt-BR" sz="1500" dirty="0">
                <a:solidFill>
                  <a:srgbClr val="003366"/>
                </a:solidFill>
              </a:rPr>
              <a:t>a.a.)	</a:t>
            </a:r>
            <a:r>
              <a:rPr lang="pt-BR" altLang="pt-BR" sz="1500" dirty="0" smtClean="0">
                <a:solidFill>
                  <a:srgbClr val="003366"/>
                </a:solidFill>
              </a:rPr>
              <a:t>	</a:t>
            </a:r>
            <a:endParaRPr lang="pt-BR" altLang="pt-BR" sz="1500" baseline="30000" dirty="0">
              <a:solidFill>
                <a:srgbClr val="003366"/>
              </a:solidFill>
            </a:endParaRPr>
          </a:p>
        </p:txBody>
      </p:sp>
      <p:graphicFrame>
        <p:nvGraphicFramePr>
          <p:cNvPr id="16" name="Gráfico 15"/>
          <p:cNvGraphicFramePr>
            <a:graphicFrameLocks/>
          </p:cNvGraphicFramePr>
          <p:nvPr>
            <p:extLst>
              <p:ext uri="{D42A27DB-BD31-4B8C-83A1-F6EECF244321}">
                <p14:modId xmlns:p14="http://schemas.microsoft.com/office/powerpoint/2010/main" val="1021454683"/>
              </p:ext>
            </p:extLst>
          </p:nvPr>
        </p:nvGraphicFramePr>
        <p:xfrm>
          <a:off x="167408" y="2803527"/>
          <a:ext cx="7376392" cy="35528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136712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7419"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192" y="858442"/>
                        <a:ext cx="1190" cy="1190"/>
                      </a:xfrm>
                      <a:prstGeom prst="rect">
                        <a:avLst/>
                      </a:prstGeom>
                    </p:spPr>
                  </p:pic>
                </p:oleObj>
              </mc:Fallback>
            </mc:AlternateContent>
          </a:graphicData>
        </a:graphic>
      </p:graphicFrame>
      <p:sp>
        <p:nvSpPr>
          <p:cNvPr id="7" name="Rectangle 6" hidden="1"/>
          <p:cNvSpPr/>
          <p:nvPr>
            <p:custDataLst>
              <p:tags r:id="rId3"/>
            </p:custDataLst>
          </p:nvPr>
        </p:nvSpPr>
        <p:spPr bwMode="auto">
          <a:xfrm>
            <a:off x="0" y="85725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pt-BR" sz="900" dirty="0">
              <a:sym typeface="+mn-lt"/>
            </a:endParaRPr>
          </a:p>
        </p:txBody>
      </p:sp>
      <p:sp>
        <p:nvSpPr>
          <p:cNvPr id="21" name="Text Placeholder 2"/>
          <p:cNvSpPr>
            <a:spLocks noGrp="1"/>
          </p:cNvSpPr>
          <p:nvPr>
            <p:ph type="body" sz="quarter" idx="10"/>
          </p:nvPr>
        </p:nvSpPr>
        <p:spPr>
          <a:xfrm>
            <a:off x="349033" y="1951931"/>
            <a:ext cx="4153766" cy="300083"/>
          </a:xfrm>
        </p:spPr>
        <p:txBody>
          <a:bodyPr>
            <a:normAutofit fontScale="85000" lnSpcReduction="20000"/>
          </a:bodyPr>
          <a:lstStyle/>
          <a:p>
            <a:r>
              <a:rPr lang="pt-BR" b="1" dirty="0"/>
              <a:t>ROE</a:t>
            </a:r>
            <a:r>
              <a:rPr lang="pt-BR" b="1" baseline="30000" dirty="0"/>
              <a:t>1</a:t>
            </a:r>
            <a:r>
              <a:rPr lang="pt-BR" b="1" dirty="0"/>
              <a:t> (Lucro Liquido / PL Médio)</a:t>
            </a:r>
          </a:p>
          <a:p>
            <a:r>
              <a:rPr lang="pt-BR" sz="900" dirty="0"/>
              <a:t>% a.a. Dados de 2016 dos 5 maiores bancos comerciais</a:t>
            </a:r>
          </a:p>
        </p:txBody>
      </p:sp>
      <p:sp>
        <p:nvSpPr>
          <p:cNvPr id="85" name="TextBox 84"/>
          <p:cNvSpPr txBox="1"/>
          <p:nvPr/>
        </p:nvSpPr>
        <p:spPr>
          <a:xfrm>
            <a:off x="349033" y="5563281"/>
            <a:ext cx="4296135" cy="348942"/>
          </a:xfrm>
          <a:prstGeom prst="rect">
            <a:avLst/>
          </a:prstGeom>
          <a:noFill/>
        </p:spPr>
        <p:txBody>
          <a:bodyPr wrap="square" lIns="0" tIns="0" rIns="0" bIns="0" rtlCol="0">
            <a:spAutoFit/>
          </a:bodyPr>
          <a:lstStyle/>
          <a:p>
            <a:pPr defTabSz="641802">
              <a:lnSpc>
                <a:spcPct val="120000"/>
              </a:lnSpc>
            </a:pPr>
            <a:endParaRPr lang="pt-BR" sz="630" spc="-15" dirty="0">
              <a:solidFill>
                <a:schemeClr val="tx1">
                  <a:lumMod val="65000"/>
                  <a:lumOff val="35000"/>
                </a:schemeClr>
              </a:solidFill>
              <a:latin typeface="Arial" panose="020B0604020202020204" pitchFamily="34" charset="0"/>
              <a:ea typeface="Roboto Light" panose="02000000000000000000" pitchFamily="2" charset="0"/>
              <a:cs typeface="Arial" pitchFamily="34" charset="0"/>
            </a:endParaRPr>
          </a:p>
          <a:p>
            <a:pPr defTabSz="641802">
              <a:lnSpc>
                <a:spcPct val="120000"/>
              </a:lnSpc>
            </a:pPr>
            <a:r>
              <a:rPr lang="pt-BR" sz="630" spc="-15" dirty="0">
                <a:solidFill>
                  <a:schemeClr val="tx1">
                    <a:lumMod val="65000"/>
                    <a:lumOff val="35000"/>
                  </a:schemeClr>
                </a:solidFill>
                <a:latin typeface="Arial" panose="020B0604020202020204" pitchFamily="34" charset="0"/>
                <a:ea typeface="Roboto Light" panose="02000000000000000000" pitchFamily="2" charset="0"/>
                <a:cs typeface="Arial" pitchFamily="34" charset="0"/>
              </a:rPr>
              <a:t>1) ROE excluindo itens não recorrentes</a:t>
            </a:r>
          </a:p>
          <a:p>
            <a:pPr defTabSz="641802">
              <a:lnSpc>
                <a:spcPct val="120000"/>
              </a:lnSpc>
            </a:pPr>
            <a:r>
              <a:rPr lang="pt-BR" sz="630" spc="-15" dirty="0">
                <a:solidFill>
                  <a:schemeClr val="tx1">
                    <a:lumMod val="65000"/>
                    <a:lumOff val="35000"/>
                  </a:schemeClr>
                </a:solidFill>
                <a:latin typeface="Arial" panose="020B0604020202020204" pitchFamily="34" charset="0"/>
                <a:ea typeface="Roboto Light" panose="02000000000000000000" pitchFamily="2" charset="0"/>
                <a:cs typeface="Arial" pitchFamily="34" charset="0"/>
              </a:rPr>
              <a:t>Fonte: S&amp;P Capital IQ, IMF, Demonstrativos Financeiros dos Bancos. Análise Accenture</a:t>
            </a:r>
          </a:p>
        </p:txBody>
      </p:sp>
      <p:sp>
        <p:nvSpPr>
          <p:cNvPr id="50" name="Text Placeholder 2"/>
          <p:cNvSpPr txBox="1">
            <a:spLocks/>
          </p:cNvSpPr>
          <p:nvPr/>
        </p:nvSpPr>
        <p:spPr bwMode="auto">
          <a:xfrm>
            <a:off x="4657726" y="1954931"/>
            <a:ext cx="4153766" cy="300082"/>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lvl1pPr marL="0" indent="0" algn="l" rtl="0" eaLnBrk="1" fontAlgn="base" hangingPunct="1">
              <a:spcBef>
                <a:spcPts val="0"/>
              </a:spcBef>
              <a:spcAft>
                <a:spcPct val="0"/>
              </a:spcAft>
              <a:buNone/>
              <a:defRPr lang="pt-BR" sz="1400" dirty="0" smtClean="0">
                <a:solidFill>
                  <a:srgbClr val="2F539C"/>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r>
              <a:rPr lang="pt-BR" sz="1050" b="1" kern="0" dirty="0"/>
              <a:t>Retorno Adicional (ROE</a:t>
            </a:r>
            <a:r>
              <a:rPr lang="pt-BR" sz="1050" b="1" kern="0" baseline="30000" dirty="0"/>
              <a:t>1</a:t>
            </a:r>
            <a:r>
              <a:rPr lang="pt-BR" sz="1050" b="1" kern="0" dirty="0"/>
              <a:t> – Taxa Básica </a:t>
            </a:r>
            <a:r>
              <a:rPr lang="pt-BR" sz="1050" b="1" kern="0" dirty="0" smtClean="0"/>
              <a:t>de Juros pós </a:t>
            </a:r>
            <a:r>
              <a:rPr lang="pt-BR" sz="1050" b="1" kern="0" dirty="0"/>
              <a:t>impostos)</a:t>
            </a:r>
          </a:p>
          <a:p>
            <a:r>
              <a:rPr lang="pt-BR" sz="900" kern="0" dirty="0"/>
              <a:t>% a.a. Dados de 2016 dos 5 maiores bancos comerciais</a:t>
            </a:r>
          </a:p>
        </p:txBody>
      </p:sp>
      <p:sp>
        <p:nvSpPr>
          <p:cNvPr id="5" name="Rounded Rectangle 4"/>
          <p:cNvSpPr/>
          <p:nvPr/>
        </p:nvSpPr>
        <p:spPr>
          <a:xfrm>
            <a:off x="347998" y="3277754"/>
            <a:ext cx="3299208" cy="217958"/>
          </a:xfrm>
          <a:prstGeom prst="roundRect">
            <a:avLst>
              <a:gd name="adj" fmla="val 10961"/>
            </a:avLst>
          </a:prstGeom>
          <a:solidFill>
            <a:schemeClr val="bg1"/>
          </a:solidFill>
          <a:ln w="12700">
            <a:solidFill>
              <a:srgbClr val="00B0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54000" bIns="0" rtlCol="0" anchor="ctr"/>
          <a:lstStyle/>
          <a:p>
            <a:pPr algn="r"/>
            <a:r>
              <a:rPr lang="pt-BR" sz="1200" b="1" dirty="0">
                <a:solidFill>
                  <a:srgbClr val="00B0F0"/>
                </a:solidFill>
              </a:rPr>
              <a:t>5</a:t>
            </a:r>
            <a:r>
              <a:rPr lang="pt-BR" sz="1200" b="1" baseline="30000" dirty="0">
                <a:solidFill>
                  <a:srgbClr val="00B0F0"/>
                </a:solidFill>
              </a:rPr>
              <a:t>0</a:t>
            </a:r>
          </a:p>
        </p:txBody>
      </p:sp>
      <p:sp>
        <p:nvSpPr>
          <p:cNvPr id="10" name="Rectangle 9"/>
          <p:cNvSpPr/>
          <p:nvPr/>
        </p:nvSpPr>
        <p:spPr>
          <a:xfrm rot="19184254">
            <a:off x="8172620" y="4379964"/>
            <a:ext cx="340053" cy="165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cxnSp>
        <p:nvCxnSpPr>
          <p:cNvPr id="6" name="Connector: Elbow 5"/>
          <p:cNvCxnSpPr>
            <a:stCxn id="5" idx="3"/>
            <a:endCxn id="22" idx="1"/>
          </p:cNvCxnSpPr>
          <p:nvPr/>
        </p:nvCxnSpPr>
        <p:spPr>
          <a:xfrm>
            <a:off x="3647206" y="3386733"/>
            <a:ext cx="384077" cy="9332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20" name="Object 19"/>
          <p:cNvGraphicFramePr>
            <a:graphicFrameLocks/>
          </p:cNvGraphicFramePr>
          <p:nvPr>
            <p:custDataLst>
              <p:tags r:id="rId4"/>
            </p:custDataLst>
            <p:extLst/>
          </p:nvPr>
        </p:nvGraphicFramePr>
        <p:xfrm>
          <a:off x="828675" y="2200275"/>
          <a:ext cx="2643084" cy="3278873"/>
        </p:xfrm>
        <a:graphic>
          <a:graphicData uri="http://schemas.openxmlformats.org/presentationml/2006/ole">
            <mc:AlternateContent xmlns:mc="http://schemas.openxmlformats.org/markup-compatibility/2006">
              <mc:Choice xmlns:v="urn:schemas-microsoft-com:vml" Requires="v">
                <p:oleObj spid="_x0000_s7420" name="Chart" r:id="rId36" imgW="3524137" imgH="4372142" progId="MSGraph.Chart.8">
                  <p:embed followColorScheme="full"/>
                </p:oleObj>
              </mc:Choice>
              <mc:Fallback>
                <p:oleObj name="Chart" r:id="rId36" imgW="3524137" imgH="4372142" progId="MSGraph.Chart.8">
                  <p:embed followColorScheme="full"/>
                  <p:pic>
                    <p:nvPicPr>
                      <p:cNvPr id="0" name=""/>
                      <p:cNvPicPr/>
                      <p:nvPr/>
                    </p:nvPicPr>
                    <p:blipFill>
                      <a:blip r:embed="rId37"/>
                      <a:stretch>
                        <a:fillRect/>
                      </a:stretch>
                    </p:blipFill>
                    <p:spPr>
                      <a:xfrm>
                        <a:off x="828675" y="2200275"/>
                        <a:ext cx="2643084" cy="3278873"/>
                      </a:xfrm>
                      <a:prstGeom prst="rect">
                        <a:avLst/>
                      </a:prstGeom>
                    </p:spPr>
                  </p:pic>
                </p:oleObj>
              </mc:Fallback>
            </mc:AlternateContent>
          </a:graphicData>
        </a:graphic>
      </p:graphicFrame>
      <p:sp>
        <p:nvSpPr>
          <p:cNvPr id="32" name="Rectangle 31"/>
          <p:cNvSpPr>
            <a:spLocks noGrp="1" noChangeArrowheads="1"/>
          </p:cNvSpPr>
          <p:nvPr>
            <p:custDataLst>
              <p:tags r:id="rId5"/>
            </p:custDataLst>
          </p:nvPr>
        </p:nvSpPr>
        <p:spPr bwMode="auto">
          <a:xfrm>
            <a:off x="553641" y="3782617"/>
            <a:ext cx="34766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FF1C26D3-0146-433B-9B1C-590CAC88EE31}" type="datetime'''''''''''''R''''''ú''''s''''s''i''''''''a'''''''''''''''">
              <a:rPr lang="pt-BR" altLang="en-US" sz="900"/>
              <a:pPr marL="0" indent="0" algn="r">
                <a:spcBef>
                  <a:spcPct val="0"/>
                </a:spcBef>
                <a:buNone/>
              </a:pPr>
              <a:t>Rússia</a:t>
            </a:fld>
            <a:endParaRPr lang="pt-BR" sz="900" dirty="0">
              <a:sym typeface="+mn-lt"/>
            </a:endParaRPr>
          </a:p>
        </p:txBody>
      </p:sp>
      <p:sp>
        <p:nvSpPr>
          <p:cNvPr id="29" name="Rectangle 28"/>
          <p:cNvSpPr>
            <a:spLocks noGrp="1" noChangeArrowheads="1"/>
          </p:cNvSpPr>
          <p:nvPr>
            <p:custDataLst>
              <p:tags r:id="rId6"/>
            </p:custDataLst>
          </p:nvPr>
        </p:nvSpPr>
        <p:spPr bwMode="auto">
          <a:xfrm>
            <a:off x="426244" y="4475560"/>
            <a:ext cx="4750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6C007BA1-5AF6-45FC-AC4A-F1A1B2D1AC88}" type="datetime'''''''''''''''''Co''''''r''''''''''é''i''''''a'''''''' ''''S.'">
              <a:rPr lang="pt-BR" altLang="en-US" sz="900"/>
              <a:pPr marL="0" indent="0" algn="r">
                <a:spcBef>
                  <a:spcPct val="0"/>
                </a:spcBef>
                <a:buNone/>
              </a:pPr>
              <a:t>Coréia S.</a:t>
            </a:fld>
            <a:endParaRPr lang="pt-BR" sz="900" dirty="0">
              <a:sym typeface="+mn-lt"/>
            </a:endParaRPr>
          </a:p>
        </p:txBody>
      </p:sp>
      <p:sp>
        <p:nvSpPr>
          <p:cNvPr id="37" name="Rectangle 36"/>
          <p:cNvSpPr>
            <a:spLocks noGrp="1" noChangeArrowheads="1"/>
          </p:cNvSpPr>
          <p:nvPr>
            <p:custDataLst>
              <p:tags r:id="rId7"/>
            </p:custDataLst>
          </p:nvPr>
        </p:nvSpPr>
        <p:spPr bwMode="auto">
          <a:xfrm>
            <a:off x="389335" y="4936332"/>
            <a:ext cx="511969"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2B721EE2-2CFF-4043-ABB2-8579C2CC3EFD}" type="datetime'''''''Al''''e''''''''''''''''''''''''''m''''''''''''anh''a'''">
              <a:rPr lang="pt-BR" altLang="en-US" sz="900"/>
              <a:pPr marL="0" indent="0" algn="r">
                <a:spcBef>
                  <a:spcPct val="0"/>
                </a:spcBef>
                <a:buNone/>
              </a:pPr>
              <a:t>Alemanha</a:t>
            </a:fld>
            <a:endParaRPr lang="pt-BR" sz="900" dirty="0">
              <a:sym typeface="+mn-lt"/>
            </a:endParaRPr>
          </a:p>
        </p:txBody>
      </p:sp>
      <p:sp>
        <p:nvSpPr>
          <p:cNvPr id="33" name="Rectangle 32"/>
          <p:cNvSpPr>
            <a:spLocks noGrp="1" noChangeArrowheads="1"/>
          </p:cNvSpPr>
          <p:nvPr>
            <p:custDataLst>
              <p:tags r:id="rId8"/>
            </p:custDataLst>
          </p:nvPr>
        </p:nvSpPr>
        <p:spPr bwMode="auto">
          <a:xfrm>
            <a:off x="421482" y="2396729"/>
            <a:ext cx="479822"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052F54E1-5C96-41BB-AA42-FC4D6BE9F1B9}" type="datetime'C''''''''''''''''''''''''''''''o''''''''lôm''''''''bia'''''">
              <a:rPr lang="pt-BR" altLang="en-US" sz="900"/>
              <a:pPr marL="0" indent="0" algn="r">
                <a:spcBef>
                  <a:spcPct val="0"/>
                </a:spcBef>
                <a:buNone/>
              </a:pPr>
              <a:t>Colômbia</a:t>
            </a:fld>
            <a:endParaRPr lang="pt-BR" sz="900" dirty="0">
              <a:sym typeface="+mn-lt"/>
            </a:endParaRPr>
          </a:p>
        </p:txBody>
      </p:sp>
      <p:sp>
        <p:nvSpPr>
          <p:cNvPr id="36" name="Rectangle 35"/>
          <p:cNvSpPr>
            <a:spLocks noGrp="1" noChangeArrowheads="1"/>
          </p:cNvSpPr>
          <p:nvPr>
            <p:custDataLst>
              <p:tags r:id="rId9"/>
            </p:custDataLst>
          </p:nvPr>
        </p:nvSpPr>
        <p:spPr bwMode="auto">
          <a:xfrm>
            <a:off x="642938" y="2628901"/>
            <a:ext cx="258366"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1CEBAECD-5C2E-4C86-A061-988807F7D574}" type="datetime'''''''C''hi''''''''''''''''''l''''''''''''e'''''''''''''''">
              <a:rPr lang="pt-BR" altLang="en-US" sz="900"/>
              <a:pPr marL="0" indent="0" algn="r">
                <a:spcBef>
                  <a:spcPct val="0"/>
                </a:spcBef>
                <a:buNone/>
              </a:pPr>
              <a:t>Chile</a:t>
            </a:fld>
            <a:endParaRPr lang="pt-BR" sz="900" dirty="0">
              <a:sym typeface="+mn-lt"/>
            </a:endParaRPr>
          </a:p>
        </p:txBody>
      </p:sp>
      <p:sp>
        <p:nvSpPr>
          <p:cNvPr id="41" name="Rectangle 40"/>
          <p:cNvSpPr>
            <a:spLocks noGrp="1" noChangeArrowheads="1"/>
          </p:cNvSpPr>
          <p:nvPr>
            <p:custDataLst>
              <p:tags r:id="rId10"/>
            </p:custDataLst>
          </p:nvPr>
        </p:nvSpPr>
        <p:spPr bwMode="auto">
          <a:xfrm>
            <a:off x="540544" y="3554017"/>
            <a:ext cx="3607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D45B5E42-ABBE-463A-8D16-1F0734365E3B}" type="datetime'''''Méxi''''''''c''''''''''''''''''''''''''''''''o'''''''">
              <a:rPr lang="pt-BR" altLang="en-US" sz="900"/>
              <a:pPr marL="0" indent="0" algn="r">
                <a:spcBef>
                  <a:spcPct val="0"/>
                </a:spcBef>
                <a:buNone/>
              </a:pPr>
              <a:t>México</a:t>
            </a:fld>
            <a:endParaRPr lang="pt-BR" sz="900" dirty="0">
              <a:sym typeface="+mn-lt"/>
            </a:endParaRPr>
          </a:p>
        </p:txBody>
      </p:sp>
      <p:sp>
        <p:nvSpPr>
          <p:cNvPr id="31" name="Rectangle 30"/>
          <p:cNvSpPr>
            <a:spLocks noGrp="1" noChangeArrowheads="1"/>
          </p:cNvSpPr>
          <p:nvPr>
            <p:custDataLst>
              <p:tags r:id="rId11"/>
            </p:custDataLst>
          </p:nvPr>
        </p:nvSpPr>
        <p:spPr bwMode="auto">
          <a:xfrm>
            <a:off x="742950" y="5168504"/>
            <a:ext cx="1583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3FA25770-950E-4874-B00E-A2B2DA76171C}" type="datetime'''''''''''''''''''''''''''U''''''''''''''''K'''''''''''''''">
              <a:rPr lang="pt-BR" altLang="en-US" sz="900"/>
              <a:pPr marL="0" indent="0" algn="r">
                <a:spcBef>
                  <a:spcPct val="0"/>
                </a:spcBef>
                <a:buNone/>
              </a:pPr>
              <a:t>UK</a:t>
            </a:fld>
            <a:endParaRPr lang="pt-BR" sz="900" dirty="0">
              <a:sym typeface="+mn-lt"/>
            </a:endParaRPr>
          </a:p>
        </p:txBody>
      </p:sp>
      <p:sp>
        <p:nvSpPr>
          <p:cNvPr id="30" name="Rectangle 29"/>
          <p:cNvSpPr>
            <a:spLocks noGrp="1" noChangeArrowheads="1"/>
          </p:cNvSpPr>
          <p:nvPr>
            <p:custDataLst>
              <p:tags r:id="rId12"/>
            </p:custDataLst>
          </p:nvPr>
        </p:nvSpPr>
        <p:spPr bwMode="auto">
          <a:xfrm>
            <a:off x="520304" y="3089673"/>
            <a:ext cx="38100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68435C41-D2FE-4778-B6DB-C1047CA43377}" type="datetime'Tu''''r''''''''''''q''''''''''''u''i''''''''''''''a'''''''''">
              <a:rPr lang="pt-BR" altLang="en-US" sz="900"/>
              <a:pPr marL="0" indent="0" algn="r">
                <a:spcBef>
                  <a:spcPct val="0"/>
                </a:spcBef>
                <a:buNone/>
              </a:pPr>
              <a:t>Turquia</a:t>
            </a:fld>
            <a:endParaRPr lang="pt-BR" sz="900" dirty="0">
              <a:sym typeface="+mn-lt"/>
            </a:endParaRPr>
          </a:p>
        </p:txBody>
      </p:sp>
      <p:sp>
        <p:nvSpPr>
          <p:cNvPr id="40" name="Rectangle 39"/>
          <p:cNvSpPr>
            <a:spLocks noGrp="1" noChangeArrowheads="1"/>
          </p:cNvSpPr>
          <p:nvPr>
            <p:custDataLst>
              <p:tags r:id="rId13"/>
            </p:custDataLst>
          </p:nvPr>
        </p:nvSpPr>
        <p:spPr bwMode="auto">
          <a:xfrm>
            <a:off x="654844" y="4704160"/>
            <a:ext cx="2464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CDCC7ED3-153C-4EF7-BBC0-B99D65BB9789}" type="datetime'''''''Í''''''''n''''''''''''''''''''''''''''''d''''''i''''a'">
              <a:rPr lang="pt-BR" altLang="en-US" sz="900"/>
              <a:pPr marL="0" indent="0" algn="r">
                <a:spcBef>
                  <a:spcPct val="0"/>
                </a:spcBef>
                <a:buNone/>
              </a:pPr>
              <a:t>Índia</a:t>
            </a:fld>
            <a:endParaRPr lang="pt-BR" sz="900" dirty="0">
              <a:sym typeface="+mn-lt"/>
            </a:endParaRPr>
          </a:p>
        </p:txBody>
      </p:sp>
      <p:sp>
        <p:nvSpPr>
          <p:cNvPr id="34" name="Rectangle 33"/>
          <p:cNvSpPr>
            <a:spLocks noGrp="1" noChangeArrowheads="1"/>
          </p:cNvSpPr>
          <p:nvPr>
            <p:custDataLst>
              <p:tags r:id="rId14"/>
            </p:custDataLst>
          </p:nvPr>
        </p:nvSpPr>
        <p:spPr bwMode="auto">
          <a:xfrm>
            <a:off x="666750" y="4243388"/>
            <a:ext cx="2345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9843E123-2B52-4664-BC41-658F3A33243B}" type="datetime'''''''''''''''E''''''''''''''''''''''''U''''''A'''''''''''">
              <a:rPr lang="pt-BR" altLang="en-US" sz="900"/>
              <a:pPr marL="0" indent="0" algn="r">
                <a:spcBef>
                  <a:spcPct val="0"/>
                </a:spcBef>
                <a:buNone/>
              </a:pPr>
              <a:t>EUA</a:t>
            </a:fld>
            <a:endParaRPr lang="pt-BR" sz="900" dirty="0">
              <a:sym typeface="+mn-lt"/>
            </a:endParaRPr>
          </a:p>
        </p:txBody>
      </p:sp>
      <p:sp>
        <p:nvSpPr>
          <p:cNvPr id="39" name="Rectangle 38"/>
          <p:cNvSpPr>
            <a:spLocks noGrp="1" noChangeArrowheads="1"/>
          </p:cNvSpPr>
          <p:nvPr>
            <p:custDataLst>
              <p:tags r:id="rId15"/>
            </p:custDataLst>
          </p:nvPr>
        </p:nvSpPr>
        <p:spPr bwMode="auto">
          <a:xfrm>
            <a:off x="469107" y="2861073"/>
            <a:ext cx="432197"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DB37CE2A-77D4-4312-BECE-52EC87D8C529}" type="datetime'''Á''''''''''''''''''''''f''r''''''i''''ca'''''''''' ''''S''.'">
              <a:rPr lang="pt-BR" altLang="en-US" sz="900"/>
              <a:pPr marL="0" indent="0" algn="r">
                <a:spcBef>
                  <a:spcPct val="0"/>
                </a:spcBef>
                <a:buNone/>
              </a:pPr>
              <a:t>África S.</a:t>
            </a:fld>
            <a:endParaRPr lang="pt-BR" sz="900" dirty="0">
              <a:sym typeface="+mn-lt"/>
            </a:endParaRPr>
          </a:p>
        </p:txBody>
      </p:sp>
      <p:sp>
        <p:nvSpPr>
          <p:cNvPr id="38" name="Rectangle 37"/>
          <p:cNvSpPr>
            <a:spLocks noGrp="1" noChangeArrowheads="1"/>
          </p:cNvSpPr>
          <p:nvPr>
            <p:custDataLst>
              <p:tags r:id="rId16"/>
            </p:custDataLst>
          </p:nvPr>
        </p:nvSpPr>
        <p:spPr bwMode="auto">
          <a:xfrm>
            <a:off x="458391" y="4011217"/>
            <a:ext cx="44291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5A827C99-8094-4187-ADA1-C8E5BD5C355F}" type="datetime'''''''''''Au''''''s''''''t''''''r''''''á''''''li''''''a'''''">
              <a:rPr lang="pt-BR" altLang="en-US" sz="900">
                <a:solidFill>
                  <a:schemeClr val="tx1"/>
                </a:solidFill>
              </a:rPr>
              <a:pPr marL="0" indent="0" algn="r">
                <a:spcBef>
                  <a:spcPct val="0"/>
                </a:spcBef>
                <a:buNone/>
              </a:pPr>
              <a:t>Austrália</a:t>
            </a:fld>
            <a:endParaRPr lang="pt-BR" sz="1050" dirty="0">
              <a:solidFill>
                <a:schemeClr val="tx1"/>
              </a:solidFill>
              <a:sym typeface="+mn-lt"/>
            </a:endParaRPr>
          </a:p>
        </p:txBody>
      </p:sp>
      <p:sp>
        <p:nvSpPr>
          <p:cNvPr id="35" name="Rectangle 34"/>
          <p:cNvSpPr>
            <a:spLocks noGrp="1" noChangeArrowheads="1"/>
          </p:cNvSpPr>
          <p:nvPr>
            <p:custDataLst>
              <p:tags r:id="rId17"/>
            </p:custDataLst>
          </p:nvPr>
        </p:nvSpPr>
        <p:spPr bwMode="auto">
          <a:xfrm>
            <a:off x="477441" y="3298032"/>
            <a:ext cx="423863" cy="183356"/>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2AB10D05-6FA4-4D3A-B202-632690218B9D}" type="datetime'''''''''''''B''''ra''''''s''''''''''il'''''''''''''''''''">
              <a:rPr lang="pt-BR" altLang="en-US" sz="1200" b="1">
                <a:solidFill>
                  <a:srgbClr val="00B0F0"/>
                </a:solidFill>
              </a:rPr>
              <a:pPr marL="0" indent="0" algn="r">
                <a:spcBef>
                  <a:spcPct val="0"/>
                </a:spcBef>
                <a:buNone/>
              </a:pPr>
              <a:t>Brasil</a:t>
            </a:fld>
            <a:endParaRPr lang="pt-BR" sz="1200" b="1" dirty="0">
              <a:solidFill>
                <a:srgbClr val="00B0F0"/>
              </a:solidFill>
              <a:sym typeface="+mn-lt"/>
            </a:endParaRPr>
          </a:p>
        </p:txBody>
      </p:sp>
      <p:grpSp>
        <p:nvGrpSpPr>
          <p:cNvPr id="95" name="Group 94"/>
          <p:cNvGrpSpPr/>
          <p:nvPr/>
        </p:nvGrpSpPr>
        <p:grpSpPr>
          <a:xfrm>
            <a:off x="7453757" y="4652440"/>
            <a:ext cx="108000" cy="395813"/>
            <a:chOff x="-488176" y="5878066"/>
            <a:chExt cx="144000" cy="527751"/>
          </a:xfrm>
        </p:grpSpPr>
        <p:sp>
          <p:nvSpPr>
            <p:cNvPr id="96" name="Rectangle 95"/>
            <p:cNvSpPr/>
            <p:nvPr/>
          </p:nvSpPr>
          <p:spPr bwMode="gray">
            <a:xfrm>
              <a:off x="-488176" y="6087941"/>
              <a:ext cx="144000" cy="108000"/>
            </a:xfrm>
            <a:prstGeom prst="rect">
              <a:avLst/>
            </a:prstGeom>
            <a:solidFill>
              <a:schemeClr val="accent1">
                <a:lumMod val="50000"/>
              </a:schemeClr>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a:spcAft>
                  <a:spcPts val="225"/>
                </a:spcAft>
              </a:pPr>
              <a:r>
                <a:rPr lang="pt-BR" sz="750" kern="0" dirty="0">
                  <a:latin typeface="Arial" pitchFamily="34" charset="0"/>
                  <a:cs typeface="Arial" pitchFamily="34" charset="0"/>
                </a:rPr>
                <a:t>Demais Países Emergentes</a:t>
              </a:r>
            </a:p>
          </p:txBody>
        </p:sp>
        <p:sp>
          <p:nvSpPr>
            <p:cNvPr id="97" name="Rectangle 96"/>
            <p:cNvSpPr/>
            <p:nvPr/>
          </p:nvSpPr>
          <p:spPr bwMode="gray">
            <a:xfrm>
              <a:off x="-488176" y="6297817"/>
              <a:ext cx="144000" cy="108000"/>
            </a:xfrm>
            <a:prstGeom prst="rect">
              <a:avLst/>
            </a:prstGeom>
            <a:solidFill>
              <a:schemeClr val="bg1">
                <a:lumMod val="65000"/>
              </a:schemeClr>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a:spcAft>
                  <a:spcPts val="225"/>
                </a:spcAft>
              </a:pPr>
              <a:r>
                <a:rPr lang="pt-BR" sz="750" kern="0" dirty="0">
                  <a:latin typeface="Arial" pitchFamily="34" charset="0"/>
                  <a:cs typeface="Arial" pitchFamily="34" charset="0"/>
                </a:rPr>
                <a:t> Países Desenvolvidos</a:t>
              </a:r>
            </a:p>
          </p:txBody>
        </p:sp>
        <p:sp>
          <p:nvSpPr>
            <p:cNvPr id="98" name="Rectangle 97"/>
            <p:cNvSpPr/>
            <p:nvPr/>
          </p:nvSpPr>
          <p:spPr bwMode="gray">
            <a:xfrm>
              <a:off x="-488176" y="5878066"/>
              <a:ext cx="144000" cy="108000"/>
            </a:xfrm>
            <a:prstGeom prst="rect">
              <a:avLst/>
            </a:prstGeom>
            <a:solidFill>
              <a:srgbClr val="00B0F0"/>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a:spcAft>
                  <a:spcPts val="225"/>
                </a:spcAft>
              </a:pPr>
              <a:r>
                <a:rPr lang="pt-BR" sz="750" kern="0" dirty="0">
                  <a:latin typeface="Arial" pitchFamily="34" charset="0"/>
                  <a:cs typeface="Arial" pitchFamily="34" charset="0"/>
                </a:rPr>
                <a:t>Brasil</a:t>
              </a:r>
            </a:p>
          </p:txBody>
        </p:sp>
      </p:grpSp>
      <p:graphicFrame>
        <p:nvGraphicFramePr>
          <p:cNvPr id="51" name="Object 50"/>
          <p:cNvGraphicFramePr>
            <a:graphicFrameLocks/>
          </p:cNvGraphicFramePr>
          <p:nvPr>
            <p:custDataLst>
              <p:tags r:id="rId18"/>
            </p:custDataLst>
            <p:extLst/>
          </p:nvPr>
        </p:nvGraphicFramePr>
        <p:xfrm>
          <a:off x="4886326" y="2200275"/>
          <a:ext cx="2928841" cy="3278873"/>
        </p:xfrm>
        <a:graphic>
          <a:graphicData uri="http://schemas.openxmlformats.org/presentationml/2006/ole">
            <mc:AlternateContent xmlns:mc="http://schemas.openxmlformats.org/markup-compatibility/2006">
              <mc:Choice xmlns:v="urn:schemas-microsoft-com:vml" Requires="v">
                <p:oleObj spid="_x0000_s7421" name="Chart" r:id="rId38" imgW="3905408" imgH="4372142" progId="MSGraph.Chart.8">
                  <p:embed followColorScheme="full"/>
                </p:oleObj>
              </mc:Choice>
              <mc:Fallback>
                <p:oleObj name="Chart" r:id="rId38" imgW="3905408" imgH="4372142" progId="MSGraph.Chart.8">
                  <p:embed followColorScheme="full"/>
                  <p:pic>
                    <p:nvPicPr>
                      <p:cNvPr id="0" name=""/>
                      <p:cNvPicPr/>
                      <p:nvPr/>
                    </p:nvPicPr>
                    <p:blipFill>
                      <a:blip r:embed="rId39"/>
                      <a:stretch>
                        <a:fillRect/>
                      </a:stretch>
                    </p:blipFill>
                    <p:spPr>
                      <a:xfrm>
                        <a:off x="4886326" y="2200275"/>
                        <a:ext cx="2928841" cy="3278873"/>
                      </a:xfrm>
                      <a:prstGeom prst="rect">
                        <a:avLst/>
                      </a:prstGeom>
                    </p:spPr>
                  </p:pic>
                </p:oleObj>
              </mc:Fallback>
            </mc:AlternateContent>
          </a:graphicData>
        </a:graphic>
      </p:graphicFrame>
      <p:sp>
        <p:nvSpPr>
          <p:cNvPr id="60" name="Rectangle 59"/>
          <p:cNvSpPr>
            <a:spLocks noGrp="1" noChangeArrowheads="1"/>
          </p:cNvSpPr>
          <p:nvPr>
            <p:custDataLst>
              <p:tags r:id="rId19"/>
            </p:custDataLst>
          </p:nvPr>
        </p:nvSpPr>
        <p:spPr bwMode="auto">
          <a:xfrm>
            <a:off x="4633913" y="5168504"/>
            <a:ext cx="2464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D9DD4DAC-DC85-4570-9E5B-C288C53A7092}" type="datetime'''''''''Í''''''n''''d''i''''''''a'''''''''''''''''''">
              <a:rPr lang="pt-BR" altLang="en-US" sz="900"/>
              <a:pPr marL="0" indent="0" algn="r">
                <a:spcBef>
                  <a:spcPct val="0"/>
                </a:spcBef>
                <a:buNone/>
              </a:pPr>
              <a:t>Índia</a:t>
            </a:fld>
            <a:endParaRPr lang="pt-BR" sz="900" dirty="0">
              <a:sym typeface="+mn-lt"/>
            </a:endParaRPr>
          </a:p>
        </p:txBody>
      </p:sp>
      <p:sp>
        <p:nvSpPr>
          <p:cNvPr id="58" name="Rectangle 57"/>
          <p:cNvSpPr>
            <a:spLocks noGrp="1" noChangeArrowheads="1"/>
          </p:cNvSpPr>
          <p:nvPr>
            <p:custDataLst>
              <p:tags r:id="rId20"/>
            </p:custDataLst>
          </p:nvPr>
        </p:nvSpPr>
        <p:spPr bwMode="auto">
          <a:xfrm>
            <a:off x="4722019" y="4936332"/>
            <a:ext cx="1583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8922904A-64B2-4B50-A003-820767E366BD}" type="datetime'''''''''U''''K'''''''''''''''">
              <a:rPr lang="pt-BR" altLang="en-US" sz="900"/>
              <a:pPr marL="0" indent="0" algn="r">
                <a:spcBef>
                  <a:spcPct val="0"/>
                </a:spcBef>
                <a:buNone/>
              </a:pPr>
              <a:t>UK</a:t>
            </a:fld>
            <a:endParaRPr lang="pt-BR" sz="900" dirty="0">
              <a:sym typeface="+mn-lt"/>
            </a:endParaRPr>
          </a:p>
        </p:txBody>
      </p:sp>
      <p:sp>
        <p:nvSpPr>
          <p:cNvPr id="54" name="Rectangle 53"/>
          <p:cNvSpPr>
            <a:spLocks noGrp="1" noChangeArrowheads="1"/>
          </p:cNvSpPr>
          <p:nvPr>
            <p:custDataLst>
              <p:tags r:id="rId21"/>
            </p:custDataLst>
          </p:nvPr>
        </p:nvSpPr>
        <p:spPr bwMode="auto">
          <a:xfrm>
            <a:off x="4368404" y="4704160"/>
            <a:ext cx="511969"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01E1AC27-7CC0-46DF-BDEB-C20DDFB1E4C2}" type="datetime'A''l''''''''''''''e''''''''m''''''''anh''a'''''''''">
              <a:rPr lang="pt-BR" altLang="en-US" sz="900"/>
              <a:pPr marL="0" indent="0" algn="r">
                <a:spcBef>
                  <a:spcPct val="0"/>
                </a:spcBef>
                <a:buNone/>
              </a:pPr>
              <a:t>Alemanha</a:t>
            </a:fld>
            <a:endParaRPr lang="pt-BR" sz="900" dirty="0">
              <a:sym typeface="+mn-lt"/>
            </a:endParaRPr>
          </a:p>
        </p:txBody>
      </p:sp>
      <p:sp>
        <p:nvSpPr>
          <p:cNvPr id="61" name="Rectangle 60"/>
          <p:cNvSpPr>
            <a:spLocks noGrp="1" noChangeArrowheads="1"/>
          </p:cNvSpPr>
          <p:nvPr>
            <p:custDataLst>
              <p:tags r:id="rId22"/>
            </p:custDataLst>
          </p:nvPr>
        </p:nvSpPr>
        <p:spPr bwMode="auto">
          <a:xfrm>
            <a:off x="4645819" y="3782617"/>
            <a:ext cx="2345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E5E31B89-84C9-44AB-AF89-621FA5086FDD}" type="datetime'''E''''''''''''''''''''''''''''''''''''''''''''U''''''''A'">
              <a:rPr lang="pt-BR" altLang="en-US" sz="900"/>
              <a:pPr marL="0" indent="0" algn="r">
                <a:spcBef>
                  <a:spcPct val="0"/>
                </a:spcBef>
                <a:buNone/>
              </a:pPr>
              <a:t>EUA</a:t>
            </a:fld>
            <a:endParaRPr lang="pt-BR" sz="900" dirty="0">
              <a:sym typeface="+mn-lt"/>
            </a:endParaRPr>
          </a:p>
        </p:txBody>
      </p:sp>
      <p:sp>
        <p:nvSpPr>
          <p:cNvPr id="56" name="Rectangle 55"/>
          <p:cNvSpPr>
            <a:spLocks noGrp="1" noChangeArrowheads="1"/>
          </p:cNvSpPr>
          <p:nvPr>
            <p:custDataLst>
              <p:tags r:id="rId23"/>
            </p:custDataLst>
          </p:nvPr>
        </p:nvSpPr>
        <p:spPr bwMode="auto">
          <a:xfrm>
            <a:off x="4622006" y="2396729"/>
            <a:ext cx="258366"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61CB98DA-AC78-4609-BAC8-538D9C41D800}" type="datetime'''''''''''C''''''''''''''''''''''''''''hi''''''''''''''''le'''">
              <a:rPr lang="pt-BR" altLang="en-US" sz="900"/>
              <a:pPr marL="0" indent="0" algn="r">
                <a:spcBef>
                  <a:spcPct val="0"/>
                </a:spcBef>
                <a:buNone/>
              </a:pPr>
              <a:t>Chile</a:t>
            </a:fld>
            <a:endParaRPr lang="pt-BR" sz="900" dirty="0">
              <a:sym typeface="+mn-lt"/>
            </a:endParaRPr>
          </a:p>
        </p:txBody>
      </p:sp>
      <p:sp>
        <p:nvSpPr>
          <p:cNvPr id="63" name="Rectangle 62"/>
          <p:cNvSpPr>
            <a:spLocks noGrp="1" noChangeArrowheads="1"/>
          </p:cNvSpPr>
          <p:nvPr>
            <p:custDataLst>
              <p:tags r:id="rId24"/>
            </p:custDataLst>
          </p:nvPr>
        </p:nvSpPr>
        <p:spPr bwMode="auto">
          <a:xfrm>
            <a:off x="4437460" y="3554017"/>
            <a:ext cx="44291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CC32F630-7E21-41AB-8FF9-8C90A0D77E3D}" type="datetime'''A''''us''''t''''r''á''''''''''''''l''''''''''''i''a'''''''">
              <a:rPr lang="pt-BR" altLang="en-US" sz="900">
                <a:solidFill>
                  <a:schemeClr val="tx1"/>
                </a:solidFill>
              </a:rPr>
              <a:pPr marL="0" indent="0" algn="r">
                <a:spcBef>
                  <a:spcPct val="0"/>
                </a:spcBef>
                <a:buNone/>
              </a:pPr>
              <a:t>Austrália</a:t>
            </a:fld>
            <a:endParaRPr lang="pt-BR" sz="900" dirty="0">
              <a:solidFill>
                <a:schemeClr val="tx1"/>
              </a:solidFill>
              <a:sym typeface="+mn-lt"/>
            </a:endParaRPr>
          </a:p>
        </p:txBody>
      </p:sp>
      <p:sp>
        <p:nvSpPr>
          <p:cNvPr id="64" name="Rectangle 63"/>
          <p:cNvSpPr>
            <a:spLocks noGrp="1" noChangeArrowheads="1"/>
          </p:cNvSpPr>
          <p:nvPr>
            <p:custDataLst>
              <p:tags r:id="rId25"/>
            </p:custDataLst>
          </p:nvPr>
        </p:nvSpPr>
        <p:spPr bwMode="auto">
          <a:xfrm>
            <a:off x="4456510" y="4219576"/>
            <a:ext cx="423863" cy="183356"/>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0F9CF564-739A-4CE4-AC66-7233E3A8E4C6}" type="datetime'''''''''B''''''r''''''''''''''''''a''''''s''i''l'''''''">
              <a:rPr lang="pt-BR" altLang="en-US" sz="1200" b="1">
                <a:solidFill>
                  <a:srgbClr val="00B0F0"/>
                </a:solidFill>
              </a:rPr>
              <a:pPr marL="0" indent="0" algn="r">
                <a:spcBef>
                  <a:spcPct val="0"/>
                </a:spcBef>
                <a:buNone/>
              </a:pPr>
              <a:t>Brasil</a:t>
            </a:fld>
            <a:endParaRPr lang="pt-BR" sz="1200" b="1" dirty="0">
              <a:solidFill>
                <a:srgbClr val="00B0F0"/>
              </a:solidFill>
              <a:sym typeface="+mn-lt"/>
            </a:endParaRPr>
          </a:p>
        </p:txBody>
      </p:sp>
      <p:sp>
        <p:nvSpPr>
          <p:cNvPr id="55" name="Rectangle 54"/>
          <p:cNvSpPr>
            <a:spLocks noGrp="1" noChangeArrowheads="1"/>
          </p:cNvSpPr>
          <p:nvPr>
            <p:custDataLst>
              <p:tags r:id="rId26"/>
            </p:custDataLst>
          </p:nvPr>
        </p:nvSpPr>
        <p:spPr bwMode="auto">
          <a:xfrm>
            <a:off x="4400551" y="2628901"/>
            <a:ext cx="479822"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7E08675D-BE75-4991-964B-003FF0AD3165}" type="datetime'''''''Col''''''''''''ô''mb''''ia'''''''''''''''''''''">
              <a:rPr lang="pt-BR" altLang="en-US" sz="900"/>
              <a:pPr marL="0" indent="0" algn="r">
                <a:spcBef>
                  <a:spcPct val="0"/>
                </a:spcBef>
                <a:buNone/>
              </a:pPr>
              <a:t>Colômbia</a:t>
            </a:fld>
            <a:endParaRPr lang="pt-BR" sz="900" dirty="0">
              <a:sym typeface="+mn-lt"/>
            </a:endParaRPr>
          </a:p>
        </p:txBody>
      </p:sp>
      <p:sp>
        <p:nvSpPr>
          <p:cNvPr id="52" name="Rectangle 51"/>
          <p:cNvSpPr>
            <a:spLocks noGrp="1" noChangeArrowheads="1"/>
          </p:cNvSpPr>
          <p:nvPr>
            <p:custDataLst>
              <p:tags r:id="rId27"/>
            </p:custDataLst>
          </p:nvPr>
        </p:nvSpPr>
        <p:spPr bwMode="auto">
          <a:xfrm>
            <a:off x="4532710" y="4475560"/>
            <a:ext cx="34766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CE531CCA-406B-4193-8CDB-859CBDF18034}" type="datetime'''''Rús''''''s''''''''''''''''''''''''i''''''''''''''''''''a'">
              <a:rPr lang="pt-BR" altLang="en-US" sz="900"/>
              <a:pPr marL="0" indent="0" algn="r">
                <a:spcBef>
                  <a:spcPct val="0"/>
                </a:spcBef>
                <a:buNone/>
              </a:pPr>
              <a:t>Rússia</a:t>
            </a:fld>
            <a:endParaRPr lang="pt-BR" sz="900" dirty="0">
              <a:sym typeface="+mn-lt"/>
            </a:endParaRPr>
          </a:p>
        </p:txBody>
      </p:sp>
      <p:sp>
        <p:nvSpPr>
          <p:cNvPr id="59" name="Rectangle 58"/>
          <p:cNvSpPr>
            <a:spLocks noGrp="1" noChangeArrowheads="1"/>
          </p:cNvSpPr>
          <p:nvPr>
            <p:custDataLst>
              <p:tags r:id="rId28"/>
            </p:custDataLst>
          </p:nvPr>
        </p:nvSpPr>
        <p:spPr bwMode="auto">
          <a:xfrm>
            <a:off x="4499372" y="3321844"/>
            <a:ext cx="38100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97D8D661-7EDE-4C44-961A-EFAF28CC12F6}" type="datetime'''''''''''''Tu''''r''''''''''''''q''''ui''''''''''''a'''">
              <a:rPr lang="pt-BR" altLang="en-US" sz="900"/>
              <a:pPr marL="0" indent="0" algn="r">
                <a:spcBef>
                  <a:spcPct val="0"/>
                </a:spcBef>
                <a:buNone/>
              </a:pPr>
              <a:t>Turquia</a:t>
            </a:fld>
            <a:endParaRPr lang="pt-BR" sz="900" dirty="0">
              <a:sym typeface="+mn-lt"/>
            </a:endParaRPr>
          </a:p>
        </p:txBody>
      </p:sp>
      <p:sp>
        <p:nvSpPr>
          <p:cNvPr id="57" name="Rectangle 56"/>
          <p:cNvSpPr>
            <a:spLocks noGrp="1" noChangeArrowheads="1"/>
          </p:cNvSpPr>
          <p:nvPr>
            <p:custDataLst>
              <p:tags r:id="rId29"/>
            </p:custDataLst>
          </p:nvPr>
        </p:nvSpPr>
        <p:spPr bwMode="auto">
          <a:xfrm>
            <a:off x="4519613" y="3089673"/>
            <a:ext cx="3607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8DF1A9C3-F442-4AAC-B238-B4D21B910B1C}" type="datetime'''''Mé''''''''x''''''''''''''''''ic''''''''''o'''">
              <a:rPr lang="pt-BR" altLang="en-US" sz="900"/>
              <a:pPr marL="0" indent="0" algn="r">
                <a:spcBef>
                  <a:spcPct val="0"/>
                </a:spcBef>
                <a:buNone/>
              </a:pPr>
              <a:t>México</a:t>
            </a:fld>
            <a:endParaRPr lang="pt-BR" sz="900" dirty="0">
              <a:sym typeface="+mn-lt"/>
            </a:endParaRPr>
          </a:p>
        </p:txBody>
      </p:sp>
      <p:sp>
        <p:nvSpPr>
          <p:cNvPr id="62" name="Rectangle 61"/>
          <p:cNvSpPr>
            <a:spLocks noGrp="1" noChangeArrowheads="1"/>
          </p:cNvSpPr>
          <p:nvPr>
            <p:custDataLst>
              <p:tags r:id="rId30"/>
            </p:custDataLst>
          </p:nvPr>
        </p:nvSpPr>
        <p:spPr bwMode="auto">
          <a:xfrm>
            <a:off x="4448176" y="2861073"/>
            <a:ext cx="432197"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B9BBDB9B-4659-41CD-9283-D3B35DFB9FFD}" type="datetime'''Á''f''r''''''''ic''''''a ''''''''''''''S''''''.'">
              <a:rPr lang="pt-BR" altLang="en-US" sz="900"/>
              <a:pPr marL="0" indent="0" algn="r">
                <a:spcBef>
                  <a:spcPct val="0"/>
                </a:spcBef>
                <a:buNone/>
              </a:pPr>
              <a:t>África S.</a:t>
            </a:fld>
            <a:endParaRPr lang="pt-BR" sz="900" dirty="0">
              <a:sym typeface="+mn-lt"/>
            </a:endParaRPr>
          </a:p>
        </p:txBody>
      </p:sp>
      <p:sp>
        <p:nvSpPr>
          <p:cNvPr id="53" name="Rectangle 52"/>
          <p:cNvSpPr>
            <a:spLocks noGrp="1" noChangeArrowheads="1"/>
          </p:cNvSpPr>
          <p:nvPr>
            <p:custDataLst>
              <p:tags r:id="rId31"/>
            </p:custDataLst>
          </p:nvPr>
        </p:nvSpPr>
        <p:spPr bwMode="auto">
          <a:xfrm>
            <a:off x="4405313" y="4011217"/>
            <a:ext cx="4750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D77CD104-AF93-4268-B8AC-D292EF219FCB}" type="datetime'''C''''''''o''''''''''réi''''a ''''''''''''''S''.'''''''">
              <a:rPr lang="pt-BR" altLang="en-US" sz="900"/>
              <a:pPr marL="0" indent="0" algn="r">
                <a:spcBef>
                  <a:spcPct val="0"/>
                </a:spcBef>
                <a:buNone/>
              </a:pPr>
              <a:t>Coréia S.</a:t>
            </a:fld>
            <a:endParaRPr lang="pt-BR" sz="900" dirty="0">
              <a:sym typeface="+mn-lt"/>
            </a:endParaRPr>
          </a:p>
        </p:txBody>
      </p:sp>
      <p:sp>
        <p:nvSpPr>
          <p:cNvPr id="22" name="Rounded Rectangle 21"/>
          <p:cNvSpPr/>
          <p:nvPr/>
        </p:nvSpPr>
        <p:spPr>
          <a:xfrm>
            <a:off x="4031284" y="4198292"/>
            <a:ext cx="3980108" cy="243413"/>
          </a:xfrm>
          <a:prstGeom prst="roundRect">
            <a:avLst>
              <a:gd name="adj" fmla="val 10961"/>
            </a:avLst>
          </a:prstGeom>
          <a:noFill/>
          <a:ln w="12700">
            <a:solidFill>
              <a:srgbClr val="00B0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lstStyle/>
          <a:p>
            <a:r>
              <a:rPr lang="pt-BR" sz="1200" b="1" dirty="0">
                <a:solidFill>
                  <a:srgbClr val="00B0F0"/>
                </a:solidFill>
              </a:rPr>
              <a:t>9</a:t>
            </a:r>
            <a:r>
              <a:rPr lang="pt-BR" sz="1200" b="1" baseline="30000" dirty="0">
                <a:solidFill>
                  <a:srgbClr val="00B0F0"/>
                </a:solidFill>
              </a:rPr>
              <a:t>0</a:t>
            </a:r>
          </a:p>
        </p:txBody>
      </p:sp>
      <p:sp>
        <p:nvSpPr>
          <p:cNvPr id="46" name="Espaço Reservado para Número de Slide 4"/>
          <p:cNvSpPr txBox="1">
            <a:spLocks/>
          </p:cNvSpPr>
          <p:nvPr/>
        </p:nvSpPr>
        <p:spPr>
          <a:xfrm>
            <a:off x="8072284" y="6356352"/>
            <a:ext cx="614516" cy="365125"/>
          </a:xfrm>
          <a:prstGeom prst="rect">
            <a:avLst/>
          </a:prstGeom>
        </p:spPr>
        <p:txBody>
          <a:bodyPr vert="horz" lIns="91440" tIns="45720" rIns="91440" bIns="45720" rtlCol="0" anchor="ctr"/>
          <a:lstStyle>
            <a:defPPr>
              <a:defRPr lang="pt-BR"/>
            </a:defPPr>
            <a:lvl1pPr algn="r">
              <a:defRPr sz="1200">
                <a:solidFill>
                  <a:prstClr val="black">
                    <a:tint val="75000"/>
                  </a:prstClr>
                </a:solidFill>
              </a:defRPr>
            </a:lvl1pPr>
          </a:lstStyle>
          <a:p>
            <a:fld id="{298137A4-986C-44B7-BC96-9776515981F1}" type="slidenum">
              <a:rPr lang="pt-BR"/>
              <a:pPr/>
              <a:t>15</a:t>
            </a:fld>
            <a:endParaRPr lang="pt-BR" dirty="0"/>
          </a:p>
        </p:txBody>
      </p:sp>
      <p:sp>
        <p:nvSpPr>
          <p:cNvPr id="2" name="Retângulo 1"/>
          <p:cNvSpPr/>
          <p:nvPr/>
        </p:nvSpPr>
        <p:spPr>
          <a:xfrm>
            <a:off x="211100" y="754602"/>
            <a:ext cx="8780500" cy="757130"/>
          </a:xfrm>
          <a:prstGeom prst="rect">
            <a:avLst/>
          </a:prstGeom>
        </p:spPr>
        <p:txBody>
          <a:bodyPr wrap="square">
            <a:spAutoFit/>
          </a:bodyPr>
          <a:lstStyle/>
          <a:p>
            <a:pPr marL="185738">
              <a:lnSpc>
                <a:spcPct val="80000"/>
              </a:lnSpc>
            </a:pPr>
            <a:r>
              <a:rPr lang="pt-BR" b="1" dirty="0">
                <a:solidFill>
                  <a:srgbClr val="002060"/>
                </a:solidFill>
              </a:rPr>
              <a:t>Os bancos brasileiros tem rentabilidade bruta em linha com países emergentes e, quando comparada ao custo de capital no país, a rentabilidade fica abaixo da média da amostra</a:t>
            </a:r>
            <a:endParaRPr lang="pt-BR" sz="2800" b="1" dirty="0">
              <a:solidFill>
                <a:srgbClr val="1F497D"/>
              </a:solidFill>
              <a:latin typeface="Calibri" panose="020F0502020204030204" pitchFamily="34" charset="0"/>
            </a:endParaRPr>
          </a:p>
        </p:txBody>
      </p:sp>
      <p:sp>
        <p:nvSpPr>
          <p:cNvPr id="48" name="Rectangle 2"/>
          <p:cNvSpPr>
            <a:spLocks/>
          </p:cNvSpPr>
          <p:nvPr/>
        </p:nvSpPr>
        <p:spPr bwMode="auto">
          <a:xfrm>
            <a:off x="0" y="3"/>
            <a:ext cx="9144000" cy="573087"/>
          </a:xfrm>
          <a:prstGeom prst="rect">
            <a:avLst/>
          </a:prstGeom>
          <a:gradFill flip="none" rotWithShape="1">
            <a:gsLst>
              <a:gs pos="0">
                <a:schemeClr val="accent1">
                  <a:lumMod val="5000"/>
                  <a:lumOff val="95000"/>
                  <a:alpha val="2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w="9525" algn="ctr">
            <a:noFill/>
            <a:miter lim="800000"/>
            <a:headEnd/>
            <a:tailEnd/>
          </a:ln>
        </p:spPr>
        <p:txBody>
          <a:bodyPr anchor="ctr"/>
          <a:lstStyle/>
          <a:p>
            <a:pPr marL="185734">
              <a:lnSpc>
                <a:spcPct val="80000"/>
              </a:lnSpc>
              <a:spcBef>
                <a:spcPct val="0"/>
              </a:spcBef>
            </a:pPr>
            <a:r>
              <a:rPr lang="pt-BR" sz="2400" b="1" dirty="0" smtClean="0">
                <a:solidFill>
                  <a:srgbClr val="44546A"/>
                </a:solidFill>
                <a:latin typeface="Trebuchet MS" panose="020B0603020202020204" pitchFamily="34" charset="0"/>
              </a:rPr>
              <a:t>Rentabilidade dos bancos – Comparação Internacional</a:t>
            </a:r>
            <a:endParaRPr lang="pt-BR" sz="2400" b="1" dirty="0">
              <a:solidFill>
                <a:srgbClr val="44546A"/>
              </a:solidFill>
              <a:latin typeface="Trebuchet MS" panose="020B0603020202020204" pitchFamily="34" charset="0"/>
            </a:endParaRPr>
          </a:p>
        </p:txBody>
      </p:sp>
    </p:spTree>
    <p:extLst>
      <p:ext uri="{BB962C8B-B14F-4D97-AF65-F5344CB8AC3E}">
        <p14:creationId xmlns:p14="http://schemas.microsoft.com/office/powerpoint/2010/main" val="14543129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490" y="955676"/>
            <a:ext cx="8641295" cy="5175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99" name="Text Box 4"/>
          <p:cNvSpPr txBox="1">
            <a:spLocks noChangeArrowheads="1"/>
          </p:cNvSpPr>
          <p:nvPr/>
        </p:nvSpPr>
        <p:spPr bwMode="auto">
          <a:xfrm>
            <a:off x="1042988" y="6519582"/>
            <a:ext cx="765968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sz="800" b="0" dirty="0"/>
              <a:t>Fonte: Valor </a:t>
            </a:r>
            <a:r>
              <a:rPr lang="pt-BR" altLang="pt-BR" sz="800" b="0" dirty="0" smtClean="0"/>
              <a:t>1000 - 2016</a:t>
            </a:r>
          </a:p>
        </p:txBody>
      </p:sp>
      <p:sp>
        <p:nvSpPr>
          <p:cNvPr id="4101" name="CaixaDeTexto 12"/>
          <p:cNvSpPr txBox="1">
            <a:spLocks noChangeArrowheads="1"/>
          </p:cNvSpPr>
          <p:nvPr/>
        </p:nvSpPr>
        <p:spPr bwMode="auto">
          <a:xfrm>
            <a:off x="719138" y="1041398"/>
            <a:ext cx="6477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dirty="0">
                <a:solidFill>
                  <a:srgbClr val="C00000"/>
                </a:solidFill>
              </a:rPr>
              <a:t>1º.</a:t>
            </a:r>
          </a:p>
        </p:txBody>
      </p:sp>
      <p:sp>
        <p:nvSpPr>
          <p:cNvPr id="4102" name="CaixaDeTexto 13"/>
          <p:cNvSpPr txBox="1">
            <a:spLocks noChangeArrowheads="1"/>
          </p:cNvSpPr>
          <p:nvPr/>
        </p:nvSpPr>
        <p:spPr bwMode="auto">
          <a:xfrm>
            <a:off x="1868488" y="1967707"/>
            <a:ext cx="6477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dirty="0">
                <a:solidFill>
                  <a:srgbClr val="C00000"/>
                </a:solidFill>
              </a:rPr>
              <a:t>2º.</a:t>
            </a:r>
          </a:p>
        </p:txBody>
      </p:sp>
      <p:sp>
        <p:nvSpPr>
          <p:cNvPr id="4103" name="CaixaDeTexto 14"/>
          <p:cNvSpPr txBox="1">
            <a:spLocks noChangeArrowheads="1"/>
          </p:cNvSpPr>
          <p:nvPr/>
        </p:nvSpPr>
        <p:spPr bwMode="auto">
          <a:xfrm>
            <a:off x="3028950" y="3593725"/>
            <a:ext cx="6477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dirty="0">
                <a:solidFill>
                  <a:srgbClr val="C00000"/>
                </a:solidFill>
              </a:rPr>
              <a:t>3º.</a:t>
            </a:r>
          </a:p>
        </p:txBody>
      </p:sp>
      <p:sp>
        <p:nvSpPr>
          <p:cNvPr id="4104" name="CaixaDeTexto 15"/>
          <p:cNvSpPr txBox="1">
            <a:spLocks noChangeArrowheads="1"/>
          </p:cNvSpPr>
          <p:nvPr/>
        </p:nvSpPr>
        <p:spPr bwMode="auto">
          <a:xfrm>
            <a:off x="4205287" y="3807972"/>
            <a:ext cx="6477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dirty="0">
                <a:solidFill>
                  <a:srgbClr val="C00000"/>
                </a:solidFill>
              </a:rPr>
              <a:t>4º.</a:t>
            </a:r>
          </a:p>
        </p:txBody>
      </p:sp>
      <p:sp>
        <p:nvSpPr>
          <p:cNvPr id="4105" name="CaixaDeTexto 16"/>
          <p:cNvSpPr txBox="1">
            <a:spLocks noChangeArrowheads="1"/>
          </p:cNvSpPr>
          <p:nvPr/>
        </p:nvSpPr>
        <p:spPr bwMode="auto">
          <a:xfrm>
            <a:off x="5407819" y="3985991"/>
            <a:ext cx="6477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dirty="0">
                <a:solidFill>
                  <a:srgbClr val="C00000"/>
                </a:solidFill>
              </a:rPr>
              <a:t>5º.</a:t>
            </a:r>
          </a:p>
        </p:txBody>
      </p:sp>
      <p:sp>
        <p:nvSpPr>
          <p:cNvPr id="4106" name="CaixaDeTexto 17"/>
          <p:cNvSpPr txBox="1">
            <a:spLocks noChangeArrowheads="1"/>
          </p:cNvSpPr>
          <p:nvPr/>
        </p:nvSpPr>
        <p:spPr bwMode="auto">
          <a:xfrm>
            <a:off x="6561139" y="4084990"/>
            <a:ext cx="646112"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dirty="0">
                <a:solidFill>
                  <a:srgbClr val="C00000"/>
                </a:solidFill>
              </a:rPr>
              <a:t>6º.</a:t>
            </a:r>
          </a:p>
        </p:txBody>
      </p:sp>
      <p:sp>
        <p:nvSpPr>
          <p:cNvPr id="4107" name="CaixaDeTexto 18"/>
          <p:cNvSpPr txBox="1">
            <a:spLocks noChangeArrowheads="1"/>
          </p:cNvSpPr>
          <p:nvPr/>
        </p:nvSpPr>
        <p:spPr bwMode="auto">
          <a:xfrm>
            <a:off x="7772399" y="4161389"/>
            <a:ext cx="652463"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dirty="0">
                <a:solidFill>
                  <a:srgbClr val="C00000"/>
                </a:solidFill>
              </a:rPr>
              <a:t>7º.</a:t>
            </a:r>
          </a:p>
        </p:txBody>
      </p:sp>
      <p:sp>
        <p:nvSpPr>
          <p:cNvPr id="2" name="Espaço Reservado para Número de Slide 1"/>
          <p:cNvSpPr>
            <a:spLocks noGrp="1"/>
          </p:cNvSpPr>
          <p:nvPr>
            <p:ph type="sldNum" sz="quarter" idx="12"/>
          </p:nvPr>
        </p:nvSpPr>
        <p:spPr/>
        <p:txBody>
          <a:bodyPr/>
          <a:lstStyle/>
          <a:p>
            <a:fld id="{298137A4-986C-44B7-BC96-9776515981F1}" type="slidenum">
              <a:rPr lang="pt-BR">
                <a:solidFill>
                  <a:prstClr val="black">
                    <a:tint val="75000"/>
                  </a:prstClr>
                </a:solidFill>
              </a:rPr>
              <a:pPr/>
              <a:t>16</a:t>
            </a:fld>
            <a:endParaRPr lang="pt-BR" dirty="0">
              <a:solidFill>
                <a:prstClr val="black">
                  <a:tint val="75000"/>
                </a:prstClr>
              </a:solidFill>
            </a:endParaRPr>
          </a:p>
        </p:txBody>
      </p:sp>
      <p:sp>
        <p:nvSpPr>
          <p:cNvPr id="13" name="Rectangle 2"/>
          <p:cNvSpPr>
            <a:spLocks/>
          </p:cNvSpPr>
          <p:nvPr/>
        </p:nvSpPr>
        <p:spPr bwMode="auto">
          <a:xfrm>
            <a:off x="0" y="0"/>
            <a:ext cx="9144000" cy="573087"/>
          </a:xfrm>
          <a:prstGeom prst="rect">
            <a:avLst/>
          </a:prstGeom>
          <a:gradFill flip="none" rotWithShape="1">
            <a:gsLst>
              <a:gs pos="0">
                <a:schemeClr val="accent1">
                  <a:lumMod val="5000"/>
                  <a:lumOff val="95000"/>
                  <a:alpha val="2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w="9525" algn="ctr">
            <a:noFill/>
            <a:miter lim="800000"/>
            <a:headEnd/>
            <a:tailEnd/>
          </a:ln>
        </p:spPr>
        <p:txBody>
          <a:bodyPr anchor="ctr"/>
          <a:lstStyle/>
          <a:p>
            <a:pPr marL="185738">
              <a:lnSpc>
                <a:spcPct val="80000"/>
              </a:lnSpc>
              <a:spcBef>
                <a:spcPct val="0"/>
              </a:spcBef>
            </a:pPr>
            <a:r>
              <a:rPr lang="pt-BR" sz="2800" b="1" dirty="0" smtClean="0">
                <a:solidFill>
                  <a:schemeClr val="tx2"/>
                </a:solidFill>
                <a:latin typeface="+mj-lt"/>
              </a:rPr>
              <a:t>Rentabilidade Setorial Comparada – Ranking 2015</a:t>
            </a:r>
            <a:endParaRPr lang="pt-BR" sz="2800" b="1" dirty="0">
              <a:solidFill>
                <a:schemeClr val="tx2"/>
              </a:solidFill>
              <a:latin typeface="+mj-lt"/>
            </a:endParaRPr>
          </a:p>
        </p:txBody>
      </p:sp>
    </p:spTree>
    <p:extLst>
      <p:ext uri="{BB962C8B-B14F-4D97-AF65-F5344CB8AC3E}">
        <p14:creationId xmlns:p14="http://schemas.microsoft.com/office/powerpoint/2010/main" val="34181818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 Box 4"/>
          <p:cNvSpPr txBox="1">
            <a:spLocks noChangeArrowheads="1"/>
          </p:cNvSpPr>
          <p:nvPr/>
        </p:nvSpPr>
        <p:spPr bwMode="auto">
          <a:xfrm>
            <a:off x="1042988" y="6546622"/>
            <a:ext cx="765968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sz="800" b="0" dirty="0"/>
              <a:t>Fonte: Valor </a:t>
            </a:r>
            <a:r>
              <a:rPr lang="pt-BR" altLang="pt-BR" sz="800" b="0" dirty="0" smtClean="0"/>
              <a:t>1000 - 2016</a:t>
            </a:r>
            <a:endParaRPr lang="pt-BR" altLang="pt-BR" sz="800" b="0" dirty="0"/>
          </a:p>
        </p:txBody>
      </p:sp>
      <p:sp>
        <p:nvSpPr>
          <p:cNvPr id="5123" name="Rectangle 2"/>
          <p:cNvSpPr>
            <a:spLocks/>
          </p:cNvSpPr>
          <p:nvPr/>
        </p:nvSpPr>
        <p:spPr bwMode="auto">
          <a:xfrm>
            <a:off x="-21125" y="0"/>
            <a:ext cx="8945562" cy="573088"/>
          </a:xfrm>
          <a:prstGeom prst="rect">
            <a:avLst/>
          </a:prstGeom>
          <a:gradFill flip="none" rotWithShape="1">
            <a:gsLst>
              <a:gs pos="0">
                <a:schemeClr val="accent1">
                  <a:lumMod val="5000"/>
                  <a:lumOff val="95000"/>
                  <a:alpha val="2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w="9525" algn="ctr">
            <a:noFill/>
            <a:miter lim="800000"/>
            <a:headEnd/>
            <a:tailEnd/>
          </a:ln>
          <a:extLst/>
        </p:spPr>
        <p:txBody>
          <a:bodyPr anchor="ctr"/>
          <a:lstStyle/>
          <a:p>
            <a:pPr marL="185738">
              <a:lnSpc>
                <a:spcPct val="80000"/>
              </a:lnSpc>
              <a:spcBef>
                <a:spcPct val="0"/>
              </a:spcBef>
            </a:pPr>
            <a:r>
              <a:rPr lang="pt-BR" altLang="pt-BR" sz="2800" b="1" dirty="0">
                <a:solidFill>
                  <a:schemeClr val="tx2"/>
                </a:solidFill>
                <a:latin typeface="+mj-lt"/>
              </a:rPr>
              <a:t>Rentabilidade do PL (%) – Por setores - 2015</a:t>
            </a: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9349" y="681037"/>
            <a:ext cx="4138013" cy="537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Espaço Reservado para Número de Slide 1"/>
          <p:cNvSpPr>
            <a:spLocks noGrp="1"/>
          </p:cNvSpPr>
          <p:nvPr>
            <p:ph type="sldNum" sz="quarter" idx="12"/>
          </p:nvPr>
        </p:nvSpPr>
        <p:spPr/>
        <p:txBody>
          <a:bodyPr/>
          <a:lstStyle/>
          <a:p>
            <a:fld id="{298137A4-986C-44B7-BC96-9776515981F1}" type="slidenum">
              <a:rPr lang="pt-BR">
                <a:solidFill>
                  <a:prstClr val="black">
                    <a:tint val="75000"/>
                  </a:prstClr>
                </a:solidFill>
              </a:rPr>
              <a:pPr/>
              <a:t>17</a:t>
            </a:fld>
            <a:endParaRPr lang="pt-BR" dirty="0">
              <a:solidFill>
                <a:prstClr val="black">
                  <a:tint val="75000"/>
                </a:prstClr>
              </a:solidFill>
            </a:endParaRPr>
          </a:p>
        </p:txBody>
      </p:sp>
    </p:spTree>
    <p:extLst>
      <p:ext uri="{BB962C8B-B14F-4D97-AF65-F5344CB8AC3E}">
        <p14:creationId xmlns:p14="http://schemas.microsoft.com/office/powerpoint/2010/main" val="31037253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Box 4"/>
          <p:cNvSpPr txBox="1">
            <a:spLocks noChangeArrowheads="1"/>
          </p:cNvSpPr>
          <p:nvPr/>
        </p:nvSpPr>
        <p:spPr bwMode="auto">
          <a:xfrm>
            <a:off x="1042988" y="6519863"/>
            <a:ext cx="765968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eaLnBrk="0" hangingPunct="0">
              <a:defRPr sz="3000" b="1">
                <a:solidFill>
                  <a:schemeClr val="tx1"/>
                </a:solidFill>
                <a:latin typeface="Arial" panose="020B0604020202020204" pitchFamily="34" charset="0"/>
              </a:defRPr>
            </a:lvl1pPr>
            <a:lvl2pPr marL="742950" indent="-285750" eaLnBrk="0" hangingPunct="0">
              <a:defRPr sz="3000" b="1">
                <a:solidFill>
                  <a:schemeClr val="tx1"/>
                </a:solidFill>
                <a:latin typeface="Arial" panose="020B0604020202020204" pitchFamily="34" charset="0"/>
              </a:defRPr>
            </a:lvl2pPr>
            <a:lvl3pPr marL="1143000" indent="-228600" eaLnBrk="0" hangingPunct="0">
              <a:defRPr sz="3000" b="1">
                <a:solidFill>
                  <a:schemeClr val="tx1"/>
                </a:solidFill>
                <a:latin typeface="Arial" panose="020B0604020202020204" pitchFamily="34" charset="0"/>
              </a:defRPr>
            </a:lvl3pPr>
            <a:lvl4pPr marL="1600200" indent="-228600" eaLnBrk="0" hangingPunct="0">
              <a:defRPr sz="3000" b="1">
                <a:solidFill>
                  <a:schemeClr val="tx1"/>
                </a:solidFill>
                <a:latin typeface="Arial" panose="020B0604020202020204" pitchFamily="34" charset="0"/>
              </a:defRPr>
            </a:lvl4pPr>
            <a:lvl5pPr marL="2057400" indent="-228600" eaLnBrk="0" hangingPunct="0">
              <a:defRPr sz="3000" b="1">
                <a:solidFill>
                  <a:schemeClr val="tx1"/>
                </a:solidFill>
                <a:latin typeface="Arial" panose="020B0604020202020204" pitchFamily="34" charset="0"/>
              </a:defRPr>
            </a:lvl5pPr>
            <a:lvl6pPr marL="2514600" indent="-228600" eaLnBrk="0" fontAlgn="base" hangingPunct="0">
              <a:spcBef>
                <a:spcPct val="50000"/>
              </a:spcBef>
              <a:spcAft>
                <a:spcPct val="0"/>
              </a:spcAft>
              <a:defRPr sz="3000" b="1">
                <a:solidFill>
                  <a:schemeClr val="tx1"/>
                </a:solidFill>
                <a:latin typeface="Arial" panose="020B0604020202020204" pitchFamily="34" charset="0"/>
              </a:defRPr>
            </a:lvl6pPr>
            <a:lvl7pPr marL="2971800" indent="-228600" eaLnBrk="0" fontAlgn="base" hangingPunct="0">
              <a:spcBef>
                <a:spcPct val="50000"/>
              </a:spcBef>
              <a:spcAft>
                <a:spcPct val="0"/>
              </a:spcAft>
              <a:defRPr sz="3000" b="1">
                <a:solidFill>
                  <a:schemeClr val="tx1"/>
                </a:solidFill>
                <a:latin typeface="Arial" panose="020B0604020202020204" pitchFamily="34" charset="0"/>
              </a:defRPr>
            </a:lvl7pPr>
            <a:lvl8pPr marL="3429000" indent="-228600" eaLnBrk="0" fontAlgn="base" hangingPunct="0">
              <a:spcBef>
                <a:spcPct val="50000"/>
              </a:spcBef>
              <a:spcAft>
                <a:spcPct val="0"/>
              </a:spcAft>
              <a:defRPr sz="3000" b="1">
                <a:solidFill>
                  <a:schemeClr val="tx1"/>
                </a:solidFill>
                <a:latin typeface="Arial" panose="020B0604020202020204" pitchFamily="34" charset="0"/>
              </a:defRPr>
            </a:lvl8pPr>
            <a:lvl9pPr marL="3886200" indent="-228600" eaLnBrk="0" fontAlgn="base" hangingPunct="0">
              <a:spcBef>
                <a:spcPct val="50000"/>
              </a:spcBef>
              <a:spcAft>
                <a:spcPct val="0"/>
              </a:spcAft>
              <a:defRPr sz="3000" b="1">
                <a:solidFill>
                  <a:schemeClr val="tx1"/>
                </a:solidFill>
                <a:latin typeface="Arial" panose="020B0604020202020204" pitchFamily="34" charset="0"/>
              </a:defRPr>
            </a:lvl9pPr>
          </a:lstStyle>
          <a:p>
            <a:pPr eaLnBrk="1" hangingPunct="1"/>
            <a:r>
              <a:rPr lang="pt-BR" altLang="pt-BR" sz="800" b="0" dirty="0"/>
              <a:t>Fonte: Valor </a:t>
            </a:r>
            <a:r>
              <a:rPr lang="pt-BR" altLang="pt-BR" sz="800" b="0" dirty="0" smtClean="0"/>
              <a:t>1000 - 2016</a:t>
            </a:r>
            <a:endParaRPr lang="pt-BR" altLang="pt-BR" sz="800" b="0" dirty="0"/>
          </a:p>
        </p:txBody>
      </p:sp>
      <p:sp>
        <p:nvSpPr>
          <p:cNvPr id="3075" name="Rectangle 2"/>
          <p:cNvSpPr>
            <a:spLocks/>
          </p:cNvSpPr>
          <p:nvPr/>
        </p:nvSpPr>
        <p:spPr bwMode="auto">
          <a:xfrm>
            <a:off x="0" y="0"/>
            <a:ext cx="8945562" cy="573088"/>
          </a:xfrm>
          <a:prstGeom prst="rect">
            <a:avLst/>
          </a:prstGeom>
          <a:gradFill flip="none" rotWithShape="1">
            <a:gsLst>
              <a:gs pos="0">
                <a:schemeClr val="accent1">
                  <a:lumMod val="5000"/>
                  <a:lumOff val="95000"/>
                  <a:alpha val="2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w="9525" algn="ctr">
            <a:noFill/>
            <a:miter lim="800000"/>
            <a:headEnd/>
            <a:tailEnd/>
          </a:ln>
          <a:extLst/>
        </p:spPr>
        <p:txBody>
          <a:bodyPr anchor="ctr"/>
          <a:lstStyle/>
          <a:p>
            <a:pPr marL="185738">
              <a:lnSpc>
                <a:spcPct val="80000"/>
              </a:lnSpc>
              <a:spcBef>
                <a:spcPct val="0"/>
              </a:spcBef>
            </a:pPr>
            <a:r>
              <a:rPr lang="pt-BR" altLang="pt-BR" sz="2800" b="1" dirty="0">
                <a:solidFill>
                  <a:schemeClr val="tx2"/>
                </a:solidFill>
                <a:latin typeface="+mj-lt"/>
              </a:rPr>
              <a:t>Ranking de Rentabilidade dos </a:t>
            </a:r>
            <a:r>
              <a:rPr lang="pt-BR" altLang="pt-BR" sz="2800" b="1" dirty="0" smtClean="0">
                <a:solidFill>
                  <a:schemeClr val="tx2"/>
                </a:solidFill>
                <a:latin typeface="+mj-lt"/>
              </a:rPr>
              <a:t>Setores – 2005 a 2015</a:t>
            </a:r>
            <a:endParaRPr lang="pt-BR" altLang="pt-BR" sz="2800" b="1" dirty="0">
              <a:solidFill>
                <a:schemeClr val="tx2"/>
              </a:solidFill>
              <a:latin typeface="+mj-lt"/>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8714" y="571499"/>
            <a:ext cx="6843711" cy="5824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Espaço Reservado para Número de Slide 1"/>
          <p:cNvSpPr>
            <a:spLocks noGrp="1"/>
          </p:cNvSpPr>
          <p:nvPr>
            <p:ph type="sldNum" sz="quarter" idx="12"/>
          </p:nvPr>
        </p:nvSpPr>
        <p:spPr/>
        <p:txBody>
          <a:bodyPr/>
          <a:lstStyle/>
          <a:p>
            <a:fld id="{298137A4-986C-44B7-BC96-9776515981F1}" type="slidenum">
              <a:rPr lang="pt-BR">
                <a:solidFill>
                  <a:prstClr val="black">
                    <a:tint val="75000"/>
                  </a:prstClr>
                </a:solidFill>
              </a:rPr>
              <a:pPr/>
              <a:t>18</a:t>
            </a:fld>
            <a:endParaRPr lang="pt-BR" dirty="0">
              <a:solidFill>
                <a:prstClr val="black">
                  <a:tint val="75000"/>
                </a:prstClr>
              </a:solidFill>
            </a:endParaRPr>
          </a:p>
        </p:txBody>
      </p:sp>
    </p:spTree>
    <p:extLst>
      <p:ext uri="{BB962C8B-B14F-4D97-AF65-F5344CB8AC3E}">
        <p14:creationId xmlns:p14="http://schemas.microsoft.com/office/powerpoint/2010/main" val="11578856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
          <p:cNvSpPr>
            <a:spLocks/>
          </p:cNvSpPr>
          <p:nvPr/>
        </p:nvSpPr>
        <p:spPr bwMode="auto">
          <a:xfrm>
            <a:off x="0" y="3"/>
            <a:ext cx="9144000" cy="573087"/>
          </a:xfrm>
          <a:prstGeom prst="rect">
            <a:avLst/>
          </a:prstGeom>
          <a:gradFill flip="none" rotWithShape="1">
            <a:gsLst>
              <a:gs pos="0">
                <a:schemeClr val="accent1">
                  <a:lumMod val="5000"/>
                  <a:lumOff val="95000"/>
                  <a:alpha val="2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w="9525" algn="ctr">
            <a:noFill/>
            <a:miter lim="800000"/>
            <a:headEnd/>
            <a:tailEnd/>
          </a:ln>
        </p:spPr>
        <p:txBody>
          <a:bodyPr anchor="ctr"/>
          <a:lstStyle/>
          <a:p>
            <a:pPr marL="185734">
              <a:lnSpc>
                <a:spcPct val="80000"/>
              </a:lnSpc>
              <a:spcBef>
                <a:spcPct val="0"/>
              </a:spcBef>
            </a:pPr>
            <a:r>
              <a:rPr lang="pt-BR" sz="2800" b="1" dirty="0" smtClean="0">
                <a:solidFill>
                  <a:srgbClr val="44546A"/>
                </a:solidFill>
                <a:latin typeface="Trebuchet MS" panose="020B0603020202020204" pitchFamily="34" charset="0"/>
              </a:rPr>
              <a:t>Concentração no Setor Bancário – Internacional </a:t>
            </a:r>
            <a:endParaRPr lang="pt-BR" sz="2800" b="1" dirty="0">
              <a:solidFill>
                <a:srgbClr val="44546A"/>
              </a:solidFill>
              <a:latin typeface="Trebuchet MS" panose="020B0603020202020204" pitchFamily="34" charset="0"/>
            </a:endParaRPr>
          </a:p>
        </p:txBody>
      </p:sp>
      <p:sp>
        <p:nvSpPr>
          <p:cNvPr id="18" name="Text Box 10"/>
          <p:cNvSpPr txBox="1">
            <a:spLocks noChangeArrowheads="1"/>
          </p:cNvSpPr>
          <p:nvPr/>
        </p:nvSpPr>
        <p:spPr bwMode="auto">
          <a:xfrm>
            <a:off x="952502" y="6388102"/>
            <a:ext cx="7746998"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altLang="pt-BR" sz="900" dirty="0">
                <a:solidFill>
                  <a:prstClr val="black"/>
                </a:solidFill>
                <a:latin typeface="Trebuchet MS" pitchFamily="34" charset="0"/>
              </a:rPr>
              <a:t>Fonte: </a:t>
            </a:r>
            <a:r>
              <a:rPr lang="pt-BR" sz="900" dirty="0">
                <a:solidFill>
                  <a:prstClr val="black"/>
                </a:solidFill>
              </a:rPr>
              <a:t>Global Financial Stability </a:t>
            </a:r>
            <a:r>
              <a:rPr lang="pt-BR" sz="900" dirty="0" smtClean="0">
                <a:solidFill>
                  <a:prstClr val="black"/>
                </a:solidFill>
              </a:rPr>
              <a:t>Report – FMI (edição de Abril de 2014). – Dados: </a:t>
            </a:r>
            <a:r>
              <a:rPr lang="en-US" sz="900" dirty="0" err="1">
                <a:solidFill>
                  <a:prstClr val="black"/>
                </a:solidFill>
              </a:rPr>
              <a:t>Bankscope</a:t>
            </a:r>
            <a:r>
              <a:rPr lang="en-US" sz="900" dirty="0">
                <a:solidFill>
                  <a:prstClr val="black"/>
                </a:solidFill>
              </a:rPr>
              <a:t>; Bank of Japan; Bank of </a:t>
            </a:r>
            <a:r>
              <a:rPr lang="en-US" sz="900" dirty="0" smtClean="0">
                <a:solidFill>
                  <a:prstClr val="black"/>
                </a:solidFill>
              </a:rPr>
              <a:t>Russia; Canadian </a:t>
            </a:r>
            <a:r>
              <a:rPr lang="en-US" sz="900" dirty="0">
                <a:solidFill>
                  <a:prstClr val="black"/>
                </a:solidFill>
              </a:rPr>
              <a:t>Office of </a:t>
            </a:r>
            <a:r>
              <a:rPr lang="en-US" sz="900" dirty="0" smtClean="0">
                <a:solidFill>
                  <a:prstClr val="black"/>
                </a:solidFill>
              </a:rPr>
              <a:t>the Superintendent </a:t>
            </a:r>
            <a:r>
              <a:rPr lang="en-US" sz="900" dirty="0">
                <a:solidFill>
                  <a:prstClr val="black"/>
                </a:solidFill>
              </a:rPr>
              <a:t>of Financial Institutions; Central Bank of Brazil; China </a:t>
            </a:r>
            <a:r>
              <a:rPr lang="en-US" sz="900" dirty="0" smtClean="0">
                <a:solidFill>
                  <a:prstClr val="black"/>
                </a:solidFill>
              </a:rPr>
              <a:t>Banking Regulatory </a:t>
            </a:r>
            <a:r>
              <a:rPr lang="en-US" sz="900" dirty="0">
                <a:solidFill>
                  <a:prstClr val="black"/>
                </a:solidFill>
              </a:rPr>
              <a:t>Commission; CEIC </a:t>
            </a:r>
            <a:r>
              <a:rPr lang="en-US" sz="900" dirty="0" smtClean="0">
                <a:solidFill>
                  <a:prstClr val="black"/>
                </a:solidFill>
              </a:rPr>
              <a:t>database</a:t>
            </a:r>
            <a:r>
              <a:rPr lang="en-US" sz="900" dirty="0">
                <a:solidFill>
                  <a:prstClr val="black"/>
                </a:solidFill>
              </a:rPr>
              <a:t>; European Central Bank; Reserve Bank </a:t>
            </a:r>
            <a:r>
              <a:rPr lang="en-US" sz="900" dirty="0" smtClean="0">
                <a:solidFill>
                  <a:prstClr val="black"/>
                </a:solidFill>
              </a:rPr>
              <a:t>of India</a:t>
            </a:r>
            <a:r>
              <a:rPr lang="en-US" sz="900" dirty="0">
                <a:solidFill>
                  <a:prstClr val="black"/>
                </a:solidFill>
              </a:rPr>
              <a:t>; U.S. Federal Deposit Insurance Corporation; and IMF staff estimates.</a:t>
            </a:r>
            <a:endParaRPr lang="en-US" altLang="pt-BR" sz="900" dirty="0">
              <a:solidFill>
                <a:prstClr val="black"/>
              </a:solidFill>
              <a:latin typeface="Trebuchet MS" pitchFamily="34" charset="0"/>
            </a:endParaRPr>
          </a:p>
        </p:txBody>
      </p:sp>
      <p:sp>
        <p:nvSpPr>
          <p:cNvPr id="22" name="Retângulo 21"/>
          <p:cNvSpPr/>
          <p:nvPr/>
        </p:nvSpPr>
        <p:spPr>
          <a:xfrm>
            <a:off x="4279900" y="772858"/>
            <a:ext cx="4762500" cy="2968505"/>
          </a:xfrm>
          <a:prstGeom prst="rect">
            <a:avLst/>
          </a:prstGeom>
        </p:spPr>
        <p:txBody>
          <a:bodyPr wrap="square">
            <a:spAutoFit/>
          </a:bodyPr>
          <a:lstStyle/>
          <a:p>
            <a:pPr marL="285750" indent="-285750" algn="just">
              <a:lnSpc>
                <a:spcPct val="107000"/>
              </a:lnSpc>
              <a:spcBef>
                <a:spcPts val="600"/>
              </a:spcBef>
              <a:spcAft>
                <a:spcPts val="600"/>
              </a:spcAft>
              <a:buFont typeface="Arial" panose="020B0604020202020204" pitchFamily="34" charset="0"/>
              <a:buChar char="•"/>
            </a:pPr>
            <a:r>
              <a:rPr lang="pt-BR" sz="1300" dirty="0" smtClean="0">
                <a:solidFill>
                  <a:srgbClr val="002060"/>
                </a:solidFill>
                <a:latin typeface="Trebuchet MS" panose="020B0603020202020204" pitchFamily="34" charset="0"/>
                <a:ea typeface="Calibri" panose="020F0502020204030204" pitchFamily="34" charset="0"/>
                <a:cs typeface="Times New Roman" panose="02020603050405020304" pitchFamily="18" charset="0"/>
              </a:rPr>
              <a:t>Na avaliação do FMI no </a:t>
            </a:r>
            <a:r>
              <a:rPr lang="pt-BR" sz="1300" i="1" dirty="0" smtClean="0">
                <a:solidFill>
                  <a:srgbClr val="002060"/>
                </a:solidFill>
                <a:latin typeface="Trebuchet MS" panose="020B0603020202020204" pitchFamily="34" charset="0"/>
                <a:ea typeface="Calibri" panose="020F0502020204030204" pitchFamily="34" charset="0"/>
                <a:cs typeface="Times New Roman" panose="02020603050405020304" pitchFamily="18" charset="0"/>
              </a:rPr>
              <a:t>Global Financial Stability Report</a:t>
            </a:r>
            <a:r>
              <a:rPr lang="pt-BR" sz="1300" dirty="0" smtClean="0">
                <a:solidFill>
                  <a:srgbClr val="002060"/>
                </a:solidFill>
                <a:latin typeface="Trebuchet MS" panose="020B0603020202020204" pitchFamily="34" charset="0"/>
                <a:ea typeface="Calibri" panose="020F0502020204030204" pitchFamily="34" charset="0"/>
                <a:cs typeface="Times New Roman" panose="02020603050405020304" pitchFamily="18" charset="0"/>
              </a:rPr>
              <a:t>, de abril de 2014, a concentração de Ativos das três maiores instituições financeiras no Brasil estava abaixo de Canadá, Japão, UK, França e Espanha. </a:t>
            </a:r>
          </a:p>
          <a:p>
            <a:pPr marL="285750" indent="-285750" algn="just">
              <a:lnSpc>
                <a:spcPct val="107000"/>
              </a:lnSpc>
              <a:spcBef>
                <a:spcPts val="600"/>
              </a:spcBef>
              <a:spcAft>
                <a:spcPts val="600"/>
              </a:spcAft>
              <a:buFont typeface="Arial" panose="020B0604020202020204" pitchFamily="34" charset="0"/>
              <a:buChar char="•"/>
            </a:pPr>
            <a:r>
              <a:rPr lang="pt-BR" sz="1300" b="1" dirty="0" smtClean="0">
                <a:solidFill>
                  <a:srgbClr val="002060"/>
                </a:solidFill>
                <a:latin typeface="Trebuchet MS" panose="020B0603020202020204" pitchFamily="34" charset="0"/>
                <a:ea typeface="Calibri" panose="020F0502020204030204" pitchFamily="34" charset="0"/>
                <a:cs typeface="Times New Roman" panose="02020603050405020304" pitchFamily="18" charset="0"/>
              </a:rPr>
              <a:t>No Brasil, a concentração dos três maiores bancos estava em 54% dos ativos do sistema bancário em 2012</a:t>
            </a:r>
            <a:r>
              <a:rPr lang="pt-BR" sz="1300" dirty="0" smtClean="0">
                <a:solidFill>
                  <a:srgbClr val="002060"/>
                </a:solidFill>
                <a:latin typeface="Trebuchet MS" panose="020B0603020202020204" pitchFamily="34" charset="0"/>
                <a:ea typeface="Calibri" panose="020F0502020204030204" pitchFamily="34" charset="0"/>
                <a:cs typeface="Times New Roman" panose="02020603050405020304" pitchFamily="18" charset="0"/>
              </a:rPr>
              <a:t> (exclui bancos de desenvolvimento) na época do estudo do FMI, somando BB, Itaú Unibanco e Bradesco. </a:t>
            </a:r>
          </a:p>
          <a:p>
            <a:pPr marL="285750" indent="-285750" algn="just">
              <a:lnSpc>
                <a:spcPct val="107000"/>
              </a:lnSpc>
              <a:spcBef>
                <a:spcPts val="600"/>
              </a:spcBef>
              <a:spcAft>
                <a:spcPts val="600"/>
              </a:spcAft>
              <a:buFont typeface="Arial" panose="020B0604020202020204" pitchFamily="34" charset="0"/>
              <a:buChar char="•"/>
            </a:pPr>
            <a:r>
              <a:rPr lang="pt-BR" sz="1300" dirty="0" smtClean="0">
                <a:solidFill>
                  <a:srgbClr val="002060"/>
                </a:solidFill>
                <a:latin typeface="Trebuchet MS" panose="020B0603020202020204" pitchFamily="34" charset="0"/>
                <a:ea typeface="Calibri" panose="020F0502020204030204" pitchFamily="34" charset="0"/>
                <a:cs typeface="Times New Roman" panose="02020603050405020304" pitchFamily="18" charset="0"/>
              </a:rPr>
              <a:t>Mesmo usando outros critérios de concentração, com quatro ou cinco maiores bancos, o mercado brasileiro possui concentração proporcionalmente semelhante às de Austrália e Canadá e é considerada moderada.</a:t>
            </a:r>
          </a:p>
        </p:txBody>
      </p:sp>
      <p:pic>
        <p:nvPicPr>
          <p:cNvPr id="2" name="Imagem 1"/>
          <p:cNvPicPr>
            <a:picLocks noChangeAspect="1"/>
          </p:cNvPicPr>
          <p:nvPr/>
        </p:nvPicPr>
        <p:blipFill>
          <a:blip r:embed="rId2"/>
          <a:stretch>
            <a:fillRect/>
          </a:stretch>
        </p:blipFill>
        <p:spPr>
          <a:xfrm>
            <a:off x="0" y="776369"/>
            <a:ext cx="4051300" cy="2708050"/>
          </a:xfrm>
          <a:prstGeom prst="rect">
            <a:avLst/>
          </a:prstGeom>
        </p:spPr>
      </p:pic>
      <p:pic>
        <p:nvPicPr>
          <p:cNvPr id="3" name="Imagem 2"/>
          <p:cNvPicPr>
            <a:picLocks noChangeAspect="1"/>
          </p:cNvPicPr>
          <p:nvPr/>
        </p:nvPicPr>
        <p:blipFill>
          <a:blip r:embed="rId3"/>
          <a:stretch>
            <a:fillRect/>
          </a:stretch>
        </p:blipFill>
        <p:spPr>
          <a:xfrm>
            <a:off x="-1588" y="3741363"/>
            <a:ext cx="4281487" cy="2516769"/>
          </a:xfrm>
          <a:prstGeom prst="rect">
            <a:avLst/>
          </a:prstGeom>
        </p:spPr>
      </p:pic>
      <p:pic>
        <p:nvPicPr>
          <p:cNvPr id="4" name="Imagem 3"/>
          <p:cNvPicPr>
            <a:picLocks noChangeAspect="1"/>
          </p:cNvPicPr>
          <p:nvPr/>
        </p:nvPicPr>
        <p:blipFill>
          <a:blip r:embed="rId4"/>
          <a:stretch>
            <a:fillRect/>
          </a:stretch>
        </p:blipFill>
        <p:spPr>
          <a:xfrm>
            <a:off x="4279898" y="3735389"/>
            <a:ext cx="4762501" cy="2537804"/>
          </a:xfrm>
          <a:prstGeom prst="rect">
            <a:avLst/>
          </a:prstGeom>
        </p:spPr>
      </p:pic>
      <p:sp>
        <p:nvSpPr>
          <p:cNvPr id="5" name="Elipse 4"/>
          <p:cNvSpPr/>
          <p:nvPr/>
        </p:nvSpPr>
        <p:spPr>
          <a:xfrm>
            <a:off x="4279898" y="4025900"/>
            <a:ext cx="1320802" cy="2362202"/>
          </a:xfrm>
          <a:prstGeom prst="ellipse">
            <a:avLst/>
          </a:prstGeom>
          <a:noFill/>
          <a:ln w="28575">
            <a:solidFill>
              <a:schemeClr val="accent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12" name="Espaço Reservado para Número de Slide 3"/>
          <p:cNvSpPr txBox="1">
            <a:spLocks/>
          </p:cNvSpPr>
          <p:nvPr/>
        </p:nvSpPr>
        <p:spPr>
          <a:xfrm>
            <a:off x="7010400" y="6423025"/>
            <a:ext cx="2133600" cy="438150"/>
          </a:xfrm>
          <a:prstGeom prst="rect">
            <a:avLst/>
          </a:prstGeom>
        </p:spPr>
        <p:txBody>
          <a:bodyPr vert="horz" lIns="91440" tIns="45720" rIns="91440" bIns="45720" rtlCol="0" anchor="ctr"/>
          <a:lstStyle>
            <a:defPPr>
              <a:defRPr lang="pt-BR"/>
            </a:defPPr>
            <a:lvl1pPr marL="0" algn="r" defTabSz="914400" rtl="0" eaLnBrk="1" latinLnBrk="0" hangingPunct="1">
              <a:defRPr sz="1400" kern="1200">
                <a:solidFill>
                  <a:schemeClr val="bg1">
                    <a:lumMod val="65000"/>
                  </a:schemeClr>
                </a:solidFill>
                <a:latin typeface="Trebuchet M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8137A4-986C-44B7-BC96-9776515981F1}" type="slidenum">
              <a:rPr lang="pt-BR">
                <a:solidFill>
                  <a:prstClr val="black">
                    <a:tint val="75000"/>
                  </a:prstClr>
                </a:solidFill>
              </a:rPr>
              <a:pPr/>
              <a:t>19</a:t>
            </a:fld>
            <a:endParaRPr lang="pt-BR" dirty="0">
              <a:solidFill>
                <a:prstClr val="black">
                  <a:tint val="75000"/>
                </a:prstClr>
              </a:solidFill>
            </a:endParaRPr>
          </a:p>
        </p:txBody>
      </p:sp>
    </p:spTree>
    <p:extLst>
      <p:ext uri="{BB962C8B-B14F-4D97-AF65-F5344CB8AC3E}">
        <p14:creationId xmlns:p14="http://schemas.microsoft.com/office/powerpoint/2010/main" val="22633914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Conteúdo 1"/>
          <p:cNvSpPr>
            <a:spLocks noGrp="1"/>
          </p:cNvSpPr>
          <p:nvPr>
            <p:ph idx="1"/>
          </p:nvPr>
        </p:nvSpPr>
        <p:spPr>
          <a:xfrm>
            <a:off x="284164" y="838202"/>
            <a:ext cx="8555036" cy="5287963"/>
          </a:xfrm>
        </p:spPr>
        <p:txBody>
          <a:bodyPr>
            <a:normAutofit lnSpcReduction="10000"/>
          </a:bodyPr>
          <a:lstStyle/>
          <a:p>
            <a:pPr marL="514350" indent="-514350">
              <a:lnSpc>
                <a:spcPct val="200000"/>
              </a:lnSpc>
              <a:spcBef>
                <a:spcPts val="1200"/>
              </a:spcBef>
              <a:spcAft>
                <a:spcPts val="1200"/>
              </a:spcAft>
              <a:buFont typeface="+mj-lt"/>
              <a:buAutoNum type="romanUcPeriod"/>
            </a:pPr>
            <a:r>
              <a:rPr lang="pt-BR" sz="2800" dirty="0"/>
              <a:t>Decomposição do </a:t>
            </a:r>
            <a:r>
              <a:rPr lang="pt-BR" sz="2800" dirty="0" smtClean="0"/>
              <a:t>Spread e Custos de intermediação financeira</a:t>
            </a:r>
          </a:p>
          <a:p>
            <a:pPr marL="514350" indent="-514350">
              <a:lnSpc>
                <a:spcPct val="200000"/>
              </a:lnSpc>
              <a:spcBef>
                <a:spcPts val="1200"/>
              </a:spcBef>
              <a:spcAft>
                <a:spcPts val="1200"/>
              </a:spcAft>
              <a:buFont typeface="+mj-lt"/>
              <a:buAutoNum type="romanUcPeriod"/>
            </a:pPr>
            <a:r>
              <a:rPr lang="pt-BR" sz="2800" dirty="0"/>
              <a:t>Rentabilidade do setor bancário brasileiro</a:t>
            </a:r>
          </a:p>
          <a:p>
            <a:pPr marL="514350" indent="-514350">
              <a:lnSpc>
                <a:spcPct val="200000"/>
              </a:lnSpc>
              <a:spcBef>
                <a:spcPts val="1200"/>
              </a:spcBef>
              <a:spcAft>
                <a:spcPts val="1200"/>
              </a:spcAft>
              <a:buFont typeface="+mj-lt"/>
              <a:buAutoNum type="romanUcPeriod"/>
            </a:pPr>
            <a:r>
              <a:rPr lang="pt-BR" sz="2800" dirty="0"/>
              <a:t>Evolução recente do spread</a:t>
            </a:r>
          </a:p>
          <a:p>
            <a:pPr marL="514350" indent="-514350">
              <a:lnSpc>
                <a:spcPct val="200000"/>
              </a:lnSpc>
              <a:spcBef>
                <a:spcPts val="1200"/>
              </a:spcBef>
              <a:spcAft>
                <a:spcPts val="1200"/>
              </a:spcAft>
              <a:buFont typeface="+mj-lt"/>
              <a:buAutoNum type="romanUcPeriod"/>
            </a:pPr>
            <a:r>
              <a:rPr lang="pt-BR" sz="2800" dirty="0"/>
              <a:t>Propostas</a:t>
            </a:r>
          </a:p>
          <a:p>
            <a:pPr marL="514350" indent="-514350">
              <a:lnSpc>
                <a:spcPct val="200000"/>
              </a:lnSpc>
              <a:spcBef>
                <a:spcPts val="1200"/>
              </a:spcBef>
              <a:spcAft>
                <a:spcPts val="1200"/>
              </a:spcAft>
              <a:buFont typeface="+mj-lt"/>
              <a:buAutoNum type="romanUcPeriod"/>
            </a:pPr>
            <a:endParaRPr lang="pt-BR" sz="2800" dirty="0"/>
          </a:p>
        </p:txBody>
      </p:sp>
      <p:sp>
        <p:nvSpPr>
          <p:cNvPr id="3" name="Título 2"/>
          <p:cNvSpPr>
            <a:spLocks noGrp="1"/>
          </p:cNvSpPr>
          <p:nvPr>
            <p:ph type="title"/>
          </p:nvPr>
        </p:nvSpPr>
        <p:spPr/>
        <p:txBody>
          <a:bodyPr/>
          <a:lstStyle/>
          <a:p>
            <a:r>
              <a:rPr lang="pt-BR" sz="2800" dirty="0" smtClean="0"/>
              <a:t>Agenda da apresentação</a:t>
            </a:r>
            <a:endParaRPr lang="pt-BR" sz="2800" dirty="0"/>
          </a:p>
        </p:txBody>
      </p:sp>
      <p:sp>
        <p:nvSpPr>
          <p:cNvPr id="4" name="Espaço Reservado para Número de Slide 3"/>
          <p:cNvSpPr>
            <a:spLocks noGrp="1"/>
          </p:cNvSpPr>
          <p:nvPr>
            <p:ph type="sldNum" sz="quarter" idx="4"/>
          </p:nvPr>
        </p:nvSpPr>
        <p:spPr>
          <a:xfrm>
            <a:off x="7010400" y="6423025"/>
            <a:ext cx="2133600" cy="438150"/>
          </a:xfrm>
        </p:spPr>
        <p:txBody>
          <a:bodyPr/>
          <a:lstStyle/>
          <a:p>
            <a:pPr>
              <a:defRPr/>
            </a:pPr>
            <a:fld id="{05CD66A1-3E75-4426-AB72-7F226ADA43F0}" type="slidenum">
              <a:rPr lang="pt-BR" smtClean="0">
                <a:solidFill>
                  <a:srgbClr val="FFFFFF">
                    <a:lumMod val="65000"/>
                  </a:srgbClr>
                </a:solidFill>
              </a:rPr>
              <a:pPr>
                <a:defRPr/>
              </a:pPr>
              <a:t>2</a:t>
            </a:fld>
            <a:endParaRPr lang="pt-BR" dirty="0">
              <a:solidFill>
                <a:srgbClr val="FFFFFF">
                  <a:lumMod val="65000"/>
                </a:srgbClr>
              </a:solidFill>
            </a:endParaRPr>
          </a:p>
        </p:txBody>
      </p:sp>
    </p:spTree>
    <p:extLst>
      <p:ext uri="{BB962C8B-B14F-4D97-AF65-F5344CB8AC3E}">
        <p14:creationId xmlns:p14="http://schemas.microsoft.com/office/powerpoint/2010/main" val="9709180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3" descr="rodape.jpg"/>
          <p:cNvPicPr>
            <a:picLocks noChangeAspect="1"/>
          </p:cNvPicPr>
          <p:nvPr/>
        </p:nvPicPr>
        <p:blipFill>
          <a:blip r:embed="rId2" cstate="print"/>
          <a:srcRect/>
          <a:stretch>
            <a:fillRect/>
          </a:stretch>
        </p:blipFill>
        <p:spPr bwMode="auto">
          <a:xfrm>
            <a:off x="0" y="6438900"/>
            <a:ext cx="9144000" cy="438150"/>
          </a:xfrm>
          <a:prstGeom prst="rect">
            <a:avLst/>
          </a:prstGeom>
          <a:noFill/>
          <a:ln w="9525">
            <a:noFill/>
            <a:miter lim="800000"/>
            <a:headEnd/>
            <a:tailEnd/>
          </a:ln>
        </p:spPr>
      </p:pic>
      <p:sp>
        <p:nvSpPr>
          <p:cNvPr id="8" name="CaixaDeTexto 10"/>
          <p:cNvSpPr txBox="1">
            <a:spLocks noChangeArrowheads="1"/>
          </p:cNvSpPr>
          <p:nvPr/>
        </p:nvSpPr>
        <p:spPr bwMode="auto">
          <a:xfrm>
            <a:off x="395536" y="692696"/>
            <a:ext cx="8562492" cy="5539978"/>
          </a:xfrm>
          <a:prstGeom prst="rect">
            <a:avLst/>
          </a:prstGeom>
          <a:noFill/>
          <a:ln w="9525">
            <a:noFill/>
            <a:miter lim="800000"/>
            <a:headEnd/>
            <a:tailEnd/>
          </a:ln>
        </p:spPr>
        <p:txBody>
          <a:bodyPr wrap="square" lIns="0" tIns="0" rIns="0" bIns="0">
            <a:spAutoFit/>
          </a:bodyPr>
          <a:lstStyle/>
          <a:p>
            <a:pPr marL="447675" indent="-447675" algn="just"/>
            <a:r>
              <a:rPr lang="pt-BR" sz="2000" b="1" dirty="0">
                <a:solidFill>
                  <a:srgbClr val="003366"/>
                </a:solidFill>
                <a:latin typeface="Trebuchet MS" panose="020B0603020202020204" pitchFamily="34" charset="0"/>
              </a:rPr>
              <a:t>1. Equiparação do critério de dedutibilidade das perdas com operações de crédito entre Receita Federal e BC </a:t>
            </a:r>
          </a:p>
          <a:p>
            <a:pPr marL="447675" algn="just"/>
            <a:endParaRPr lang="pt-BR" sz="2000" b="1" dirty="0" smtClean="0">
              <a:solidFill>
                <a:srgbClr val="0B336A"/>
              </a:solidFill>
            </a:endParaRPr>
          </a:p>
          <a:p>
            <a:pPr marL="447675" algn="just"/>
            <a:r>
              <a:rPr lang="pt-BR" sz="2000" dirty="0" smtClean="0">
                <a:solidFill>
                  <a:srgbClr val="0B336A"/>
                </a:solidFill>
              </a:rPr>
              <a:t>Regra </a:t>
            </a:r>
            <a:r>
              <a:rPr lang="pt-BR" sz="2000" dirty="0">
                <a:solidFill>
                  <a:srgbClr val="0B336A"/>
                </a:solidFill>
              </a:rPr>
              <a:t>de provisionamento e critério </a:t>
            </a:r>
            <a:r>
              <a:rPr lang="pt-BR" sz="2000" dirty="0" smtClean="0">
                <a:solidFill>
                  <a:srgbClr val="0B336A"/>
                </a:solidFill>
              </a:rPr>
              <a:t>para </a:t>
            </a:r>
            <a:r>
              <a:rPr lang="pt-BR" sz="2000" dirty="0">
                <a:solidFill>
                  <a:srgbClr val="0B336A"/>
                </a:solidFill>
              </a:rPr>
              <a:t>dedutibilidade da base de cálculo do Imposto de renda – O objetivo é unificar </a:t>
            </a:r>
            <a:r>
              <a:rPr lang="pt-BR" sz="2000" dirty="0" smtClean="0">
                <a:solidFill>
                  <a:srgbClr val="0B336A"/>
                </a:solidFill>
              </a:rPr>
              <a:t>critério </a:t>
            </a:r>
            <a:r>
              <a:rPr lang="pt-BR" sz="2000" dirty="0">
                <a:solidFill>
                  <a:srgbClr val="0B336A"/>
                </a:solidFill>
              </a:rPr>
              <a:t>fiscal de reconhecimento de perdas, vinculando-o ao registro prudencial contábil definido pelo Banco Central na Resolução nº 2.682/99 do CMN. As despesas com provisões para devedores duvidosos seriam imediatamente dedutíveis da base de cálculo do imposto sobre a renda e contribuição social sobre o lucro líquido quando </a:t>
            </a:r>
            <a:r>
              <a:rPr lang="pt-BR" sz="2000" dirty="0" smtClean="0">
                <a:solidFill>
                  <a:srgbClr val="0B336A"/>
                </a:solidFill>
              </a:rPr>
              <a:t>registradas;</a:t>
            </a:r>
          </a:p>
          <a:p>
            <a:pPr marL="790575" indent="-342900" algn="just">
              <a:buFont typeface="Wingdings" panose="05000000000000000000" pitchFamily="2" charset="2"/>
              <a:buChar char="§"/>
            </a:pPr>
            <a:endParaRPr lang="pt-BR" sz="2000" b="1" dirty="0">
              <a:solidFill>
                <a:srgbClr val="0B336A"/>
              </a:solidFill>
            </a:endParaRPr>
          </a:p>
          <a:p>
            <a:pPr marL="447675" indent="-447675" algn="just"/>
            <a:r>
              <a:rPr lang="pt-BR" sz="2000" b="1" dirty="0">
                <a:solidFill>
                  <a:srgbClr val="003366"/>
                </a:solidFill>
                <a:latin typeface="Trebuchet MS" panose="020B0603020202020204" pitchFamily="34" charset="0"/>
              </a:rPr>
              <a:t>2. Eliminação Tributação sobre a Intermediação Financeira (IOF, PIS / COFINS)</a:t>
            </a:r>
          </a:p>
          <a:p>
            <a:pPr algn="just"/>
            <a:endParaRPr lang="pt-BR" sz="2000" b="1" dirty="0">
              <a:solidFill>
                <a:srgbClr val="0B336A"/>
              </a:solidFill>
            </a:endParaRPr>
          </a:p>
          <a:p>
            <a:pPr algn="just"/>
            <a:r>
              <a:rPr lang="pt-BR" sz="2000" b="1" dirty="0">
                <a:solidFill>
                  <a:srgbClr val="003366"/>
                </a:solidFill>
                <a:latin typeface="Trebuchet MS" panose="020B0603020202020204" pitchFamily="34" charset="0"/>
              </a:rPr>
              <a:t>3. Tributação do lucro dos bancos às mesmas alíquotas usadas para as demais empresas com lucros equivalentes (redução da alíquota da CSLL de 20% para 9%)</a:t>
            </a:r>
          </a:p>
          <a:p>
            <a:pPr marL="625475" indent="-177800" algn="just"/>
            <a:endParaRPr lang="pt-BR" sz="2000" dirty="0">
              <a:solidFill>
                <a:srgbClr val="003366"/>
              </a:solidFill>
            </a:endParaRPr>
          </a:p>
        </p:txBody>
      </p:sp>
      <p:sp>
        <p:nvSpPr>
          <p:cNvPr id="7"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lIns="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dirty="0" smtClean="0">
              <a:solidFill>
                <a:srgbClr val="1F497D"/>
              </a:solidFill>
            </a:endParaRPr>
          </a:p>
          <a:p>
            <a:pPr marL="185738">
              <a:lnSpc>
                <a:spcPct val="80000"/>
              </a:lnSpc>
              <a:spcBef>
                <a:spcPct val="0"/>
              </a:spcBef>
              <a:defRPr/>
            </a:pPr>
            <a:r>
              <a:rPr lang="pt-BR" sz="2400" dirty="0" smtClean="0">
                <a:solidFill>
                  <a:srgbClr val="1F497D"/>
                </a:solidFill>
              </a:rPr>
              <a:t>Spread </a:t>
            </a:r>
            <a:r>
              <a:rPr lang="pt-BR" sz="2400" dirty="0">
                <a:solidFill>
                  <a:srgbClr val="1F497D"/>
                </a:solidFill>
              </a:rPr>
              <a:t>Bancário – Propostas  da FEBRABAN </a:t>
            </a:r>
          </a:p>
          <a:p>
            <a:pPr marL="185738">
              <a:lnSpc>
                <a:spcPct val="80000"/>
              </a:lnSpc>
              <a:spcBef>
                <a:spcPct val="0"/>
              </a:spcBef>
              <a:defRPr/>
            </a:pPr>
            <a:endParaRPr lang="pt-BR" sz="2400" dirty="0">
              <a:solidFill>
                <a:srgbClr val="1F497D"/>
              </a:solidFill>
            </a:endParaRPr>
          </a:p>
        </p:txBody>
      </p:sp>
      <p:sp>
        <p:nvSpPr>
          <p:cNvPr id="9" name="Espaço Reservado para Número de Slide 2"/>
          <p:cNvSpPr>
            <a:spLocks noGrp="1"/>
          </p:cNvSpPr>
          <p:nvPr>
            <p:ph type="sldNum" sz="quarter" idx="12"/>
          </p:nvPr>
        </p:nvSpPr>
        <p:spPr>
          <a:xfrm>
            <a:off x="6553200" y="6356350"/>
            <a:ext cx="2133600" cy="365125"/>
          </a:xfrm>
        </p:spPr>
        <p:txBody>
          <a:bodyPr/>
          <a:lstStyle/>
          <a:p>
            <a:fld id="{298137A4-986C-44B7-BC96-9776515981F1}" type="slidenum">
              <a:rPr lang="pt-BR" smtClean="0">
                <a:solidFill>
                  <a:prstClr val="black">
                    <a:tint val="75000"/>
                  </a:prstClr>
                </a:solidFill>
              </a:rPr>
              <a:pPr/>
              <a:t>20</a:t>
            </a:fld>
            <a:endParaRPr lang="pt-BR" dirty="0">
              <a:solidFill>
                <a:prstClr val="black">
                  <a:tint val="75000"/>
                </a:prstClr>
              </a:solidFill>
            </a:endParaRPr>
          </a:p>
        </p:txBody>
      </p:sp>
    </p:spTree>
    <p:extLst>
      <p:ext uri="{BB962C8B-B14F-4D97-AF65-F5344CB8AC3E}">
        <p14:creationId xmlns:p14="http://schemas.microsoft.com/office/powerpoint/2010/main" val="27683190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3" descr="rodape.jpg"/>
          <p:cNvPicPr>
            <a:picLocks noChangeAspect="1"/>
          </p:cNvPicPr>
          <p:nvPr/>
        </p:nvPicPr>
        <p:blipFill>
          <a:blip r:embed="rId2" cstate="print"/>
          <a:srcRect/>
          <a:stretch>
            <a:fillRect/>
          </a:stretch>
        </p:blipFill>
        <p:spPr bwMode="auto">
          <a:xfrm>
            <a:off x="0" y="6438900"/>
            <a:ext cx="9144000" cy="438150"/>
          </a:xfrm>
          <a:prstGeom prst="rect">
            <a:avLst/>
          </a:prstGeom>
          <a:noFill/>
          <a:ln w="9525">
            <a:noFill/>
            <a:miter lim="800000"/>
            <a:headEnd/>
            <a:tailEnd/>
          </a:ln>
        </p:spPr>
      </p:pic>
      <p:sp>
        <p:nvSpPr>
          <p:cNvPr id="8" name="CaixaDeTexto 10"/>
          <p:cNvSpPr txBox="1">
            <a:spLocks noChangeArrowheads="1"/>
          </p:cNvSpPr>
          <p:nvPr/>
        </p:nvSpPr>
        <p:spPr bwMode="auto">
          <a:xfrm>
            <a:off x="226605" y="590274"/>
            <a:ext cx="8690790" cy="5770811"/>
          </a:xfrm>
          <a:prstGeom prst="rect">
            <a:avLst/>
          </a:prstGeom>
          <a:noFill/>
          <a:ln w="9525">
            <a:noFill/>
            <a:miter lim="800000"/>
            <a:headEnd/>
            <a:tailEnd/>
          </a:ln>
        </p:spPr>
        <p:txBody>
          <a:bodyPr wrap="square" lIns="0" tIns="0" rIns="0" bIns="0">
            <a:spAutoFit/>
          </a:bodyPr>
          <a:lstStyle/>
          <a:p>
            <a:pPr marL="447675" indent="-447675" algn="just"/>
            <a:r>
              <a:rPr lang="pt-BR" sz="2000" b="1" dirty="0">
                <a:solidFill>
                  <a:srgbClr val="003366"/>
                </a:solidFill>
                <a:latin typeface="Trebuchet MS" panose="020B0603020202020204" pitchFamily="34" charset="0"/>
              </a:rPr>
              <a:t>4. Redução da Litigiosidade Bancária </a:t>
            </a:r>
          </a:p>
          <a:p>
            <a:pPr marL="625475" indent="-177800" algn="just"/>
            <a:endParaRPr lang="pt-BR" sz="2000" b="1" dirty="0">
              <a:solidFill>
                <a:srgbClr val="002060"/>
              </a:solidFill>
            </a:endParaRPr>
          </a:p>
          <a:p>
            <a:pPr marL="904875" indent="-457200" algn="just">
              <a:buFont typeface="Arial" panose="020B0604020202020204" pitchFamily="34" charset="0"/>
              <a:buChar char="•"/>
            </a:pPr>
            <a:r>
              <a:rPr lang="pt-BR" sz="2000" dirty="0" smtClean="0">
                <a:solidFill>
                  <a:srgbClr val="002060"/>
                </a:solidFill>
              </a:rPr>
              <a:t>Uniformização das tabelas de correções de débitos judiciais dos Tribunais Estaduais e da Justiça Federal, adotando-se a Taxa SELIC como padrão, a qual abrangeria os juros de mora e a correção monetária.</a:t>
            </a:r>
          </a:p>
          <a:p>
            <a:pPr marL="447675" algn="just"/>
            <a:endParaRPr lang="pt-BR" sz="2000" dirty="0">
              <a:solidFill>
                <a:srgbClr val="002060"/>
              </a:solidFill>
            </a:endParaRPr>
          </a:p>
          <a:p>
            <a:pPr marL="790575" indent="-342900" algn="just">
              <a:buFont typeface="Arial" panose="020B0604020202020204" pitchFamily="34" charset="0"/>
              <a:buChar char="•"/>
            </a:pPr>
            <a:r>
              <a:rPr lang="pt-BR" sz="2000" dirty="0" smtClean="0">
                <a:solidFill>
                  <a:srgbClr val="002060"/>
                </a:solidFill>
              </a:rPr>
              <a:t>Regular a concessão da gratuidade da Justiça. Aprovação do Projeto de Lei nº 5.900/16, do Deputado Paes Landim, que cria critérios objetivos para a concessão do benefício da justiça gratuita, como a comprovação pelo requerente de uma das seguintes condições: (i) isenção de declarar o imposto de renda; (</a:t>
            </a:r>
            <a:r>
              <a:rPr lang="pt-BR" sz="2000" dirty="0" err="1" smtClean="0">
                <a:solidFill>
                  <a:srgbClr val="002060"/>
                </a:solidFill>
              </a:rPr>
              <a:t>ii</a:t>
            </a:r>
            <a:r>
              <a:rPr lang="pt-BR" sz="2000" dirty="0" smtClean="0">
                <a:solidFill>
                  <a:srgbClr val="002060"/>
                </a:solidFill>
              </a:rPr>
              <a:t>) beneficiário de programa social do Governo Federal; ou ganho de renda mensal de 3 salários mínimos.</a:t>
            </a:r>
          </a:p>
          <a:p>
            <a:pPr marL="625475" indent="-177800" algn="just"/>
            <a:endParaRPr lang="pt-BR" sz="2000" b="1" dirty="0">
              <a:solidFill>
                <a:srgbClr val="002060"/>
              </a:solidFill>
            </a:endParaRPr>
          </a:p>
          <a:p>
            <a:pPr marL="447675" indent="-447675" algn="just"/>
            <a:r>
              <a:rPr lang="pt-BR" sz="2000" b="1" dirty="0">
                <a:solidFill>
                  <a:srgbClr val="003366"/>
                </a:solidFill>
                <a:latin typeface="Trebuchet MS" panose="020B0603020202020204" pitchFamily="34" charset="0"/>
              </a:rPr>
              <a:t>5. Atuação do Judiciário que promova segurança jurídica</a:t>
            </a:r>
          </a:p>
          <a:p>
            <a:pPr indent="-177800" algn="just"/>
            <a:endParaRPr lang="pt-BR" sz="2000" b="1" dirty="0">
              <a:solidFill>
                <a:srgbClr val="002060"/>
              </a:solidFill>
            </a:endParaRPr>
          </a:p>
          <a:p>
            <a:pPr marL="626400" lvl="2" indent="-342900" algn="just">
              <a:buFont typeface="Arial" panose="020B0604020202020204" pitchFamily="34" charset="0"/>
              <a:buChar char="•"/>
            </a:pPr>
            <a:r>
              <a:rPr lang="pt-BR" sz="2000" dirty="0" smtClean="0">
                <a:solidFill>
                  <a:srgbClr val="002060"/>
                </a:solidFill>
              </a:rPr>
              <a:t>Julgar rápido segundo a lei, com aplicação a mais literal possível da legislação vigente, evitando interpretações </a:t>
            </a:r>
            <a:r>
              <a:rPr lang="pt-BR" sz="2000" dirty="0" err="1" smtClean="0">
                <a:solidFill>
                  <a:srgbClr val="002060"/>
                </a:solidFill>
              </a:rPr>
              <a:t>jurisdprudenciais</a:t>
            </a:r>
            <a:r>
              <a:rPr lang="pt-BR" sz="2000" dirty="0" smtClean="0">
                <a:solidFill>
                  <a:srgbClr val="002060"/>
                </a:solidFill>
              </a:rPr>
              <a:t> que deixem de aplicar leis vigentes ou criem determinações não contempladas no quadro legal.</a:t>
            </a:r>
            <a:endParaRPr lang="pt-BR" sz="2000" b="1" dirty="0" smtClean="0">
              <a:solidFill>
                <a:srgbClr val="002060"/>
              </a:solidFill>
            </a:endParaRPr>
          </a:p>
          <a:p>
            <a:pPr marL="447675" algn="just"/>
            <a:endParaRPr lang="pt-BR" sz="1500" b="1" dirty="0">
              <a:solidFill>
                <a:srgbClr val="002060"/>
              </a:solidFill>
              <a:latin typeface="Trebuchet MS" panose="020B0603020202020204" pitchFamily="34" charset="0"/>
            </a:endParaRPr>
          </a:p>
        </p:txBody>
      </p:sp>
      <p:sp>
        <p:nvSpPr>
          <p:cNvPr id="7"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lIns="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r>
              <a:rPr lang="pt-BR" sz="2400" dirty="0">
                <a:solidFill>
                  <a:srgbClr val="1F497D"/>
                </a:solidFill>
              </a:rPr>
              <a:t>Spread Bancário – Propostas  da FEBRABAN </a:t>
            </a:r>
          </a:p>
        </p:txBody>
      </p:sp>
      <p:sp>
        <p:nvSpPr>
          <p:cNvPr id="9" name="Espaço Reservado para Número de Slide 2"/>
          <p:cNvSpPr>
            <a:spLocks noGrp="1"/>
          </p:cNvSpPr>
          <p:nvPr>
            <p:ph type="sldNum" sz="quarter" idx="12"/>
          </p:nvPr>
        </p:nvSpPr>
        <p:spPr>
          <a:xfrm>
            <a:off x="6553200" y="6356350"/>
            <a:ext cx="2133600" cy="365125"/>
          </a:xfrm>
        </p:spPr>
        <p:txBody>
          <a:bodyPr/>
          <a:lstStyle/>
          <a:p>
            <a:fld id="{298137A4-986C-44B7-BC96-9776515981F1}" type="slidenum">
              <a:rPr lang="pt-BR" smtClean="0">
                <a:solidFill>
                  <a:prstClr val="black">
                    <a:tint val="75000"/>
                  </a:prstClr>
                </a:solidFill>
              </a:rPr>
              <a:pPr/>
              <a:t>21</a:t>
            </a:fld>
            <a:endParaRPr lang="pt-BR" dirty="0">
              <a:solidFill>
                <a:prstClr val="black">
                  <a:tint val="75000"/>
                </a:prstClr>
              </a:solidFill>
            </a:endParaRPr>
          </a:p>
        </p:txBody>
      </p:sp>
    </p:spTree>
    <p:extLst>
      <p:ext uri="{BB962C8B-B14F-4D97-AF65-F5344CB8AC3E}">
        <p14:creationId xmlns:p14="http://schemas.microsoft.com/office/powerpoint/2010/main" val="403606799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3" descr="rodape.jpg"/>
          <p:cNvPicPr>
            <a:picLocks noChangeAspect="1"/>
          </p:cNvPicPr>
          <p:nvPr/>
        </p:nvPicPr>
        <p:blipFill>
          <a:blip r:embed="rId2" cstate="print"/>
          <a:srcRect/>
          <a:stretch>
            <a:fillRect/>
          </a:stretch>
        </p:blipFill>
        <p:spPr bwMode="auto">
          <a:xfrm>
            <a:off x="0" y="6438900"/>
            <a:ext cx="9144000" cy="438150"/>
          </a:xfrm>
          <a:prstGeom prst="rect">
            <a:avLst/>
          </a:prstGeom>
          <a:noFill/>
          <a:ln w="9525">
            <a:noFill/>
            <a:miter lim="800000"/>
            <a:headEnd/>
            <a:tailEnd/>
          </a:ln>
        </p:spPr>
      </p:pic>
      <p:sp>
        <p:nvSpPr>
          <p:cNvPr id="8" name="CaixaDeTexto 10"/>
          <p:cNvSpPr txBox="1">
            <a:spLocks noChangeArrowheads="1"/>
          </p:cNvSpPr>
          <p:nvPr/>
        </p:nvSpPr>
        <p:spPr bwMode="auto">
          <a:xfrm>
            <a:off x="391344" y="951161"/>
            <a:ext cx="8371656" cy="4770537"/>
          </a:xfrm>
          <a:prstGeom prst="rect">
            <a:avLst/>
          </a:prstGeom>
          <a:noFill/>
          <a:ln w="9525">
            <a:noFill/>
            <a:miter lim="800000"/>
            <a:headEnd/>
            <a:tailEnd/>
          </a:ln>
        </p:spPr>
        <p:txBody>
          <a:bodyPr wrap="square" lIns="0" tIns="0" rIns="0" bIns="0">
            <a:spAutoFit/>
          </a:bodyPr>
          <a:lstStyle/>
          <a:p>
            <a:pPr marL="447675" indent="-447675" algn="just"/>
            <a:r>
              <a:rPr lang="pt-BR" sz="2000" b="1" dirty="0">
                <a:solidFill>
                  <a:srgbClr val="003366"/>
                </a:solidFill>
                <a:latin typeface="Trebuchet MS" panose="020B0603020202020204" pitchFamily="34" charset="0"/>
              </a:rPr>
              <a:t>6</a:t>
            </a:r>
            <a:r>
              <a:rPr lang="pt-BR" sz="2000" b="1" dirty="0" smtClean="0">
                <a:solidFill>
                  <a:srgbClr val="003366"/>
                </a:solidFill>
                <a:latin typeface="Trebuchet MS" panose="020B0603020202020204" pitchFamily="34" charset="0"/>
              </a:rPr>
              <a:t>. </a:t>
            </a:r>
            <a:r>
              <a:rPr lang="pt-BR" sz="2000" b="1" dirty="0">
                <a:solidFill>
                  <a:srgbClr val="003366"/>
                </a:solidFill>
                <a:latin typeface="Trebuchet MS" panose="020B0603020202020204" pitchFamily="34" charset="0"/>
              </a:rPr>
              <a:t>Busca e apreensão extrajudicial de bens móveis alienados fiduciariamente</a:t>
            </a:r>
          </a:p>
          <a:p>
            <a:endParaRPr lang="pt-BR" sz="1500" b="1" dirty="0">
              <a:solidFill>
                <a:srgbClr val="003366"/>
              </a:solidFill>
              <a:latin typeface="Trebuchet MS" panose="020B0603020202020204" pitchFamily="34" charset="0"/>
            </a:endParaRPr>
          </a:p>
          <a:p>
            <a:pPr marL="609600" indent="-342900" algn="just">
              <a:buFont typeface="Arial" panose="020B0604020202020204" pitchFamily="34" charset="0"/>
              <a:buChar char="•"/>
            </a:pPr>
            <a:r>
              <a:rPr lang="pt-BR" sz="2000" dirty="0">
                <a:solidFill>
                  <a:srgbClr val="003366"/>
                </a:solidFill>
                <a:latin typeface="Trebuchet MS" panose="020B0603020202020204" pitchFamily="34" charset="0"/>
              </a:rPr>
              <a:t>P</a:t>
            </a:r>
            <a:r>
              <a:rPr lang="pt-BR" sz="2000" dirty="0" smtClean="0">
                <a:solidFill>
                  <a:srgbClr val="003366"/>
                </a:solidFill>
                <a:latin typeface="Trebuchet MS" panose="020B0603020202020204" pitchFamily="34" charset="0"/>
              </a:rPr>
              <a:t>ermitir  ao credor </a:t>
            </a:r>
            <a:r>
              <a:rPr lang="pt-BR" sz="2000" dirty="0">
                <a:solidFill>
                  <a:srgbClr val="003366"/>
                </a:solidFill>
                <a:latin typeface="Trebuchet MS" panose="020B0603020202020204" pitchFamily="34" charset="0"/>
              </a:rPr>
              <a:t>fiduciário exercer a cobrança extrajudicial de dívidas previstas em contratos com cláusulas de alienação fiduciária de bens móveis, principalmente veículos, por meio de busca e apreensão extrajudicial, sem a necessidade de ajuizamento de ação de busca e apreensão</a:t>
            </a:r>
            <a:r>
              <a:rPr lang="pt-BR" sz="2000" dirty="0" smtClean="0">
                <a:solidFill>
                  <a:srgbClr val="003366"/>
                </a:solidFill>
                <a:latin typeface="Trebuchet MS" panose="020B0603020202020204" pitchFamily="34" charset="0"/>
              </a:rPr>
              <a:t>. </a:t>
            </a:r>
            <a:endParaRPr lang="pt-BR" sz="2000" dirty="0">
              <a:solidFill>
                <a:srgbClr val="003366"/>
              </a:solidFill>
              <a:latin typeface="Trebuchet MS" panose="020B0603020202020204" pitchFamily="34" charset="0"/>
            </a:endParaRPr>
          </a:p>
          <a:p>
            <a:pPr marL="180975" indent="-180975" algn="just"/>
            <a:endParaRPr lang="pt-BR" sz="2000" b="1" dirty="0">
              <a:solidFill>
                <a:srgbClr val="003366"/>
              </a:solidFill>
              <a:latin typeface="Trebuchet MS" panose="020B0603020202020204" pitchFamily="34" charset="0"/>
            </a:endParaRPr>
          </a:p>
          <a:p>
            <a:pPr marL="447675" indent="-447675" algn="just"/>
            <a:r>
              <a:rPr lang="pt-BR" sz="2000" b="1" dirty="0" smtClean="0">
                <a:solidFill>
                  <a:srgbClr val="003366"/>
                </a:solidFill>
                <a:latin typeface="Trebuchet MS" panose="020B0603020202020204" pitchFamily="34" charset="0"/>
              </a:rPr>
              <a:t>7. </a:t>
            </a:r>
            <a:r>
              <a:rPr lang="pt-BR" sz="2000" b="1" dirty="0">
                <a:solidFill>
                  <a:srgbClr val="003366"/>
                </a:solidFill>
                <a:latin typeface="Trebuchet MS" panose="020B0603020202020204" pitchFamily="34" charset="0"/>
              </a:rPr>
              <a:t>Garantia em operações de Crédito (garantia guarda chuva e Previdência Privada)</a:t>
            </a:r>
          </a:p>
          <a:p>
            <a:endParaRPr lang="pt-BR" sz="1500" b="1" dirty="0">
              <a:solidFill>
                <a:srgbClr val="003366"/>
              </a:solidFill>
              <a:latin typeface="Trebuchet MS" panose="020B0603020202020204" pitchFamily="34" charset="0"/>
            </a:endParaRPr>
          </a:p>
          <a:p>
            <a:pPr marL="609600" indent="-342900">
              <a:buFont typeface="Arial" panose="020B0604020202020204" pitchFamily="34" charset="0"/>
              <a:buChar char="•"/>
            </a:pPr>
            <a:r>
              <a:rPr lang="pt-BR" sz="2000" dirty="0" smtClean="0">
                <a:solidFill>
                  <a:srgbClr val="003366"/>
                </a:solidFill>
                <a:latin typeface="Trebuchet MS" panose="020B0603020202020204" pitchFamily="34" charset="0"/>
              </a:rPr>
              <a:t>Aprovação </a:t>
            </a:r>
            <a:r>
              <a:rPr lang="pt-BR" sz="2000" dirty="0">
                <a:solidFill>
                  <a:srgbClr val="003366"/>
                </a:solidFill>
                <a:latin typeface="Trebuchet MS" panose="020B0603020202020204" pitchFamily="34" charset="0"/>
              </a:rPr>
              <a:t>de legislação que permita a constituição de garantia guarda-chuva, assim entendida aquela constituída para assegurar a abertura de limite global de crédito.</a:t>
            </a:r>
            <a:r>
              <a:rPr lang="pt-BR" sz="2000" b="1" dirty="0">
                <a:solidFill>
                  <a:srgbClr val="003366"/>
                </a:solidFill>
                <a:latin typeface="Trebuchet MS" panose="020B0603020202020204" pitchFamily="34" charset="0"/>
              </a:rPr>
              <a:t> </a:t>
            </a:r>
          </a:p>
          <a:p>
            <a:pPr marL="180975" indent="-180975" algn="just"/>
            <a:r>
              <a:rPr lang="pt-BR" sz="2000" b="1" dirty="0">
                <a:solidFill>
                  <a:srgbClr val="002060"/>
                </a:solidFill>
                <a:latin typeface="Trebuchet MS" panose="020B0603020202020204" pitchFamily="34" charset="0"/>
              </a:rPr>
              <a:t> </a:t>
            </a:r>
            <a:endParaRPr lang="pt-BR" sz="2000" dirty="0">
              <a:solidFill>
                <a:srgbClr val="002060"/>
              </a:solidFill>
              <a:latin typeface="Trebuchet MS" panose="020B0603020202020204" pitchFamily="34" charset="0"/>
            </a:endParaRPr>
          </a:p>
        </p:txBody>
      </p:sp>
      <p:sp>
        <p:nvSpPr>
          <p:cNvPr id="7"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lIns="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r>
              <a:rPr lang="pt-BR" sz="2400" dirty="0" smtClean="0">
                <a:solidFill>
                  <a:srgbClr val="1F497D"/>
                </a:solidFill>
              </a:rPr>
              <a:t>Spread Bancário – Propostas  da FEBRABAN </a:t>
            </a:r>
            <a:endParaRPr lang="pt-BR" sz="2400" dirty="0">
              <a:solidFill>
                <a:srgbClr val="1F497D"/>
              </a:solidFill>
            </a:endParaRPr>
          </a:p>
        </p:txBody>
      </p:sp>
      <p:sp>
        <p:nvSpPr>
          <p:cNvPr id="9" name="Espaço Reservado para Número de Slide 2"/>
          <p:cNvSpPr>
            <a:spLocks noGrp="1"/>
          </p:cNvSpPr>
          <p:nvPr>
            <p:ph type="sldNum" sz="quarter" idx="12"/>
          </p:nvPr>
        </p:nvSpPr>
        <p:spPr>
          <a:xfrm>
            <a:off x="6553200" y="6356350"/>
            <a:ext cx="2133600" cy="365125"/>
          </a:xfrm>
        </p:spPr>
        <p:txBody>
          <a:bodyPr/>
          <a:lstStyle/>
          <a:p>
            <a:fld id="{298137A4-986C-44B7-BC96-9776515981F1}" type="slidenum">
              <a:rPr lang="pt-BR" smtClean="0">
                <a:solidFill>
                  <a:prstClr val="black">
                    <a:tint val="75000"/>
                  </a:prstClr>
                </a:solidFill>
              </a:rPr>
              <a:pPr/>
              <a:t>22</a:t>
            </a:fld>
            <a:endParaRPr lang="pt-BR" dirty="0">
              <a:solidFill>
                <a:prstClr val="black">
                  <a:tint val="75000"/>
                </a:prstClr>
              </a:solidFill>
            </a:endParaRPr>
          </a:p>
        </p:txBody>
      </p:sp>
    </p:spTree>
    <p:extLst>
      <p:ext uri="{BB962C8B-B14F-4D97-AF65-F5344CB8AC3E}">
        <p14:creationId xmlns:p14="http://schemas.microsoft.com/office/powerpoint/2010/main" val="36291773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3" descr="rodape.jpg"/>
          <p:cNvPicPr>
            <a:picLocks noChangeAspect="1"/>
          </p:cNvPicPr>
          <p:nvPr/>
        </p:nvPicPr>
        <p:blipFill>
          <a:blip r:embed="rId2" cstate="print"/>
          <a:srcRect/>
          <a:stretch>
            <a:fillRect/>
          </a:stretch>
        </p:blipFill>
        <p:spPr bwMode="auto">
          <a:xfrm>
            <a:off x="0" y="6438900"/>
            <a:ext cx="9144000" cy="438150"/>
          </a:xfrm>
          <a:prstGeom prst="rect">
            <a:avLst/>
          </a:prstGeom>
          <a:noFill/>
          <a:ln w="9525">
            <a:noFill/>
            <a:miter lim="800000"/>
            <a:headEnd/>
            <a:tailEnd/>
          </a:ln>
        </p:spPr>
      </p:pic>
      <p:sp>
        <p:nvSpPr>
          <p:cNvPr id="8" name="CaixaDeTexto 10"/>
          <p:cNvSpPr txBox="1">
            <a:spLocks noChangeArrowheads="1"/>
          </p:cNvSpPr>
          <p:nvPr/>
        </p:nvSpPr>
        <p:spPr bwMode="auto">
          <a:xfrm>
            <a:off x="179512" y="687667"/>
            <a:ext cx="8784976" cy="6001643"/>
          </a:xfrm>
          <a:prstGeom prst="rect">
            <a:avLst/>
          </a:prstGeom>
          <a:noFill/>
          <a:ln w="9525">
            <a:noFill/>
            <a:miter lim="800000"/>
            <a:headEnd/>
            <a:tailEnd/>
          </a:ln>
        </p:spPr>
        <p:txBody>
          <a:bodyPr wrap="square" lIns="0" tIns="0" rIns="0" bIns="0">
            <a:spAutoFit/>
          </a:bodyPr>
          <a:lstStyle/>
          <a:p>
            <a:pPr marL="361950" indent="-361950" algn="just"/>
            <a:r>
              <a:rPr lang="pt-BR" sz="2000" b="1" dirty="0">
                <a:solidFill>
                  <a:srgbClr val="003366"/>
                </a:solidFill>
                <a:latin typeface="Trebuchet MS" panose="020B0603020202020204" pitchFamily="34" charset="0"/>
              </a:rPr>
              <a:t>8</a:t>
            </a:r>
            <a:r>
              <a:rPr lang="pt-BR" sz="2000" b="1" dirty="0" smtClean="0">
                <a:solidFill>
                  <a:srgbClr val="003366"/>
                </a:solidFill>
                <a:latin typeface="Trebuchet MS" panose="020B0603020202020204" pitchFamily="34" charset="0"/>
              </a:rPr>
              <a:t>. </a:t>
            </a:r>
            <a:r>
              <a:rPr lang="pt-BR" sz="2000" b="1" dirty="0">
                <a:solidFill>
                  <a:srgbClr val="003366"/>
                </a:solidFill>
                <a:latin typeface="Trebuchet MS" panose="020B0603020202020204" pitchFamily="34" charset="0"/>
              </a:rPr>
              <a:t>Contratação de Operações </a:t>
            </a:r>
            <a:r>
              <a:rPr lang="pt-BR" sz="2000" b="1" dirty="0" smtClean="0">
                <a:solidFill>
                  <a:srgbClr val="003366"/>
                </a:solidFill>
                <a:latin typeface="Trebuchet MS" panose="020B0603020202020204" pitchFamily="34" charset="0"/>
              </a:rPr>
              <a:t>por </a:t>
            </a:r>
            <a:r>
              <a:rPr lang="pt-BR" sz="2000" b="1" dirty="0">
                <a:solidFill>
                  <a:srgbClr val="003366"/>
                </a:solidFill>
                <a:latin typeface="Trebuchet MS" panose="020B0603020202020204" pitchFamily="34" charset="0"/>
              </a:rPr>
              <a:t>Meios Eletrônicos/Remotos (PLS 243/14</a:t>
            </a:r>
            <a:r>
              <a:rPr lang="pt-BR" sz="2000" b="1" dirty="0" smtClean="0">
                <a:solidFill>
                  <a:srgbClr val="003366"/>
                </a:solidFill>
                <a:latin typeface="Trebuchet MS" panose="020B0603020202020204" pitchFamily="34" charset="0"/>
              </a:rPr>
              <a:t>) </a:t>
            </a:r>
            <a:r>
              <a:rPr lang="pt-BR" sz="2000" dirty="0" smtClean="0">
                <a:solidFill>
                  <a:srgbClr val="003366"/>
                </a:solidFill>
                <a:latin typeface="Trebuchet MS" panose="020B0603020202020204" pitchFamily="34" charset="0"/>
              </a:rPr>
              <a:t>(CAE)</a:t>
            </a:r>
            <a:endParaRPr lang="pt-BR" sz="2000" dirty="0">
              <a:solidFill>
                <a:srgbClr val="003366"/>
              </a:solidFill>
              <a:latin typeface="Trebuchet MS" panose="020B0603020202020204" pitchFamily="34" charset="0"/>
            </a:endParaRPr>
          </a:p>
          <a:p>
            <a:endParaRPr lang="pt-BR" sz="1500" b="1" dirty="0">
              <a:solidFill>
                <a:srgbClr val="003366"/>
              </a:solidFill>
              <a:latin typeface="Trebuchet MS" panose="020B0603020202020204" pitchFamily="34" charset="0"/>
            </a:endParaRPr>
          </a:p>
          <a:p>
            <a:pPr marL="609600" indent="-342900" algn="just">
              <a:buFont typeface="Arial" panose="020B0604020202020204" pitchFamily="34" charset="0"/>
              <a:buChar char="•"/>
            </a:pPr>
            <a:r>
              <a:rPr lang="pt-BR" sz="2000" dirty="0" smtClean="0">
                <a:solidFill>
                  <a:srgbClr val="003366"/>
                </a:solidFill>
                <a:latin typeface="Trebuchet MS" panose="020B0603020202020204" pitchFamily="34" charset="0"/>
              </a:rPr>
              <a:t>Reforçar a </a:t>
            </a:r>
            <a:r>
              <a:rPr lang="pt-BR" sz="2000" dirty="0">
                <a:solidFill>
                  <a:srgbClr val="003366"/>
                </a:solidFill>
                <a:latin typeface="Trebuchet MS" panose="020B0603020202020204" pitchFamily="34" charset="0"/>
              </a:rPr>
              <a:t>segurança jurídica de contratos e </a:t>
            </a:r>
            <a:r>
              <a:rPr lang="pt-BR" sz="2000" dirty="0" smtClean="0">
                <a:solidFill>
                  <a:srgbClr val="003366"/>
                </a:solidFill>
                <a:latin typeface="Trebuchet MS" panose="020B0603020202020204" pitchFamily="34" charset="0"/>
              </a:rPr>
              <a:t>de seus </a:t>
            </a:r>
            <a:r>
              <a:rPr lang="pt-BR" sz="2000" dirty="0">
                <a:solidFill>
                  <a:srgbClr val="003366"/>
                </a:solidFill>
                <a:latin typeface="Trebuchet MS" panose="020B0603020202020204" pitchFamily="34" charset="0"/>
              </a:rPr>
              <a:t>meios de prova ao estabelecer que é válida a contratação de serviços ou aquisição de produtos por meio de biometria, assinatura eletrônica, digitação de senha ou de código de autenticação emitido por dispositivo pessoal e </a:t>
            </a:r>
            <a:r>
              <a:rPr lang="pt-BR" sz="2000" dirty="0" smtClean="0">
                <a:solidFill>
                  <a:srgbClr val="003366"/>
                </a:solidFill>
                <a:latin typeface="Trebuchet MS" panose="020B0603020202020204" pitchFamily="34" charset="0"/>
              </a:rPr>
              <a:t>intransferível, bem como emissões de títulos por meio digital;</a:t>
            </a:r>
            <a:endParaRPr lang="pt-BR" sz="2000" dirty="0">
              <a:solidFill>
                <a:srgbClr val="003366"/>
              </a:solidFill>
              <a:latin typeface="Trebuchet MS" panose="020B0603020202020204" pitchFamily="34" charset="0"/>
            </a:endParaRPr>
          </a:p>
          <a:p>
            <a:pPr marL="180975" indent="-180975" algn="just"/>
            <a:endParaRPr lang="pt-BR" sz="2000" b="1" dirty="0">
              <a:solidFill>
                <a:srgbClr val="003366"/>
              </a:solidFill>
              <a:latin typeface="Trebuchet MS" panose="020B0603020202020204" pitchFamily="34" charset="0"/>
            </a:endParaRPr>
          </a:p>
          <a:p>
            <a:pPr marL="361950" indent="-361950" algn="just"/>
            <a:r>
              <a:rPr lang="pt-BR" sz="2000" b="1" dirty="0">
                <a:solidFill>
                  <a:srgbClr val="003366"/>
                </a:solidFill>
                <a:latin typeface="Trebuchet MS" panose="020B0603020202020204" pitchFamily="34" charset="0"/>
              </a:rPr>
              <a:t>9</a:t>
            </a:r>
            <a:r>
              <a:rPr lang="pt-BR" sz="2000" b="1" dirty="0" smtClean="0">
                <a:solidFill>
                  <a:srgbClr val="003366"/>
                </a:solidFill>
                <a:latin typeface="Trebuchet MS" panose="020B0603020202020204" pitchFamily="34" charset="0"/>
              </a:rPr>
              <a:t>. </a:t>
            </a:r>
            <a:r>
              <a:rPr lang="pt-BR" sz="2000" b="1" dirty="0">
                <a:solidFill>
                  <a:srgbClr val="003366"/>
                </a:solidFill>
                <a:latin typeface="Trebuchet MS" panose="020B0603020202020204" pitchFamily="34" charset="0"/>
              </a:rPr>
              <a:t>Bloqueio da reserva de margem consignável até decisão final em processos administrativos e judiciais (Lei 10.820/03/ Lei 8.213/91/ Lei 8112/90</a:t>
            </a:r>
            <a:r>
              <a:rPr lang="pt-BR" sz="2000" b="1" dirty="0" smtClean="0">
                <a:solidFill>
                  <a:srgbClr val="003366"/>
                </a:solidFill>
                <a:latin typeface="Trebuchet MS" panose="020B0603020202020204" pitchFamily="34" charset="0"/>
              </a:rPr>
              <a:t>) </a:t>
            </a:r>
            <a:r>
              <a:rPr lang="pt-BR" sz="2000" dirty="0" smtClean="0">
                <a:solidFill>
                  <a:srgbClr val="003366"/>
                </a:solidFill>
                <a:latin typeface="Trebuchet MS" panose="020B0603020202020204" pitchFamily="34" charset="0"/>
              </a:rPr>
              <a:t>(CAE)</a:t>
            </a:r>
            <a:endParaRPr lang="pt-BR" sz="2000" dirty="0">
              <a:solidFill>
                <a:srgbClr val="003366"/>
              </a:solidFill>
              <a:latin typeface="Trebuchet MS" panose="020B0603020202020204" pitchFamily="34" charset="0"/>
            </a:endParaRPr>
          </a:p>
          <a:p>
            <a:endParaRPr lang="pt-BR" sz="1500" b="1" dirty="0">
              <a:solidFill>
                <a:srgbClr val="003366"/>
              </a:solidFill>
              <a:latin typeface="Trebuchet MS" panose="020B0603020202020204" pitchFamily="34" charset="0"/>
            </a:endParaRPr>
          </a:p>
          <a:p>
            <a:pPr marL="723900" indent="-457200" algn="just">
              <a:buFont typeface="Arial" panose="020B0604020202020204" pitchFamily="34" charset="0"/>
              <a:buChar char="•"/>
            </a:pPr>
            <a:r>
              <a:rPr lang="pt-BR" sz="2000" dirty="0" smtClean="0">
                <a:solidFill>
                  <a:srgbClr val="003366"/>
                </a:solidFill>
                <a:latin typeface="Trebuchet MS" panose="020B0603020202020204" pitchFamily="34" charset="0"/>
              </a:rPr>
              <a:t>Na </a:t>
            </a:r>
            <a:r>
              <a:rPr lang="pt-BR" sz="2000" dirty="0">
                <a:solidFill>
                  <a:srgbClr val="003366"/>
                </a:solidFill>
                <a:latin typeface="Trebuchet MS" panose="020B0603020202020204" pitchFamily="34" charset="0"/>
              </a:rPr>
              <a:t>suspensão de pagamento do consignado por decisão administrativa ou judicial não haverá a possibilidade de o limite questionado ser liberado para ser utilizado para consignação de outro empréstimo, financiamento, cartão de crédito ou operação de arrendamento mercantil, até que seja proferida decisão administrativa ou judicial definitiva acerca do questionamento.</a:t>
            </a:r>
            <a:r>
              <a:rPr lang="pt-BR" sz="2000" b="1" dirty="0">
                <a:solidFill>
                  <a:srgbClr val="003366"/>
                </a:solidFill>
                <a:latin typeface="Trebuchet MS" panose="020B0603020202020204" pitchFamily="34" charset="0"/>
              </a:rPr>
              <a:t> </a:t>
            </a:r>
            <a:endParaRPr lang="pt-BR" sz="2000" dirty="0">
              <a:solidFill>
                <a:srgbClr val="003366"/>
              </a:solidFill>
              <a:latin typeface="Trebuchet MS" panose="020B0603020202020204" pitchFamily="34" charset="0"/>
            </a:endParaRPr>
          </a:p>
          <a:p>
            <a:pPr marL="180975" indent="-180975" algn="just"/>
            <a:r>
              <a:rPr lang="pt-BR" sz="2000" b="1" dirty="0" smtClean="0">
                <a:solidFill>
                  <a:srgbClr val="002060"/>
                </a:solidFill>
                <a:latin typeface="Trebuchet MS" panose="020B0603020202020204" pitchFamily="34" charset="0"/>
              </a:rPr>
              <a:t> </a:t>
            </a:r>
            <a:endParaRPr lang="pt-BR" sz="2000" dirty="0">
              <a:solidFill>
                <a:srgbClr val="002060"/>
              </a:solidFill>
              <a:latin typeface="Trebuchet MS" panose="020B0603020202020204" pitchFamily="34" charset="0"/>
            </a:endParaRPr>
          </a:p>
        </p:txBody>
      </p:sp>
      <p:sp>
        <p:nvSpPr>
          <p:cNvPr id="7"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lIns="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endParaRPr lang="pt-BR" sz="2400" dirty="0" smtClean="0">
              <a:solidFill>
                <a:srgbClr val="1F497D"/>
              </a:solidFill>
            </a:endParaRPr>
          </a:p>
          <a:p>
            <a:pPr marL="185738">
              <a:lnSpc>
                <a:spcPct val="80000"/>
              </a:lnSpc>
              <a:spcBef>
                <a:spcPct val="0"/>
              </a:spcBef>
              <a:defRPr/>
            </a:pPr>
            <a:r>
              <a:rPr lang="pt-BR" sz="2400" dirty="0" smtClean="0">
                <a:solidFill>
                  <a:srgbClr val="1F497D"/>
                </a:solidFill>
              </a:rPr>
              <a:t>Spread </a:t>
            </a:r>
            <a:r>
              <a:rPr lang="pt-BR" sz="2400" dirty="0">
                <a:solidFill>
                  <a:srgbClr val="1F497D"/>
                </a:solidFill>
              </a:rPr>
              <a:t>Bancário – Propostas  da FEBRABAN </a:t>
            </a:r>
          </a:p>
          <a:p>
            <a:pPr marL="185738">
              <a:lnSpc>
                <a:spcPct val="80000"/>
              </a:lnSpc>
              <a:spcBef>
                <a:spcPct val="0"/>
              </a:spcBef>
              <a:defRPr/>
            </a:pPr>
            <a:endParaRPr lang="pt-BR" sz="2400" dirty="0">
              <a:solidFill>
                <a:srgbClr val="1F497D"/>
              </a:solidFill>
            </a:endParaRPr>
          </a:p>
        </p:txBody>
      </p:sp>
      <p:sp>
        <p:nvSpPr>
          <p:cNvPr id="9" name="Espaço Reservado para Número de Slide 2"/>
          <p:cNvSpPr>
            <a:spLocks noGrp="1"/>
          </p:cNvSpPr>
          <p:nvPr>
            <p:ph type="sldNum" sz="quarter" idx="12"/>
          </p:nvPr>
        </p:nvSpPr>
        <p:spPr>
          <a:xfrm>
            <a:off x="6553200" y="6356350"/>
            <a:ext cx="2133600" cy="365125"/>
          </a:xfrm>
        </p:spPr>
        <p:txBody>
          <a:bodyPr/>
          <a:lstStyle/>
          <a:p>
            <a:fld id="{298137A4-986C-44B7-BC96-9776515981F1}" type="slidenum">
              <a:rPr lang="pt-BR" smtClean="0">
                <a:solidFill>
                  <a:prstClr val="black">
                    <a:tint val="75000"/>
                  </a:prstClr>
                </a:solidFill>
              </a:rPr>
              <a:pPr/>
              <a:t>23</a:t>
            </a:fld>
            <a:endParaRPr lang="pt-BR" dirty="0">
              <a:solidFill>
                <a:prstClr val="black">
                  <a:tint val="75000"/>
                </a:prstClr>
              </a:solidFill>
            </a:endParaRPr>
          </a:p>
        </p:txBody>
      </p:sp>
    </p:spTree>
    <p:extLst>
      <p:ext uri="{BB962C8B-B14F-4D97-AF65-F5344CB8AC3E}">
        <p14:creationId xmlns:p14="http://schemas.microsoft.com/office/powerpoint/2010/main" val="38424375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3" descr="rodape.jpg"/>
          <p:cNvPicPr>
            <a:picLocks noChangeAspect="1"/>
          </p:cNvPicPr>
          <p:nvPr/>
        </p:nvPicPr>
        <p:blipFill>
          <a:blip r:embed="rId2" cstate="print"/>
          <a:srcRect/>
          <a:stretch>
            <a:fillRect/>
          </a:stretch>
        </p:blipFill>
        <p:spPr bwMode="auto">
          <a:xfrm>
            <a:off x="0" y="6438900"/>
            <a:ext cx="9144000" cy="438150"/>
          </a:xfrm>
          <a:prstGeom prst="rect">
            <a:avLst/>
          </a:prstGeom>
          <a:noFill/>
          <a:ln w="9525">
            <a:noFill/>
            <a:miter lim="800000"/>
            <a:headEnd/>
            <a:tailEnd/>
          </a:ln>
        </p:spPr>
      </p:pic>
      <p:sp>
        <p:nvSpPr>
          <p:cNvPr id="8" name="CaixaDeTexto 10"/>
          <p:cNvSpPr txBox="1">
            <a:spLocks noChangeArrowheads="1"/>
          </p:cNvSpPr>
          <p:nvPr/>
        </p:nvSpPr>
        <p:spPr bwMode="auto">
          <a:xfrm>
            <a:off x="167071" y="578005"/>
            <a:ext cx="8784976" cy="6124754"/>
          </a:xfrm>
          <a:prstGeom prst="rect">
            <a:avLst/>
          </a:prstGeom>
          <a:noFill/>
          <a:ln w="9525">
            <a:noFill/>
            <a:miter lim="800000"/>
            <a:headEnd/>
            <a:tailEnd/>
          </a:ln>
        </p:spPr>
        <p:txBody>
          <a:bodyPr wrap="square" lIns="0" tIns="0" rIns="0" bIns="0">
            <a:spAutoFit/>
          </a:bodyPr>
          <a:lstStyle/>
          <a:p>
            <a:pPr marL="361950" indent="-361950" algn="just"/>
            <a:r>
              <a:rPr lang="pt-BR" sz="2000" b="1" dirty="0" smtClean="0">
                <a:solidFill>
                  <a:srgbClr val="003366"/>
                </a:solidFill>
                <a:latin typeface="Trebuchet MS" panose="020B0603020202020204" pitchFamily="34" charset="0"/>
              </a:rPr>
              <a:t>10. Melhorias no Marco Legal do Consignado Privado (CAE)</a:t>
            </a:r>
          </a:p>
          <a:p>
            <a:pPr marL="447675" indent="-180975" algn="just"/>
            <a:endParaRPr lang="pt-BR" sz="1000" b="1" dirty="0">
              <a:solidFill>
                <a:srgbClr val="003366"/>
              </a:solidFill>
              <a:latin typeface="Trebuchet MS" panose="020B0603020202020204" pitchFamily="34" charset="0"/>
            </a:endParaRPr>
          </a:p>
          <a:p>
            <a:pPr marL="609600" indent="-342900" algn="just">
              <a:buFont typeface="Arial" panose="020B0604020202020204" pitchFamily="34" charset="0"/>
              <a:buChar char="•"/>
            </a:pPr>
            <a:r>
              <a:rPr lang="pt-BR" sz="2000" dirty="0" smtClean="0">
                <a:solidFill>
                  <a:srgbClr val="003366"/>
                </a:solidFill>
                <a:latin typeface="Trebuchet MS" panose="020B0603020202020204" pitchFamily="34" charset="0"/>
              </a:rPr>
              <a:t>Alteração da lei 10.820 de 2003 e demais bases legais, permitindo que rescisões trabalhistas (férias, 13º salário) possam ser em parte utilizadas para amortizar dívida financeira de Empréstimo Consignado.</a:t>
            </a:r>
          </a:p>
          <a:p>
            <a:pPr marL="447675" indent="-180975" algn="just"/>
            <a:endParaRPr lang="pt-BR" sz="1200" dirty="0" smtClean="0">
              <a:solidFill>
                <a:srgbClr val="003366"/>
              </a:solidFill>
              <a:latin typeface="Trebuchet MS" panose="020B0603020202020204" pitchFamily="34" charset="0"/>
            </a:endParaRPr>
          </a:p>
          <a:p>
            <a:pPr marL="447675" indent="-447675" algn="just"/>
            <a:r>
              <a:rPr lang="pt-BR" sz="2000" b="1" dirty="0" smtClean="0">
                <a:solidFill>
                  <a:srgbClr val="003366"/>
                </a:solidFill>
                <a:latin typeface="Trebuchet MS" panose="020B0603020202020204" pitchFamily="34" charset="0"/>
              </a:rPr>
              <a:t>11. Aperfeiçoar lei de Recuperação Judicial e Falências (lei 11.101/2005)</a:t>
            </a:r>
          </a:p>
          <a:p>
            <a:pPr marL="625475" indent="-177800" algn="just"/>
            <a:endParaRPr lang="pt-BR" sz="1500" b="1" dirty="0">
              <a:solidFill>
                <a:srgbClr val="003366"/>
              </a:solidFill>
              <a:latin typeface="Trebuchet MS" panose="020B0603020202020204" pitchFamily="34" charset="0"/>
            </a:endParaRPr>
          </a:p>
          <a:p>
            <a:pPr marL="790575" indent="-342900" algn="just">
              <a:buFont typeface="Arial" panose="020B0604020202020204" pitchFamily="34" charset="0"/>
              <a:buChar char="•"/>
            </a:pPr>
            <a:r>
              <a:rPr lang="pt-BR" sz="2000" dirty="0" smtClean="0">
                <a:solidFill>
                  <a:prstClr val="black"/>
                </a:solidFill>
              </a:rPr>
              <a:t>1</a:t>
            </a:r>
            <a:r>
              <a:rPr lang="pt-BR" sz="2000" dirty="0">
                <a:solidFill>
                  <a:srgbClr val="003366"/>
                </a:solidFill>
                <a:latin typeface="Trebuchet MS" panose="020B0603020202020204" pitchFamily="34" charset="0"/>
              </a:rPr>
              <a:t>) </a:t>
            </a:r>
            <a:r>
              <a:rPr lang="pt-BR" sz="1700" dirty="0">
                <a:solidFill>
                  <a:srgbClr val="003366"/>
                </a:solidFill>
                <a:latin typeface="Trebuchet MS" panose="020B0603020202020204" pitchFamily="34" charset="0"/>
              </a:rPr>
              <a:t>Limitação expressa do prazo de suspensão das execuções; (2) </a:t>
            </a:r>
            <a:r>
              <a:rPr lang="pt-BR" sz="1700" dirty="0" smtClean="0">
                <a:solidFill>
                  <a:srgbClr val="003366"/>
                </a:solidFill>
                <a:latin typeface="Trebuchet MS" panose="020B0603020202020204" pitchFamily="34" charset="0"/>
              </a:rPr>
              <a:t>possibilitar agravo </a:t>
            </a:r>
            <a:r>
              <a:rPr lang="pt-BR" sz="1700" dirty="0">
                <a:solidFill>
                  <a:srgbClr val="003366"/>
                </a:solidFill>
                <a:latin typeface="Trebuchet MS" panose="020B0603020202020204" pitchFamily="34" charset="0"/>
              </a:rPr>
              <a:t>para quaisquer decisões interlocutórias; (3) </a:t>
            </a:r>
            <a:r>
              <a:rPr lang="pt-BR" sz="1700" dirty="0" smtClean="0">
                <a:solidFill>
                  <a:srgbClr val="003366"/>
                </a:solidFill>
                <a:latin typeface="Trebuchet MS" panose="020B0603020202020204" pitchFamily="34" charset="0"/>
              </a:rPr>
              <a:t>Conservar </a:t>
            </a:r>
            <a:r>
              <a:rPr lang="pt-BR" sz="1700" dirty="0">
                <a:solidFill>
                  <a:srgbClr val="003366"/>
                </a:solidFill>
                <a:latin typeface="Trebuchet MS" panose="020B0603020202020204" pitchFamily="34" charset="0"/>
              </a:rPr>
              <a:t>direitos contra coobrigados, fiadores e obrigados de regresso; (4) Correção monetária </a:t>
            </a:r>
            <a:r>
              <a:rPr lang="pt-BR" sz="1700" dirty="0" smtClean="0">
                <a:solidFill>
                  <a:srgbClr val="003366"/>
                </a:solidFill>
                <a:latin typeface="Trebuchet MS" panose="020B0603020202020204" pitchFamily="34" charset="0"/>
              </a:rPr>
              <a:t>de </a:t>
            </a:r>
            <a:r>
              <a:rPr lang="pt-BR" sz="1700" dirty="0">
                <a:solidFill>
                  <a:srgbClr val="003366"/>
                </a:solidFill>
                <a:latin typeface="Trebuchet MS" panose="020B0603020202020204" pitchFamily="34" charset="0"/>
              </a:rPr>
              <a:t>créditos habilitados; (5) Evitar processos de recuperação de empresas </a:t>
            </a:r>
            <a:r>
              <a:rPr lang="pt-BR" sz="1700" dirty="0" smtClean="0">
                <a:solidFill>
                  <a:srgbClr val="003366"/>
                </a:solidFill>
                <a:latin typeface="Trebuchet MS" panose="020B0603020202020204" pitchFamily="34" charset="0"/>
              </a:rPr>
              <a:t>inviáveis</a:t>
            </a:r>
            <a:r>
              <a:rPr lang="pt-BR" sz="1700" dirty="0">
                <a:solidFill>
                  <a:srgbClr val="003366"/>
                </a:solidFill>
                <a:latin typeface="Trebuchet MS" panose="020B0603020202020204" pitchFamily="34" charset="0"/>
              </a:rPr>
              <a:t>; (6) </a:t>
            </a:r>
            <a:r>
              <a:rPr lang="pt-BR" sz="1700" dirty="0" smtClean="0">
                <a:solidFill>
                  <a:srgbClr val="003366"/>
                </a:solidFill>
                <a:latin typeface="Trebuchet MS" panose="020B0603020202020204" pitchFamily="34" charset="0"/>
              </a:rPr>
              <a:t>Profissionalizar </a:t>
            </a:r>
            <a:r>
              <a:rPr lang="pt-BR" sz="1700" dirty="0">
                <a:solidFill>
                  <a:srgbClr val="003366"/>
                </a:solidFill>
                <a:latin typeface="Trebuchet MS" panose="020B0603020202020204" pitchFamily="34" charset="0"/>
              </a:rPr>
              <a:t>escolha do Administrador Judicial; (7) </a:t>
            </a:r>
            <a:r>
              <a:rPr lang="pt-BR" sz="1700" dirty="0" smtClean="0">
                <a:solidFill>
                  <a:srgbClr val="003366"/>
                </a:solidFill>
                <a:latin typeface="Trebuchet MS" panose="020B0603020202020204" pitchFamily="34" charset="0"/>
              </a:rPr>
              <a:t>Proibir PRJ </a:t>
            </a:r>
            <a:r>
              <a:rPr lang="pt-BR" sz="1700" dirty="0">
                <a:solidFill>
                  <a:srgbClr val="003366"/>
                </a:solidFill>
                <a:latin typeface="Trebuchet MS" panose="020B0603020202020204" pitchFamily="34" charset="0"/>
              </a:rPr>
              <a:t>prevendo termos </a:t>
            </a:r>
            <a:r>
              <a:rPr lang="pt-BR" sz="1700" dirty="0" smtClean="0">
                <a:solidFill>
                  <a:srgbClr val="003366"/>
                </a:solidFill>
                <a:latin typeface="Trebuchet MS" panose="020B0603020202020204" pitchFamily="34" charset="0"/>
              </a:rPr>
              <a:t>considerados </a:t>
            </a:r>
            <a:r>
              <a:rPr lang="pt-BR" sz="1700" dirty="0">
                <a:solidFill>
                  <a:srgbClr val="003366"/>
                </a:solidFill>
                <a:latin typeface="Trebuchet MS" panose="020B0603020202020204" pitchFamily="34" charset="0"/>
              </a:rPr>
              <a:t>ilegais por parte da jurisprudência; (8) </a:t>
            </a:r>
            <a:r>
              <a:rPr lang="pt-BR" sz="1700" dirty="0" smtClean="0">
                <a:solidFill>
                  <a:srgbClr val="003366"/>
                </a:solidFill>
                <a:latin typeface="Trebuchet MS" panose="020B0603020202020204" pitchFamily="34" charset="0"/>
              </a:rPr>
              <a:t>Flexibilizar </a:t>
            </a:r>
            <a:r>
              <a:rPr lang="pt-BR" sz="1700" dirty="0">
                <a:solidFill>
                  <a:srgbClr val="003366"/>
                </a:solidFill>
                <a:latin typeface="Trebuchet MS" panose="020B0603020202020204" pitchFamily="34" charset="0"/>
              </a:rPr>
              <a:t>Venda de UPI; (9) </a:t>
            </a:r>
            <a:r>
              <a:rPr lang="pt-BR" sz="1700" dirty="0" smtClean="0">
                <a:solidFill>
                  <a:srgbClr val="003366"/>
                </a:solidFill>
                <a:latin typeface="Trebuchet MS" panose="020B0603020202020204" pitchFamily="34" charset="0"/>
              </a:rPr>
              <a:t>Caracterizar </a:t>
            </a:r>
            <a:r>
              <a:rPr lang="pt-BR" sz="1700" dirty="0">
                <a:solidFill>
                  <a:srgbClr val="003366"/>
                </a:solidFill>
                <a:latin typeface="Trebuchet MS" panose="020B0603020202020204" pitchFamily="34" charset="0"/>
              </a:rPr>
              <a:t>grupo econômico (litisconsórcio); (10) Abordagem obrigatória em </a:t>
            </a:r>
            <a:r>
              <a:rPr lang="pt-BR" sz="1700" dirty="0" smtClean="0">
                <a:solidFill>
                  <a:srgbClr val="003366"/>
                </a:solidFill>
                <a:latin typeface="Trebuchet MS" panose="020B0603020202020204" pitchFamily="34" charset="0"/>
              </a:rPr>
              <a:t>assembleia </a:t>
            </a:r>
            <a:r>
              <a:rPr lang="pt-BR" sz="1700" dirty="0">
                <a:solidFill>
                  <a:srgbClr val="003366"/>
                </a:solidFill>
                <a:latin typeface="Trebuchet MS" panose="020B0603020202020204" pitchFamily="34" charset="0"/>
              </a:rPr>
              <a:t>das objeções dos credores; (11) </a:t>
            </a:r>
            <a:r>
              <a:rPr lang="pt-BR" sz="1700" dirty="0" smtClean="0">
                <a:solidFill>
                  <a:srgbClr val="003366"/>
                </a:solidFill>
                <a:latin typeface="Trebuchet MS" panose="020B0603020202020204" pitchFamily="34" charset="0"/>
              </a:rPr>
              <a:t>Possibilitar </a:t>
            </a:r>
            <a:r>
              <a:rPr lang="pt-BR" sz="1700" dirty="0">
                <a:solidFill>
                  <a:srgbClr val="003366"/>
                </a:solidFill>
                <a:latin typeface="Trebuchet MS" panose="020B0603020202020204" pitchFamily="34" charset="0"/>
              </a:rPr>
              <a:t>afastamento da Administração e nomeação de substitutos; (12) Termos propostos pelo devedor aos credores no PRJ devem ser melhores que na falência; (13) </a:t>
            </a:r>
            <a:r>
              <a:rPr lang="pt-BR" sz="1700" dirty="0" smtClean="0">
                <a:solidFill>
                  <a:srgbClr val="003366"/>
                </a:solidFill>
                <a:latin typeface="Trebuchet MS" panose="020B0603020202020204" pitchFamily="34" charset="0"/>
              </a:rPr>
              <a:t>Adequar Lei </a:t>
            </a:r>
            <a:r>
              <a:rPr lang="pt-BR" sz="1700" dirty="0">
                <a:solidFill>
                  <a:srgbClr val="003366"/>
                </a:solidFill>
                <a:latin typeface="Trebuchet MS" panose="020B0603020202020204" pitchFamily="34" charset="0"/>
              </a:rPr>
              <a:t>11.101/2005 à Lei de Informatização do Processo Judicial (Lei 11.418/2006); (14) </a:t>
            </a:r>
            <a:r>
              <a:rPr lang="pt-BR" sz="1700" dirty="0" smtClean="0">
                <a:solidFill>
                  <a:srgbClr val="003366"/>
                </a:solidFill>
                <a:latin typeface="Trebuchet MS" panose="020B0603020202020204" pitchFamily="34" charset="0"/>
              </a:rPr>
              <a:t>Afastamento da </a:t>
            </a:r>
            <a:r>
              <a:rPr lang="pt-BR" sz="1700" dirty="0">
                <a:solidFill>
                  <a:srgbClr val="003366"/>
                </a:solidFill>
                <a:latin typeface="Trebuchet MS" panose="020B0603020202020204" pitchFamily="34" charset="0"/>
              </a:rPr>
              <a:t>Administração por decisão da AGC; (15) Tornar mais precisa a identificação das recuperadas em editais; (16) Capitalização de créditos como meio de RJ; (17) </a:t>
            </a:r>
            <a:r>
              <a:rPr lang="pt-BR" sz="1700" dirty="0" err="1">
                <a:solidFill>
                  <a:srgbClr val="003366"/>
                </a:solidFill>
                <a:latin typeface="Trebuchet MS" panose="020B0603020202020204" pitchFamily="34" charset="0"/>
              </a:rPr>
              <a:t>Debtor</a:t>
            </a:r>
            <a:r>
              <a:rPr lang="pt-BR" sz="1700" dirty="0">
                <a:solidFill>
                  <a:srgbClr val="003366"/>
                </a:solidFill>
                <a:latin typeface="Trebuchet MS" panose="020B0603020202020204" pitchFamily="34" charset="0"/>
              </a:rPr>
              <a:t> In </a:t>
            </a:r>
            <a:r>
              <a:rPr lang="pt-BR" sz="1700" dirty="0" err="1">
                <a:solidFill>
                  <a:srgbClr val="003366"/>
                </a:solidFill>
                <a:latin typeface="Trebuchet MS" panose="020B0603020202020204" pitchFamily="34" charset="0"/>
              </a:rPr>
              <a:t>Possession</a:t>
            </a:r>
            <a:r>
              <a:rPr lang="pt-BR" sz="1700" dirty="0">
                <a:solidFill>
                  <a:srgbClr val="003366"/>
                </a:solidFill>
                <a:latin typeface="Trebuchet MS" panose="020B0603020202020204" pitchFamily="34" charset="0"/>
              </a:rPr>
              <a:t> </a:t>
            </a:r>
            <a:r>
              <a:rPr lang="pt-BR" sz="1700" dirty="0" err="1">
                <a:solidFill>
                  <a:srgbClr val="003366"/>
                </a:solidFill>
                <a:latin typeface="Trebuchet MS" panose="020B0603020202020204" pitchFamily="34" charset="0"/>
              </a:rPr>
              <a:t>Financing</a:t>
            </a:r>
            <a:r>
              <a:rPr lang="pt-BR" sz="1700" dirty="0">
                <a:solidFill>
                  <a:srgbClr val="003366"/>
                </a:solidFill>
                <a:latin typeface="Trebuchet MS" panose="020B0603020202020204" pitchFamily="34" charset="0"/>
              </a:rPr>
              <a:t>.</a:t>
            </a:r>
          </a:p>
          <a:p>
            <a:pPr marL="625475" indent="-177800" algn="just"/>
            <a:endParaRPr lang="pt-BR" sz="2000" dirty="0">
              <a:solidFill>
                <a:srgbClr val="003366"/>
              </a:solidFill>
              <a:latin typeface="Trebuchet MS" panose="020B0603020202020204" pitchFamily="34" charset="0"/>
            </a:endParaRPr>
          </a:p>
        </p:txBody>
      </p:sp>
      <p:sp>
        <p:nvSpPr>
          <p:cNvPr id="7"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lIns="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r>
              <a:rPr lang="pt-BR" sz="2400" dirty="0">
                <a:solidFill>
                  <a:srgbClr val="1F497D"/>
                </a:solidFill>
              </a:rPr>
              <a:t>Spread Bancário – Propostas  da FEBRABAN </a:t>
            </a:r>
          </a:p>
        </p:txBody>
      </p:sp>
      <p:sp>
        <p:nvSpPr>
          <p:cNvPr id="9" name="Espaço Reservado para Número de Slide 2"/>
          <p:cNvSpPr>
            <a:spLocks noGrp="1"/>
          </p:cNvSpPr>
          <p:nvPr>
            <p:ph type="sldNum" sz="quarter" idx="12"/>
          </p:nvPr>
        </p:nvSpPr>
        <p:spPr>
          <a:xfrm>
            <a:off x="6553200" y="6356350"/>
            <a:ext cx="2133600" cy="365125"/>
          </a:xfrm>
        </p:spPr>
        <p:txBody>
          <a:bodyPr/>
          <a:lstStyle/>
          <a:p>
            <a:fld id="{298137A4-986C-44B7-BC96-9776515981F1}" type="slidenum">
              <a:rPr lang="pt-BR" smtClean="0">
                <a:solidFill>
                  <a:prstClr val="black">
                    <a:tint val="75000"/>
                  </a:prstClr>
                </a:solidFill>
              </a:rPr>
              <a:pPr/>
              <a:t>24</a:t>
            </a:fld>
            <a:endParaRPr lang="pt-BR" dirty="0">
              <a:solidFill>
                <a:prstClr val="black">
                  <a:tint val="75000"/>
                </a:prstClr>
              </a:solidFill>
            </a:endParaRPr>
          </a:p>
        </p:txBody>
      </p:sp>
    </p:spTree>
    <p:extLst>
      <p:ext uri="{BB962C8B-B14F-4D97-AF65-F5344CB8AC3E}">
        <p14:creationId xmlns:p14="http://schemas.microsoft.com/office/powerpoint/2010/main" val="10529970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3" descr="rodape.jpg"/>
          <p:cNvPicPr>
            <a:picLocks noChangeAspect="1"/>
          </p:cNvPicPr>
          <p:nvPr/>
        </p:nvPicPr>
        <p:blipFill>
          <a:blip r:embed="rId2" cstate="print"/>
          <a:srcRect/>
          <a:stretch>
            <a:fillRect/>
          </a:stretch>
        </p:blipFill>
        <p:spPr bwMode="auto">
          <a:xfrm>
            <a:off x="0" y="6438900"/>
            <a:ext cx="9144000" cy="438150"/>
          </a:xfrm>
          <a:prstGeom prst="rect">
            <a:avLst/>
          </a:prstGeom>
          <a:noFill/>
          <a:ln w="9525">
            <a:noFill/>
            <a:miter lim="800000"/>
            <a:headEnd/>
            <a:tailEnd/>
          </a:ln>
        </p:spPr>
      </p:pic>
      <p:sp>
        <p:nvSpPr>
          <p:cNvPr id="8" name="CaixaDeTexto 10"/>
          <p:cNvSpPr txBox="1">
            <a:spLocks noChangeArrowheads="1"/>
          </p:cNvSpPr>
          <p:nvPr/>
        </p:nvSpPr>
        <p:spPr bwMode="auto">
          <a:xfrm>
            <a:off x="269304" y="687667"/>
            <a:ext cx="8623176" cy="3385542"/>
          </a:xfrm>
          <a:prstGeom prst="rect">
            <a:avLst/>
          </a:prstGeom>
          <a:noFill/>
          <a:ln w="9525">
            <a:noFill/>
            <a:miter lim="800000"/>
            <a:headEnd/>
            <a:tailEnd/>
          </a:ln>
        </p:spPr>
        <p:txBody>
          <a:bodyPr wrap="square" lIns="0" tIns="0" rIns="0" bIns="0">
            <a:spAutoFit/>
          </a:bodyPr>
          <a:lstStyle/>
          <a:p>
            <a:pPr marL="625475" indent="-177800" algn="just"/>
            <a:endParaRPr lang="pt-BR" sz="2000" dirty="0">
              <a:solidFill>
                <a:srgbClr val="003366"/>
              </a:solidFill>
              <a:latin typeface="Trebuchet MS" panose="020B0603020202020204" pitchFamily="34" charset="0"/>
            </a:endParaRPr>
          </a:p>
          <a:p>
            <a:pPr marL="361950" indent="-361950" algn="just"/>
            <a:r>
              <a:rPr lang="pt-BR" sz="2000" b="1" dirty="0" smtClean="0">
                <a:solidFill>
                  <a:srgbClr val="003366"/>
                </a:solidFill>
                <a:latin typeface="Trebuchet MS" panose="020B0603020202020204" pitchFamily="34" charset="0"/>
              </a:rPr>
              <a:t>12. Aperfeiçoamento da lei do cadastro de Histórico de Crédito – ajustes sugeridos à proposta de implantação do </a:t>
            </a:r>
            <a:r>
              <a:rPr lang="pt-BR" sz="2000" b="1" dirty="0" err="1" smtClean="0">
                <a:solidFill>
                  <a:srgbClr val="003366"/>
                </a:solidFill>
                <a:latin typeface="Trebuchet MS" panose="020B0603020202020204" pitchFamily="34" charset="0"/>
              </a:rPr>
              <a:t>Opt-out</a:t>
            </a:r>
            <a:r>
              <a:rPr lang="pt-BR" sz="2000" b="1" dirty="0" smtClean="0">
                <a:solidFill>
                  <a:srgbClr val="003366"/>
                </a:solidFill>
                <a:latin typeface="Trebuchet MS" panose="020B0603020202020204" pitchFamily="34" charset="0"/>
              </a:rPr>
              <a:t> a ser apresentada pelo Governos Federal</a:t>
            </a:r>
          </a:p>
          <a:p>
            <a:endParaRPr lang="pt-BR" sz="2000" b="1" dirty="0" smtClean="0">
              <a:solidFill>
                <a:srgbClr val="003366"/>
              </a:solidFill>
              <a:latin typeface="Trebuchet MS" panose="020B0603020202020204" pitchFamily="34" charset="0"/>
            </a:endParaRPr>
          </a:p>
          <a:p>
            <a:pPr marL="609600" indent="-342900" algn="just">
              <a:buFont typeface="Arial" panose="020B0604020202020204" pitchFamily="34" charset="0"/>
              <a:buChar char="•"/>
            </a:pPr>
            <a:r>
              <a:rPr lang="pt-BR" sz="2000" dirty="0" smtClean="0">
                <a:solidFill>
                  <a:srgbClr val="003366"/>
                </a:solidFill>
                <a:latin typeface="Trebuchet MS" panose="020B0603020202020204" pitchFamily="34" charset="0"/>
              </a:rPr>
              <a:t>Fim da responsabilidade solidária;</a:t>
            </a:r>
          </a:p>
          <a:p>
            <a:pPr marL="609600" indent="-342900" algn="just">
              <a:buFont typeface="Arial" panose="020B0604020202020204" pitchFamily="34" charset="0"/>
              <a:buChar char="•"/>
            </a:pPr>
            <a:r>
              <a:rPr lang="pt-BR" sz="2000" dirty="0" smtClean="0">
                <a:solidFill>
                  <a:srgbClr val="003366"/>
                </a:solidFill>
                <a:latin typeface="Trebuchet MS" panose="020B0603020202020204" pitchFamily="34" charset="0"/>
              </a:rPr>
              <a:t>Obrigatoriedade das concessionárias de serviços públicos fornecerem informações para inclusão no cadastro positivo e exclusão da vedação de anotação sobre informações dos serviços de telefonia móvel.</a:t>
            </a:r>
          </a:p>
          <a:p>
            <a:pPr marL="609600" indent="-342900" algn="just">
              <a:buFont typeface="Arial" panose="020B0604020202020204" pitchFamily="34" charset="0"/>
              <a:buChar char="•"/>
            </a:pPr>
            <a:r>
              <a:rPr lang="pt-BR" sz="2000" dirty="0" smtClean="0">
                <a:solidFill>
                  <a:srgbClr val="003366"/>
                </a:solidFill>
                <a:latin typeface="Trebuchet MS" panose="020B0603020202020204" pitchFamily="34" charset="0"/>
              </a:rPr>
              <a:t>Criação do Comitê de Cadastramento dos </a:t>
            </a:r>
            <a:r>
              <a:rPr lang="pt-BR" sz="2000" dirty="0" err="1" smtClean="0">
                <a:solidFill>
                  <a:srgbClr val="003366"/>
                </a:solidFill>
                <a:latin typeface="Trebuchet MS" panose="020B0603020202020204" pitchFamily="34" charset="0"/>
              </a:rPr>
              <a:t>GBDs</a:t>
            </a:r>
            <a:r>
              <a:rPr lang="pt-BR" sz="2000" dirty="0" smtClean="0">
                <a:solidFill>
                  <a:srgbClr val="003366"/>
                </a:solidFill>
                <a:latin typeface="Trebuchet MS" panose="020B0603020202020204" pitchFamily="34" charset="0"/>
              </a:rPr>
              <a:t>, integrado por representantes do BC, Fazenda e Ministério da Justiça.</a:t>
            </a:r>
          </a:p>
        </p:txBody>
      </p:sp>
      <p:sp>
        <p:nvSpPr>
          <p:cNvPr id="7"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lIns="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r>
              <a:rPr lang="pt-BR" sz="2400" dirty="0">
                <a:solidFill>
                  <a:srgbClr val="1F497D"/>
                </a:solidFill>
              </a:rPr>
              <a:t>Spread Bancário – Propostas  da FEBRABAN </a:t>
            </a:r>
          </a:p>
        </p:txBody>
      </p:sp>
      <p:sp>
        <p:nvSpPr>
          <p:cNvPr id="9" name="Espaço Reservado para Número de Slide 2"/>
          <p:cNvSpPr>
            <a:spLocks noGrp="1"/>
          </p:cNvSpPr>
          <p:nvPr>
            <p:ph type="sldNum" sz="quarter" idx="12"/>
          </p:nvPr>
        </p:nvSpPr>
        <p:spPr>
          <a:xfrm>
            <a:off x="6553200" y="6356350"/>
            <a:ext cx="2133600" cy="365125"/>
          </a:xfrm>
        </p:spPr>
        <p:txBody>
          <a:bodyPr/>
          <a:lstStyle/>
          <a:p>
            <a:fld id="{298137A4-986C-44B7-BC96-9776515981F1}" type="slidenum">
              <a:rPr lang="pt-BR" smtClean="0">
                <a:solidFill>
                  <a:prstClr val="black">
                    <a:tint val="75000"/>
                  </a:prstClr>
                </a:solidFill>
              </a:rPr>
              <a:pPr/>
              <a:t>25</a:t>
            </a:fld>
            <a:endParaRPr lang="pt-BR" dirty="0">
              <a:solidFill>
                <a:prstClr val="black">
                  <a:tint val="75000"/>
                </a:prstClr>
              </a:solidFill>
            </a:endParaRPr>
          </a:p>
        </p:txBody>
      </p:sp>
    </p:spTree>
    <p:extLst>
      <p:ext uri="{BB962C8B-B14F-4D97-AF65-F5344CB8AC3E}">
        <p14:creationId xmlns:p14="http://schemas.microsoft.com/office/powerpoint/2010/main" val="283909659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3" descr="rodape.jpg"/>
          <p:cNvPicPr>
            <a:picLocks noChangeAspect="1"/>
          </p:cNvPicPr>
          <p:nvPr/>
        </p:nvPicPr>
        <p:blipFill>
          <a:blip r:embed="rId2" cstate="print"/>
          <a:srcRect/>
          <a:stretch>
            <a:fillRect/>
          </a:stretch>
        </p:blipFill>
        <p:spPr bwMode="auto">
          <a:xfrm>
            <a:off x="0" y="6438900"/>
            <a:ext cx="9144000" cy="438150"/>
          </a:xfrm>
          <a:prstGeom prst="rect">
            <a:avLst/>
          </a:prstGeom>
          <a:noFill/>
          <a:ln w="9525">
            <a:noFill/>
            <a:miter lim="800000"/>
            <a:headEnd/>
            <a:tailEnd/>
          </a:ln>
        </p:spPr>
      </p:pic>
      <p:sp>
        <p:nvSpPr>
          <p:cNvPr id="8" name="CaixaDeTexto 10"/>
          <p:cNvSpPr txBox="1">
            <a:spLocks noChangeArrowheads="1"/>
          </p:cNvSpPr>
          <p:nvPr/>
        </p:nvSpPr>
        <p:spPr bwMode="auto">
          <a:xfrm>
            <a:off x="269304" y="687667"/>
            <a:ext cx="8623176" cy="5847755"/>
          </a:xfrm>
          <a:prstGeom prst="rect">
            <a:avLst/>
          </a:prstGeom>
          <a:noFill/>
          <a:ln w="9525">
            <a:noFill/>
            <a:miter lim="800000"/>
            <a:headEnd/>
            <a:tailEnd/>
          </a:ln>
        </p:spPr>
        <p:txBody>
          <a:bodyPr wrap="square" lIns="0" tIns="0" rIns="0" bIns="0">
            <a:spAutoFit/>
          </a:bodyPr>
          <a:lstStyle/>
          <a:p>
            <a:pPr marL="447675" indent="-447675" algn="just"/>
            <a:r>
              <a:rPr lang="pt-BR" sz="2000" b="1" dirty="0" smtClean="0">
                <a:solidFill>
                  <a:srgbClr val="003366"/>
                </a:solidFill>
                <a:latin typeface="Trebuchet MS" panose="020B0603020202020204" pitchFamily="34" charset="0"/>
              </a:rPr>
              <a:t>13. </a:t>
            </a:r>
            <a:r>
              <a:rPr lang="pt-BR" sz="2000" b="1" dirty="0">
                <a:solidFill>
                  <a:srgbClr val="003366"/>
                </a:solidFill>
                <a:latin typeface="Trebuchet MS" panose="020B0603020202020204" pitchFamily="34" charset="0"/>
              </a:rPr>
              <a:t>Inclusão das Duplicatas na Central de Registro de Ativos </a:t>
            </a:r>
            <a:r>
              <a:rPr lang="pt-BR" sz="2000" b="1" dirty="0" smtClean="0">
                <a:solidFill>
                  <a:srgbClr val="003366"/>
                </a:solidFill>
                <a:latin typeface="Trebuchet MS" panose="020B0603020202020204" pitchFamily="34" charset="0"/>
              </a:rPr>
              <a:t>Financeiros (MP 775)</a:t>
            </a:r>
            <a:endParaRPr lang="pt-BR" sz="2000" b="1" dirty="0">
              <a:solidFill>
                <a:srgbClr val="003366"/>
              </a:solidFill>
              <a:latin typeface="Trebuchet MS" panose="020B0603020202020204" pitchFamily="34" charset="0"/>
            </a:endParaRPr>
          </a:p>
          <a:p>
            <a:endParaRPr lang="pt-BR" sz="2000" b="1" dirty="0">
              <a:solidFill>
                <a:srgbClr val="003366"/>
              </a:solidFill>
              <a:latin typeface="Trebuchet MS" panose="020B0603020202020204" pitchFamily="34" charset="0"/>
            </a:endParaRPr>
          </a:p>
          <a:p>
            <a:pPr marL="447675" indent="-180975" algn="just"/>
            <a:r>
              <a:rPr lang="pt-BR" sz="2000" b="1" dirty="0" smtClean="0">
                <a:solidFill>
                  <a:srgbClr val="003366"/>
                </a:solidFill>
                <a:latin typeface="Trebuchet MS" panose="020B0603020202020204" pitchFamily="34" charset="0"/>
              </a:rPr>
              <a:t>▪</a:t>
            </a:r>
            <a:r>
              <a:rPr lang="pt-BR" sz="2000" dirty="0" smtClean="0">
                <a:solidFill>
                  <a:srgbClr val="003366"/>
                </a:solidFill>
                <a:latin typeface="Trebuchet MS" panose="020B0603020202020204" pitchFamily="34" charset="0"/>
              </a:rPr>
              <a:t> A </a:t>
            </a:r>
            <a:r>
              <a:rPr lang="pt-BR" sz="2000" dirty="0">
                <a:solidFill>
                  <a:srgbClr val="003366"/>
                </a:solidFill>
                <a:latin typeface="Trebuchet MS" panose="020B0603020202020204" pitchFamily="34" charset="0"/>
              </a:rPr>
              <a:t>criação da Duplicata </a:t>
            </a:r>
            <a:r>
              <a:rPr lang="pt-BR" sz="2000" dirty="0" smtClean="0">
                <a:solidFill>
                  <a:srgbClr val="003366"/>
                </a:solidFill>
                <a:latin typeface="Trebuchet MS" panose="020B0603020202020204" pitchFamily="34" charset="0"/>
              </a:rPr>
              <a:t>escritural/eletrônica; Incluir </a:t>
            </a:r>
            <a:r>
              <a:rPr lang="pt-BR" sz="2000" dirty="0">
                <a:solidFill>
                  <a:srgbClr val="003366"/>
                </a:solidFill>
                <a:latin typeface="Trebuchet MS" panose="020B0603020202020204" pitchFamily="34" charset="0"/>
              </a:rPr>
              <a:t>a possibilidade do Registro das Duplicatas em uma Registradora, de acordo com Circular </a:t>
            </a:r>
            <a:r>
              <a:rPr lang="pt-BR" sz="2000" dirty="0" smtClean="0">
                <a:solidFill>
                  <a:srgbClr val="003366"/>
                </a:solidFill>
                <a:latin typeface="Trebuchet MS" panose="020B0603020202020204" pitchFamily="34" charset="0"/>
              </a:rPr>
              <a:t>3.743/15; Reconhecimento </a:t>
            </a:r>
            <a:r>
              <a:rPr lang="pt-BR" sz="2000" dirty="0">
                <a:solidFill>
                  <a:srgbClr val="003366"/>
                </a:solidFill>
                <a:latin typeface="Trebuchet MS" panose="020B0603020202020204" pitchFamily="34" charset="0"/>
              </a:rPr>
              <a:t>das Duplicatas como Ativo </a:t>
            </a:r>
            <a:r>
              <a:rPr lang="pt-BR" sz="2000" dirty="0" smtClean="0">
                <a:solidFill>
                  <a:srgbClr val="003366"/>
                </a:solidFill>
                <a:latin typeface="Trebuchet MS" panose="020B0603020202020204" pitchFamily="34" charset="0"/>
              </a:rPr>
              <a:t>Financeiro. </a:t>
            </a:r>
          </a:p>
          <a:p>
            <a:pPr marL="447675" indent="-180975" algn="just"/>
            <a:endParaRPr lang="pt-BR" sz="2000" dirty="0" smtClean="0">
              <a:solidFill>
                <a:srgbClr val="003366"/>
              </a:solidFill>
              <a:latin typeface="Trebuchet MS" panose="020B0603020202020204" pitchFamily="34" charset="0"/>
            </a:endParaRPr>
          </a:p>
          <a:p>
            <a:r>
              <a:rPr lang="pt-BR" sz="2000" b="1" dirty="0" smtClean="0">
                <a:solidFill>
                  <a:srgbClr val="002060"/>
                </a:solidFill>
                <a:latin typeface="Trebuchet MS" panose="020B0603020202020204" pitchFamily="34" charset="0"/>
              </a:rPr>
              <a:t>14. </a:t>
            </a:r>
            <a:r>
              <a:rPr lang="pt-BR" sz="2000" b="1" dirty="0">
                <a:solidFill>
                  <a:srgbClr val="003366"/>
                </a:solidFill>
                <a:latin typeface="Trebuchet MS" panose="020B0603020202020204" pitchFamily="34" charset="0"/>
              </a:rPr>
              <a:t>Compensação da 7ª e 8ª hora quando houver </a:t>
            </a:r>
            <a:r>
              <a:rPr lang="pt-BR" sz="2000" b="1" dirty="0" smtClean="0">
                <a:solidFill>
                  <a:srgbClr val="003366"/>
                </a:solidFill>
                <a:latin typeface="Trebuchet MS" panose="020B0603020202020204" pitchFamily="34" charset="0"/>
              </a:rPr>
              <a:t>a reversão </a:t>
            </a:r>
            <a:r>
              <a:rPr lang="pt-BR" sz="2000" b="1" dirty="0">
                <a:solidFill>
                  <a:srgbClr val="003366"/>
                </a:solidFill>
                <a:latin typeface="Trebuchet MS" panose="020B0603020202020204" pitchFamily="34" charset="0"/>
              </a:rPr>
              <a:t>do cargo de confiança </a:t>
            </a:r>
          </a:p>
          <a:p>
            <a:r>
              <a:rPr lang="pt-BR" sz="2000" dirty="0">
                <a:solidFill>
                  <a:prstClr val="black"/>
                </a:solidFill>
              </a:rPr>
              <a:t> </a:t>
            </a:r>
          </a:p>
          <a:p>
            <a:pPr marL="457200" indent="-457200">
              <a:buFont typeface="Arial" panose="020B0604020202020204" pitchFamily="34" charset="0"/>
              <a:buChar char="•"/>
            </a:pPr>
            <a:r>
              <a:rPr lang="pt-BR" sz="2000" dirty="0">
                <a:solidFill>
                  <a:srgbClr val="003366"/>
                </a:solidFill>
                <a:latin typeface="Trebuchet MS" panose="020B0603020202020204" pitchFamily="34" charset="0"/>
              </a:rPr>
              <a:t>Regulamentação de cabimento da compensação da condenação ao pagamento de 7ª e 8ª horas do bancário, quando houver reversão do cargo de confiança em ação trabalhista. Os objetivos </a:t>
            </a:r>
            <a:r>
              <a:rPr lang="pt-BR" sz="2000" dirty="0" smtClean="0">
                <a:solidFill>
                  <a:srgbClr val="003366"/>
                </a:solidFill>
                <a:latin typeface="Trebuchet MS" panose="020B0603020202020204" pitchFamily="34" charset="0"/>
              </a:rPr>
              <a:t>são </a:t>
            </a:r>
            <a:r>
              <a:rPr lang="pt-BR" sz="2000" dirty="0">
                <a:solidFill>
                  <a:srgbClr val="003366"/>
                </a:solidFill>
                <a:latin typeface="Trebuchet MS" panose="020B0603020202020204" pitchFamily="34" charset="0"/>
              </a:rPr>
              <a:t>equilibrar o contrato de </a:t>
            </a:r>
            <a:r>
              <a:rPr lang="pt-BR" sz="2000" dirty="0" smtClean="0">
                <a:solidFill>
                  <a:srgbClr val="003366"/>
                </a:solidFill>
                <a:latin typeface="Trebuchet MS" panose="020B0603020202020204" pitchFamily="34" charset="0"/>
              </a:rPr>
              <a:t>trabalho e </a:t>
            </a:r>
            <a:r>
              <a:rPr lang="pt-BR" sz="2000" dirty="0">
                <a:solidFill>
                  <a:srgbClr val="003366"/>
                </a:solidFill>
                <a:latin typeface="Trebuchet MS" panose="020B0603020202020204" pitchFamily="34" charset="0"/>
              </a:rPr>
              <a:t>evitar vantagens vultuosas injustificadas e injustas concedidas ao trabalhador. Aplicar os princípios da boa-fé e da função social do contrato e pacificar os litígios que assoberbam os Tribunais Regionais do Trabalho.</a:t>
            </a:r>
          </a:p>
          <a:p>
            <a:pPr marL="180975" indent="-180975" algn="just"/>
            <a:endParaRPr lang="pt-BR" sz="2000" b="1" dirty="0" smtClean="0">
              <a:solidFill>
                <a:srgbClr val="002060"/>
              </a:solidFill>
              <a:latin typeface="Trebuchet MS" panose="020B0603020202020204" pitchFamily="34" charset="0"/>
            </a:endParaRPr>
          </a:p>
          <a:p>
            <a:pPr marL="180975" indent="-180975" algn="just"/>
            <a:r>
              <a:rPr lang="pt-BR" sz="2000" b="1" dirty="0" smtClean="0">
                <a:solidFill>
                  <a:srgbClr val="002060"/>
                </a:solidFill>
                <a:latin typeface="Trebuchet MS" panose="020B0603020202020204" pitchFamily="34" charset="0"/>
              </a:rPr>
              <a:t> </a:t>
            </a:r>
            <a:endParaRPr lang="pt-BR" sz="2000" dirty="0">
              <a:solidFill>
                <a:srgbClr val="002060"/>
              </a:solidFill>
              <a:latin typeface="Trebuchet MS" panose="020B0603020202020204" pitchFamily="34" charset="0"/>
            </a:endParaRPr>
          </a:p>
        </p:txBody>
      </p:sp>
      <p:sp>
        <p:nvSpPr>
          <p:cNvPr id="7"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lIns="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spcBef>
                <a:spcPct val="0"/>
              </a:spcBef>
              <a:defRPr/>
            </a:pPr>
            <a:r>
              <a:rPr lang="pt-BR" sz="2400" dirty="0">
                <a:solidFill>
                  <a:srgbClr val="1F497D"/>
                </a:solidFill>
              </a:rPr>
              <a:t>Spread Bancário – Propostas  da FEBRABAN </a:t>
            </a:r>
          </a:p>
        </p:txBody>
      </p:sp>
      <p:sp>
        <p:nvSpPr>
          <p:cNvPr id="9" name="Espaço Reservado para Número de Slide 2"/>
          <p:cNvSpPr>
            <a:spLocks noGrp="1"/>
          </p:cNvSpPr>
          <p:nvPr>
            <p:ph type="sldNum" sz="quarter" idx="12"/>
          </p:nvPr>
        </p:nvSpPr>
        <p:spPr>
          <a:xfrm>
            <a:off x="6553200" y="6356350"/>
            <a:ext cx="2133600" cy="365125"/>
          </a:xfrm>
        </p:spPr>
        <p:txBody>
          <a:bodyPr/>
          <a:lstStyle/>
          <a:p>
            <a:fld id="{298137A4-986C-44B7-BC96-9776515981F1}" type="slidenum">
              <a:rPr lang="pt-BR" smtClean="0">
                <a:solidFill>
                  <a:prstClr val="black">
                    <a:tint val="75000"/>
                  </a:prstClr>
                </a:solidFill>
              </a:rPr>
              <a:pPr/>
              <a:t>26</a:t>
            </a:fld>
            <a:endParaRPr lang="pt-BR" dirty="0">
              <a:solidFill>
                <a:prstClr val="black">
                  <a:tint val="75000"/>
                </a:prstClr>
              </a:solidFill>
            </a:endParaRPr>
          </a:p>
        </p:txBody>
      </p:sp>
    </p:spTree>
    <p:extLst>
      <p:ext uri="{BB962C8B-B14F-4D97-AF65-F5344CB8AC3E}">
        <p14:creationId xmlns:p14="http://schemas.microsoft.com/office/powerpoint/2010/main" val="172841928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ext Box 14"/>
          <p:cNvSpPr txBox="1">
            <a:spLocks noChangeArrowheads="1"/>
          </p:cNvSpPr>
          <p:nvPr/>
        </p:nvSpPr>
        <p:spPr bwMode="auto">
          <a:xfrm>
            <a:off x="125415" y="3167390"/>
            <a:ext cx="3455987" cy="523220"/>
          </a:xfrm>
          <a:prstGeom prst="rect">
            <a:avLst/>
          </a:prstGeom>
          <a:noFill/>
          <a:ln w="9525">
            <a:noFill/>
            <a:miter lim="800000"/>
            <a:headEnd/>
            <a:tailEnd/>
          </a:ln>
        </p:spPr>
        <p:txBody>
          <a:bodyPr wrap="square">
            <a:spAutoFit/>
          </a:bodyPr>
          <a:lstStyle/>
          <a:p>
            <a:pPr eaLnBrk="0" hangingPunct="0">
              <a:spcBef>
                <a:spcPct val="0"/>
              </a:spcBef>
            </a:pPr>
            <a:r>
              <a:rPr lang="pt-BR" sz="2800" b="1" dirty="0">
                <a:solidFill>
                  <a:srgbClr val="0B336A"/>
                </a:solidFill>
                <a:latin typeface="Trebuchet MS" pitchFamily="34" charset="0"/>
              </a:rPr>
              <a:t>Muito obrigado!</a:t>
            </a:r>
          </a:p>
        </p:txBody>
      </p:sp>
    </p:spTree>
    <p:extLst>
      <p:ext uri="{BB962C8B-B14F-4D97-AF65-F5344CB8AC3E}">
        <p14:creationId xmlns:p14="http://schemas.microsoft.com/office/powerpoint/2010/main" val="406224060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lvl="0">
              <a:lnSpc>
                <a:spcPct val="80000"/>
              </a:lnSpc>
              <a:defRPr/>
            </a:pPr>
            <a:r>
              <a:rPr lang="pt-BR" sz="2800" dirty="0">
                <a:solidFill>
                  <a:srgbClr val="1F497D"/>
                </a:solidFill>
                <a:latin typeface="Calibri" panose="020F0502020204030204" pitchFamily="34" charset="0"/>
                <a:cs typeface="Calibri" panose="020F0502020204030204" pitchFamily="34" charset="0"/>
              </a:rPr>
              <a:t>Decomposição do spread: média 2011-2016</a:t>
            </a:r>
          </a:p>
        </p:txBody>
      </p:sp>
      <p:sp>
        <p:nvSpPr>
          <p:cNvPr id="7" name="CaixaDeTexto 6"/>
          <p:cNvSpPr txBox="1">
            <a:spLocks noChangeArrowheads="1"/>
          </p:cNvSpPr>
          <p:nvPr/>
        </p:nvSpPr>
        <p:spPr bwMode="auto">
          <a:xfrm>
            <a:off x="204027" y="663348"/>
            <a:ext cx="8688046" cy="707886"/>
          </a:xfrm>
          <a:prstGeom prst="rect">
            <a:avLst/>
          </a:prstGeom>
          <a:noFill/>
          <a:ln w="9525">
            <a:noFill/>
            <a:miter lim="800000"/>
            <a:headEnd/>
            <a:tailEnd/>
          </a:ln>
        </p:spPr>
        <p:txBody>
          <a:bodyPr wrap="square">
            <a:spAutoFit/>
          </a:bodyPr>
          <a:lstStyle/>
          <a:p>
            <a:pPr algn="just"/>
            <a:r>
              <a:rPr lang="pt-BR" sz="2000" dirty="0" smtClean="0">
                <a:solidFill>
                  <a:srgbClr val="003366"/>
                </a:solidFill>
              </a:rPr>
              <a:t>Levantamento do BC mostra que mais de 7</a:t>
            </a:r>
            <a:r>
              <a:rPr lang="pt-BR" sz="2000" dirty="0">
                <a:solidFill>
                  <a:srgbClr val="003366"/>
                </a:solidFill>
              </a:rPr>
              <a:t>5</a:t>
            </a:r>
            <a:r>
              <a:rPr lang="pt-BR" sz="2000" dirty="0" smtClean="0">
                <a:solidFill>
                  <a:srgbClr val="003366"/>
                </a:solidFill>
              </a:rPr>
              <a:t>% do spread total no período é explicado por inadimplência, custos, impostos e encargos</a:t>
            </a:r>
            <a:endParaRPr lang="pt-BR" sz="2000" dirty="0">
              <a:solidFill>
                <a:srgbClr val="003366"/>
              </a:solidFill>
            </a:endParaRPr>
          </a:p>
        </p:txBody>
      </p:sp>
      <p:sp>
        <p:nvSpPr>
          <p:cNvPr id="9" name="Line 16"/>
          <p:cNvSpPr>
            <a:spLocks noChangeShapeType="1"/>
          </p:cNvSpPr>
          <p:nvPr/>
        </p:nvSpPr>
        <p:spPr bwMode="auto">
          <a:xfrm>
            <a:off x="325432" y="2133600"/>
            <a:ext cx="8437568" cy="0"/>
          </a:xfrm>
          <a:prstGeom prst="line">
            <a:avLst/>
          </a:prstGeom>
          <a:noFill/>
          <a:ln w="127000" cap="rnd">
            <a:solidFill>
              <a:schemeClr val="bg1">
                <a:lumMod val="95000"/>
              </a:schemeClr>
            </a:solidFill>
            <a:bevel/>
            <a:headEnd/>
            <a:tailEnd/>
          </a:ln>
        </p:spPr>
        <p:txBody>
          <a:bodyPr wrap="square" lIns="0" tIns="0" rIns="0" bIns="0">
            <a:spAutoFit/>
          </a:bodyPr>
          <a:lstStyle/>
          <a:p>
            <a:pPr>
              <a:defRPr/>
            </a:pPr>
            <a:endParaRPr lang="pt-BR"/>
          </a:p>
        </p:txBody>
      </p:sp>
      <p:sp>
        <p:nvSpPr>
          <p:cNvPr id="11" name="Text Box 17"/>
          <p:cNvSpPr txBox="1">
            <a:spLocks noChangeArrowheads="1"/>
          </p:cNvSpPr>
          <p:nvPr/>
        </p:nvSpPr>
        <p:spPr bwMode="auto">
          <a:xfrm>
            <a:off x="935032" y="1745606"/>
            <a:ext cx="7218368" cy="357513"/>
          </a:xfrm>
          <a:prstGeom prst="rect">
            <a:avLst/>
          </a:prstGeom>
          <a:noFill/>
          <a:ln w="12700" algn="ctr">
            <a:noFill/>
            <a:miter lim="800000"/>
            <a:headEnd/>
            <a:tailEnd/>
          </a:ln>
        </p:spPr>
        <p:txBody>
          <a:bodyPr wrap="none" lIns="0" tIns="0" rIns="0" bIns="0"/>
          <a:lstStyle/>
          <a:p>
            <a:pPr indent="14288" algn="ctr" defTabSz="912813">
              <a:spcBef>
                <a:spcPct val="50000"/>
              </a:spcBef>
            </a:pPr>
            <a:r>
              <a:rPr lang="pt-BR" sz="2000" dirty="0">
                <a:solidFill>
                  <a:srgbClr val="003366"/>
                </a:solidFill>
              </a:rPr>
              <a:t>Decomposição do </a:t>
            </a:r>
            <a:r>
              <a:rPr lang="pt-BR" sz="2000" dirty="0" smtClean="0">
                <a:solidFill>
                  <a:srgbClr val="003366"/>
                </a:solidFill>
              </a:rPr>
              <a:t>Spread Total (100%)</a:t>
            </a:r>
            <a:endParaRPr lang="pt-BR" sz="1400" dirty="0">
              <a:solidFill>
                <a:srgbClr val="003366"/>
              </a:solidFill>
              <a:latin typeface="Calibri" pitchFamily="34" charset="0"/>
            </a:endParaRPr>
          </a:p>
        </p:txBody>
      </p:sp>
      <p:sp>
        <p:nvSpPr>
          <p:cNvPr id="14" name="Text Box 5"/>
          <p:cNvSpPr txBox="1">
            <a:spLocks noChangeArrowheads="1"/>
          </p:cNvSpPr>
          <p:nvPr/>
        </p:nvSpPr>
        <p:spPr bwMode="auto">
          <a:xfrm>
            <a:off x="1008063" y="6426200"/>
            <a:ext cx="76596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defRPr sz="3000" b="1">
                <a:solidFill>
                  <a:schemeClr val="tx1"/>
                </a:solidFill>
                <a:latin typeface="Arial" charset="0"/>
              </a:defRPr>
            </a:lvl1pPr>
            <a:lvl2pPr marL="742950" indent="-285750">
              <a:defRPr sz="3000" b="1">
                <a:solidFill>
                  <a:schemeClr val="tx1"/>
                </a:solidFill>
                <a:latin typeface="Arial" charset="0"/>
              </a:defRPr>
            </a:lvl2pPr>
            <a:lvl3pPr marL="1143000" indent="-228600">
              <a:defRPr sz="3000" b="1">
                <a:solidFill>
                  <a:schemeClr val="tx1"/>
                </a:solidFill>
                <a:latin typeface="Arial" charset="0"/>
              </a:defRPr>
            </a:lvl3pPr>
            <a:lvl4pPr marL="1600200" indent="-228600">
              <a:defRPr sz="3000" b="1">
                <a:solidFill>
                  <a:schemeClr val="tx1"/>
                </a:solidFill>
                <a:latin typeface="Arial" charset="0"/>
              </a:defRPr>
            </a:lvl4pPr>
            <a:lvl5pPr marL="2057400" indent="-228600">
              <a:defRPr sz="3000" b="1">
                <a:solidFill>
                  <a:schemeClr val="tx1"/>
                </a:solidFill>
                <a:latin typeface="Arial" charset="0"/>
              </a:defRPr>
            </a:lvl5pPr>
            <a:lvl6pPr marL="2514600" indent="-228600" eaLnBrk="0" fontAlgn="base" hangingPunct="0">
              <a:spcBef>
                <a:spcPct val="0"/>
              </a:spcBef>
              <a:spcAft>
                <a:spcPct val="0"/>
              </a:spcAft>
              <a:defRPr sz="3000" b="1">
                <a:solidFill>
                  <a:schemeClr val="tx1"/>
                </a:solidFill>
                <a:latin typeface="Arial" charset="0"/>
              </a:defRPr>
            </a:lvl6pPr>
            <a:lvl7pPr marL="2971800" indent="-228600" eaLnBrk="0" fontAlgn="base" hangingPunct="0">
              <a:spcBef>
                <a:spcPct val="0"/>
              </a:spcBef>
              <a:spcAft>
                <a:spcPct val="0"/>
              </a:spcAft>
              <a:defRPr sz="3000" b="1">
                <a:solidFill>
                  <a:schemeClr val="tx1"/>
                </a:solidFill>
                <a:latin typeface="Arial" charset="0"/>
              </a:defRPr>
            </a:lvl7pPr>
            <a:lvl8pPr marL="3429000" indent="-228600" eaLnBrk="0" fontAlgn="base" hangingPunct="0">
              <a:spcBef>
                <a:spcPct val="0"/>
              </a:spcBef>
              <a:spcAft>
                <a:spcPct val="0"/>
              </a:spcAft>
              <a:defRPr sz="3000" b="1">
                <a:solidFill>
                  <a:schemeClr val="tx1"/>
                </a:solidFill>
                <a:latin typeface="Arial" charset="0"/>
              </a:defRPr>
            </a:lvl8pPr>
            <a:lvl9pPr marL="3886200" indent="-228600" eaLnBrk="0" fontAlgn="base" hangingPunct="0">
              <a:spcBef>
                <a:spcPct val="0"/>
              </a:spcBef>
              <a:spcAft>
                <a:spcPct val="0"/>
              </a:spcAft>
              <a:defRPr sz="3000" b="1">
                <a:solidFill>
                  <a:schemeClr val="tx1"/>
                </a:solidFill>
                <a:latin typeface="Arial" charset="0"/>
              </a:defRPr>
            </a:lvl9pPr>
          </a:lstStyle>
          <a:p>
            <a:pPr eaLnBrk="1" hangingPunct="1">
              <a:spcBef>
                <a:spcPct val="50000"/>
              </a:spcBef>
            </a:pPr>
            <a:r>
              <a:rPr lang="pt-BR" altLang="pt-BR" sz="1000" b="0" dirty="0">
                <a:solidFill>
                  <a:srgbClr val="000000"/>
                </a:solidFill>
              </a:rPr>
              <a:t>Fonte: </a:t>
            </a:r>
            <a:r>
              <a:rPr lang="pt-BR" altLang="pt-BR" sz="1000" b="0" dirty="0" smtClean="0">
                <a:solidFill>
                  <a:srgbClr val="000000"/>
                </a:solidFill>
              </a:rPr>
              <a:t>BCB – Painel Projeto Spread bancário (2017)</a:t>
            </a:r>
            <a:endParaRPr lang="pt-BR" altLang="pt-BR" sz="1000" b="0" dirty="0">
              <a:solidFill>
                <a:srgbClr val="000000"/>
              </a:solidFill>
            </a:endParaRPr>
          </a:p>
        </p:txBody>
      </p:sp>
      <p:pic>
        <p:nvPicPr>
          <p:cNvPr id="3" name="Imagem 2"/>
          <p:cNvPicPr>
            <a:picLocks noChangeAspect="1"/>
          </p:cNvPicPr>
          <p:nvPr/>
        </p:nvPicPr>
        <p:blipFill>
          <a:blip r:embed="rId2"/>
          <a:stretch>
            <a:fillRect/>
          </a:stretch>
        </p:blipFill>
        <p:spPr>
          <a:xfrm>
            <a:off x="1924668" y="2234159"/>
            <a:ext cx="5239096" cy="4106952"/>
          </a:xfrm>
          <a:prstGeom prst="rect">
            <a:avLst/>
          </a:prstGeom>
        </p:spPr>
      </p:pic>
      <p:sp>
        <p:nvSpPr>
          <p:cNvPr id="17" name="Espaço Reservado para Número de Slide 1"/>
          <p:cNvSpPr>
            <a:spLocks noGrp="1"/>
          </p:cNvSpPr>
          <p:nvPr>
            <p:ph type="sldNum" sz="quarter" idx="4"/>
          </p:nvPr>
        </p:nvSpPr>
        <p:spPr>
          <a:xfrm>
            <a:off x="6553200" y="6356350"/>
            <a:ext cx="2133600" cy="365125"/>
          </a:xfrm>
        </p:spPr>
        <p:txBody>
          <a:bodyPr/>
          <a:lstStyle/>
          <a:p>
            <a:fld id="{298137A4-986C-44B7-BC96-9776515981F1}" type="slidenum">
              <a:rPr lang="pt-BR" smtClean="0"/>
              <a:pPr/>
              <a:t>3</a:t>
            </a:fld>
            <a:endParaRPr lang="pt-BR" dirty="0"/>
          </a:p>
        </p:txBody>
      </p:sp>
    </p:spTree>
    <p:extLst>
      <p:ext uri="{BB962C8B-B14F-4D97-AF65-F5344CB8AC3E}">
        <p14:creationId xmlns:p14="http://schemas.microsoft.com/office/powerpoint/2010/main" val="29104476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a:lnSpc>
                <a:spcPct val="80000"/>
              </a:lnSpc>
              <a:defRPr/>
            </a:pPr>
            <a:r>
              <a:rPr lang="pt-BR" sz="2800" dirty="0">
                <a:solidFill>
                  <a:srgbClr val="1F497D"/>
                </a:solidFill>
                <a:cs typeface="Calibri" panose="020F0502020204030204" pitchFamily="34" charset="0"/>
              </a:rPr>
              <a:t>Decomposição do spread: Taxa média 2011-2016</a:t>
            </a:r>
          </a:p>
        </p:txBody>
      </p:sp>
      <p:sp>
        <p:nvSpPr>
          <p:cNvPr id="12" name="Espaço Reservado para Número de Slide 1"/>
          <p:cNvSpPr txBox="1">
            <a:spLocks/>
          </p:cNvSpPr>
          <p:nvPr/>
        </p:nvSpPr>
        <p:spPr>
          <a:xfrm>
            <a:off x="8666112" y="6502766"/>
            <a:ext cx="442392" cy="332656"/>
          </a:xfrm>
          <a:prstGeom prst="rect">
            <a:avLst/>
          </a:prstGeom>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E5F3301-1A0C-4912-9192-D8D187E4C510}" type="slidenum">
              <a:rPr lang="pt-BR" sz="1200" smtClean="0">
                <a:solidFill>
                  <a:srgbClr val="000000"/>
                </a:solidFill>
              </a:rPr>
              <a:pPr>
                <a:defRPr/>
              </a:pPr>
              <a:t>4</a:t>
            </a:fld>
            <a:endParaRPr lang="pt-BR" sz="1200" dirty="0">
              <a:solidFill>
                <a:srgbClr val="000000"/>
              </a:solidFill>
            </a:endParaRPr>
          </a:p>
        </p:txBody>
      </p:sp>
      <p:sp>
        <p:nvSpPr>
          <p:cNvPr id="7" name="CaixaDeTexto 6"/>
          <p:cNvSpPr txBox="1">
            <a:spLocks noChangeArrowheads="1"/>
          </p:cNvSpPr>
          <p:nvPr/>
        </p:nvSpPr>
        <p:spPr bwMode="auto">
          <a:xfrm>
            <a:off x="204027" y="663348"/>
            <a:ext cx="8688046" cy="707886"/>
          </a:xfrm>
          <a:prstGeom prst="rect">
            <a:avLst/>
          </a:prstGeom>
          <a:noFill/>
          <a:ln w="9525">
            <a:noFill/>
            <a:miter lim="800000"/>
            <a:headEnd/>
            <a:tailEnd/>
          </a:ln>
        </p:spPr>
        <p:txBody>
          <a:bodyPr wrap="square">
            <a:spAutoFit/>
          </a:bodyPr>
          <a:lstStyle/>
          <a:p>
            <a:pPr algn="just"/>
            <a:r>
              <a:rPr lang="pt-BR" sz="2000" spc="-20" dirty="0" smtClean="0">
                <a:solidFill>
                  <a:srgbClr val="003366"/>
                </a:solidFill>
              </a:rPr>
              <a:t>Lucros correspondem </a:t>
            </a:r>
            <a:r>
              <a:rPr lang="pt-BR" sz="2000" spc="-20" dirty="0">
                <a:solidFill>
                  <a:srgbClr val="003366"/>
                </a:solidFill>
              </a:rPr>
              <a:t>a </a:t>
            </a:r>
            <a:r>
              <a:rPr lang="pt-BR" sz="2000" spc="-20" dirty="0" smtClean="0">
                <a:solidFill>
                  <a:srgbClr val="003366"/>
                </a:solidFill>
              </a:rPr>
              <a:t>4,0 </a:t>
            </a:r>
            <a:r>
              <a:rPr lang="pt-BR" sz="2000" spc="-20" dirty="0">
                <a:solidFill>
                  <a:srgbClr val="003366"/>
                </a:solidFill>
              </a:rPr>
              <a:t>p.p. no </a:t>
            </a:r>
            <a:r>
              <a:rPr lang="pt-BR" sz="2000" spc="-20" dirty="0" smtClean="0">
                <a:solidFill>
                  <a:srgbClr val="003366"/>
                </a:solidFill>
              </a:rPr>
              <a:t>spread total</a:t>
            </a:r>
            <a:r>
              <a:rPr lang="pt-BR" sz="2000" spc="-20" dirty="0">
                <a:solidFill>
                  <a:srgbClr val="003366"/>
                </a:solidFill>
              </a:rPr>
              <a:t> </a:t>
            </a:r>
            <a:r>
              <a:rPr lang="pt-BR" sz="2000" spc="-20" dirty="0" smtClean="0">
                <a:solidFill>
                  <a:srgbClr val="003366"/>
                </a:solidFill>
              </a:rPr>
              <a:t>de 17,3 p.p. (23% do spread bruto) </a:t>
            </a:r>
          </a:p>
          <a:p>
            <a:pPr algn="just"/>
            <a:r>
              <a:rPr lang="pt-BR" sz="2000" spc="-20" dirty="0" smtClean="0">
                <a:solidFill>
                  <a:srgbClr val="003366"/>
                </a:solidFill>
              </a:rPr>
              <a:t>Caso </a:t>
            </a:r>
            <a:r>
              <a:rPr lang="pt-BR" sz="2000" spc="-20" dirty="0">
                <a:solidFill>
                  <a:srgbClr val="003366"/>
                </a:solidFill>
              </a:rPr>
              <a:t>a </a:t>
            </a:r>
            <a:r>
              <a:rPr lang="pt-BR" sz="2000" spc="-20" dirty="0" smtClean="0">
                <a:solidFill>
                  <a:srgbClr val="003366"/>
                </a:solidFill>
              </a:rPr>
              <a:t>margem de lucro </a:t>
            </a:r>
            <a:r>
              <a:rPr lang="pt-BR" sz="2000" spc="-20" dirty="0">
                <a:solidFill>
                  <a:srgbClr val="003366"/>
                </a:solidFill>
              </a:rPr>
              <a:t>fosse zero, spread </a:t>
            </a:r>
            <a:r>
              <a:rPr lang="pt-BR" sz="2000" spc="-20" dirty="0" smtClean="0">
                <a:solidFill>
                  <a:srgbClr val="003366"/>
                </a:solidFill>
              </a:rPr>
              <a:t>total ainda seria 13,3 </a:t>
            </a:r>
            <a:r>
              <a:rPr lang="pt-BR" sz="2000" spc="-20" dirty="0">
                <a:solidFill>
                  <a:srgbClr val="003366"/>
                </a:solidFill>
              </a:rPr>
              <a:t>p.p.</a:t>
            </a:r>
          </a:p>
        </p:txBody>
      </p:sp>
      <p:sp>
        <p:nvSpPr>
          <p:cNvPr id="9" name="Line 16"/>
          <p:cNvSpPr>
            <a:spLocks noChangeShapeType="1"/>
          </p:cNvSpPr>
          <p:nvPr/>
        </p:nvSpPr>
        <p:spPr bwMode="auto">
          <a:xfrm>
            <a:off x="325432" y="2133600"/>
            <a:ext cx="8437568" cy="0"/>
          </a:xfrm>
          <a:prstGeom prst="line">
            <a:avLst/>
          </a:prstGeom>
          <a:noFill/>
          <a:ln w="127000" cap="rnd">
            <a:solidFill>
              <a:schemeClr val="bg1">
                <a:lumMod val="95000"/>
              </a:schemeClr>
            </a:solidFill>
            <a:bevel/>
            <a:headEnd/>
            <a:tailEnd/>
          </a:ln>
        </p:spPr>
        <p:txBody>
          <a:bodyPr wrap="square" lIns="0" tIns="0" rIns="0" bIns="0">
            <a:spAutoFit/>
          </a:bodyPr>
          <a:lstStyle/>
          <a:p>
            <a:pPr>
              <a:defRPr/>
            </a:pPr>
            <a:endParaRPr lang="pt-BR">
              <a:solidFill>
                <a:srgbClr val="000000"/>
              </a:solidFill>
            </a:endParaRPr>
          </a:p>
        </p:txBody>
      </p:sp>
      <p:sp>
        <p:nvSpPr>
          <p:cNvPr id="11" name="Text Box 17"/>
          <p:cNvSpPr txBox="1">
            <a:spLocks noChangeArrowheads="1"/>
          </p:cNvSpPr>
          <p:nvPr/>
        </p:nvSpPr>
        <p:spPr bwMode="auto">
          <a:xfrm>
            <a:off x="935032" y="1745606"/>
            <a:ext cx="7218368" cy="357513"/>
          </a:xfrm>
          <a:prstGeom prst="rect">
            <a:avLst/>
          </a:prstGeom>
          <a:noFill/>
          <a:ln w="12700" algn="ctr">
            <a:noFill/>
            <a:miter lim="800000"/>
            <a:headEnd/>
            <a:tailEnd/>
          </a:ln>
        </p:spPr>
        <p:txBody>
          <a:bodyPr wrap="none" lIns="0" tIns="0" rIns="0" bIns="0"/>
          <a:lstStyle/>
          <a:p>
            <a:pPr indent="14288" algn="ctr" defTabSz="912813">
              <a:spcBef>
                <a:spcPct val="50000"/>
              </a:spcBef>
            </a:pPr>
            <a:r>
              <a:rPr lang="pt-BR" sz="2000" dirty="0">
                <a:solidFill>
                  <a:srgbClr val="003366"/>
                </a:solidFill>
              </a:rPr>
              <a:t>Decomposição do </a:t>
            </a:r>
            <a:r>
              <a:rPr lang="pt-BR" sz="2000" dirty="0" smtClean="0">
                <a:solidFill>
                  <a:srgbClr val="003366"/>
                </a:solidFill>
              </a:rPr>
              <a:t>Spread Total (p.p.)</a:t>
            </a:r>
            <a:endParaRPr lang="pt-BR" sz="1400" dirty="0">
              <a:solidFill>
                <a:srgbClr val="003366"/>
              </a:solidFill>
            </a:endParaRPr>
          </a:p>
        </p:txBody>
      </p:sp>
      <p:sp>
        <p:nvSpPr>
          <p:cNvPr id="14" name="Text Box 5"/>
          <p:cNvSpPr txBox="1">
            <a:spLocks noChangeArrowheads="1"/>
          </p:cNvSpPr>
          <p:nvPr/>
        </p:nvSpPr>
        <p:spPr bwMode="auto">
          <a:xfrm>
            <a:off x="1008063" y="6426200"/>
            <a:ext cx="76596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defRPr sz="3000" b="1">
                <a:solidFill>
                  <a:schemeClr val="tx1"/>
                </a:solidFill>
                <a:latin typeface="Arial" charset="0"/>
              </a:defRPr>
            </a:lvl1pPr>
            <a:lvl2pPr marL="742950" indent="-285750">
              <a:defRPr sz="3000" b="1">
                <a:solidFill>
                  <a:schemeClr val="tx1"/>
                </a:solidFill>
                <a:latin typeface="Arial" charset="0"/>
              </a:defRPr>
            </a:lvl2pPr>
            <a:lvl3pPr marL="1143000" indent="-228600">
              <a:defRPr sz="3000" b="1">
                <a:solidFill>
                  <a:schemeClr val="tx1"/>
                </a:solidFill>
                <a:latin typeface="Arial" charset="0"/>
              </a:defRPr>
            </a:lvl3pPr>
            <a:lvl4pPr marL="1600200" indent="-228600">
              <a:defRPr sz="3000" b="1">
                <a:solidFill>
                  <a:schemeClr val="tx1"/>
                </a:solidFill>
                <a:latin typeface="Arial" charset="0"/>
              </a:defRPr>
            </a:lvl4pPr>
            <a:lvl5pPr marL="2057400" indent="-228600">
              <a:defRPr sz="3000" b="1">
                <a:solidFill>
                  <a:schemeClr val="tx1"/>
                </a:solidFill>
                <a:latin typeface="Arial" charset="0"/>
              </a:defRPr>
            </a:lvl5pPr>
            <a:lvl6pPr marL="2514600" indent="-228600" eaLnBrk="0" fontAlgn="base" hangingPunct="0">
              <a:spcBef>
                <a:spcPct val="0"/>
              </a:spcBef>
              <a:spcAft>
                <a:spcPct val="0"/>
              </a:spcAft>
              <a:defRPr sz="3000" b="1">
                <a:solidFill>
                  <a:schemeClr val="tx1"/>
                </a:solidFill>
                <a:latin typeface="Arial" charset="0"/>
              </a:defRPr>
            </a:lvl6pPr>
            <a:lvl7pPr marL="2971800" indent="-228600" eaLnBrk="0" fontAlgn="base" hangingPunct="0">
              <a:spcBef>
                <a:spcPct val="0"/>
              </a:spcBef>
              <a:spcAft>
                <a:spcPct val="0"/>
              </a:spcAft>
              <a:defRPr sz="3000" b="1">
                <a:solidFill>
                  <a:schemeClr val="tx1"/>
                </a:solidFill>
                <a:latin typeface="Arial" charset="0"/>
              </a:defRPr>
            </a:lvl7pPr>
            <a:lvl8pPr marL="3429000" indent="-228600" eaLnBrk="0" fontAlgn="base" hangingPunct="0">
              <a:spcBef>
                <a:spcPct val="0"/>
              </a:spcBef>
              <a:spcAft>
                <a:spcPct val="0"/>
              </a:spcAft>
              <a:defRPr sz="3000" b="1">
                <a:solidFill>
                  <a:schemeClr val="tx1"/>
                </a:solidFill>
                <a:latin typeface="Arial" charset="0"/>
              </a:defRPr>
            </a:lvl8pPr>
            <a:lvl9pPr marL="3886200" indent="-228600" eaLnBrk="0" fontAlgn="base" hangingPunct="0">
              <a:spcBef>
                <a:spcPct val="0"/>
              </a:spcBef>
              <a:spcAft>
                <a:spcPct val="0"/>
              </a:spcAft>
              <a:defRPr sz="3000" b="1">
                <a:solidFill>
                  <a:schemeClr val="tx1"/>
                </a:solidFill>
                <a:latin typeface="Arial" charset="0"/>
              </a:defRPr>
            </a:lvl9pPr>
          </a:lstStyle>
          <a:p>
            <a:pPr>
              <a:spcBef>
                <a:spcPct val="50000"/>
              </a:spcBef>
            </a:pPr>
            <a:r>
              <a:rPr lang="pt-BR" altLang="pt-BR" sz="1000" b="0" dirty="0">
                <a:solidFill>
                  <a:srgbClr val="000000"/>
                </a:solidFill>
              </a:rPr>
              <a:t>Fonte: </a:t>
            </a:r>
            <a:r>
              <a:rPr lang="pt-BR" altLang="pt-BR" sz="1000" b="0" dirty="0" smtClean="0">
                <a:solidFill>
                  <a:srgbClr val="000000"/>
                </a:solidFill>
              </a:rPr>
              <a:t>BCB – Painel Projeto Spread bancário (2017)</a:t>
            </a:r>
            <a:endParaRPr lang="pt-BR" altLang="pt-BR" sz="1000" b="0" dirty="0">
              <a:solidFill>
                <a:srgbClr val="000000"/>
              </a:solidFill>
            </a:endParaRPr>
          </a:p>
        </p:txBody>
      </p:sp>
      <p:pic>
        <p:nvPicPr>
          <p:cNvPr id="4" name="Imagem 3"/>
          <p:cNvPicPr>
            <a:picLocks noChangeAspect="1"/>
          </p:cNvPicPr>
          <p:nvPr/>
        </p:nvPicPr>
        <p:blipFill>
          <a:blip r:embed="rId2"/>
          <a:stretch>
            <a:fillRect/>
          </a:stretch>
        </p:blipFill>
        <p:spPr>
          <a:xfrm>
            <a:off x="1401190" y="2208112"/>
            <a:ext cx="6286051" cy="4148240"/>
          </a:xfrm>
          <a:prstGeom prst="rect">
            <a:avLst/>
          </a:prstGeom>
        </p:spPr>
      </p:pic>
    </p:spTree>
    <p:extLst>
      <p:ext uri="{BB962C8B-B14F-4D97-AF65-F5344CB8AC3E}">
        <p14:creationId xmlns:p14="http://schemas.microsoft.com/office/powerpoint/2010/main" val="31178343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32893" name="think-cell Slide" r:id="rId38" imgW="444" imgH="443" progId="TCLayout.ActiveDocument.1">
                  <p:embed/>
                </p:oleObj>
              </mc:Choice>
              <mc:Fallback>
                <p:oleObj name="think-cell Slide" r:id="rId38" imgW="444" imgH="443" progId="TCLayout.ActiveDocument.1">
                  <p:embed/>
                  <p:pic>
                    <p:nvPicPr>
                      <p:cNvPr id="0" name=""/>
                      <p:cNvPicPr/>
                      <p:nvPr/>
                    </p:nvPicPr>
                    <p:blipFill>
                      <a:blip r:embed="rId39"/>
                      <a:stretch>
                        <a:fillRect/>
                      </a:stretch>
                    </p:blipFill>
                    <p:spPr>
                      <a:xfrm>
                        <a:off x="1192" y="858442"/>
                        <a:ext cx="1190" cy="1190"/>
                      </a:xfrm>
                      <a:prstGeom prst="rect">
                        <a:avLst/>
                      </a:prstGeom>
                    </p:spPr>
                  </p:pic>
                </p:oleObj>
              </mc:Fallback>
            </mc:AlternateContent>
          </a:graphicData>
        </a:graphic>
      </p:graphicFrame>
      <p:sp>
        <p:nvSpPr>
          <p:cNvPr id="27" name="Rectangle 26" hidden="1"/>
          <p:cNvSpPr/>
          <p:nvPr>
            <p:custDataLst>
              <p:tags r:id="rId3"/>
            </p:custDataLst>
          </p:nvPr>
        </p:nvSpPr>
        <p:spPr bwMode="auto">
          <a:xfrm>
            <a:off x="0" y="85725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pt-BR" sz="900" dirty="0">
              <a:solidFill>
                <a:prstClr val="white"/>
              </a:solidFill>
              <a:sym typeface="Arial" panose="020B0604020202020204" pitchFamily="34" charset="0"/>
            </a:endParaRPr>
          </a:p>
        </p:txBody>
      </p:sp>
      <p:sp>
        <p:nvSpPr>
          <p:cNvPr id="2" name="Title 1"/>
          <p:cNvSpPr>
            <a:spLocks noGrp="1"/>
          </p:cNvSpPr>
          <p:nvPr>
            <p:ph type="title"/>
          </p:nvPr>
        </p:nvSpPr>
        <p:spPr>
          <a:xfrm>
            <a:off x="0" y="0"/>
            <a:ext cx="9144000" cy="1058400"/>
          </a:xfr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a:effectLst/>
        </p:spPr>
        <p:txBody>
          <a:bodyPr vert="horz" wrap="square" lIns="0" tIns="0" rIns="0" bIns="0" numCol="1" anchor="ctr" anchorCtr="0" compatLnSpc="1">
            <a:prstTxWarp prst="textNoShape">
              <a:avLst/>
            </a:prstTxWarp>
          </a:bodyPr>
          <a:lstStyle/>
          <a:p>
            <a:pPr marL="185738">
              <a:lnSpc>
                <a:spcPct val="80000"/>
              </a:lnSpc>
            </a:pPr>
            <a:r>
              <a:rPr lang="pt-BR" sz="2800" b="1" kern="1200" dirty="0">
                <a:solidFill>
                  <a:srgbClr val="1F497D"/>
                </a:solidFill>
                <a:latin typeface="Calibri" panose="020F0502020204030204" pitchFamily="34" charset="0"/>
                <a:ea typeface="+mn-ea"/>
                <a:cs typeface="Calibri" panose="020F0502020204030204" pitchFamily="34" charset="0"/>
              </a:rPr>
              <a:t>O custo de PDD por ativo de crédito no Brasil é o maior entre todos os países</a:t>
            </a:r>
          </a:p>
        </p:txBody>
      </p:sp>
      <p:graphicFrame>
        <p:nvGraphicFramePr>
          <p:cNvPr id="4" name="Object 3"/>
          <p:cNvGraphicFramePr>
            <a:graphicFrameLocks/>
          </p:cNvGraphicFramePr>
          <p:nvPr>
            <p:custDataLst>
              <p:tags r:id="rId4"/>
            </p:custDataLst>
            <p:extLst/>
          </p:nvPr>
        </p:nvGraphicFramePr>
        <p:xfrm>
          <a:off x="6172200" y="2400300"/>
          <a:ext cx="2114649" cy="3107610"/>
        </p:xfrm>
        <a:graphic>
          <a:graphicData uri="http://schemas.openxmlformats.org/presentationml/2006/ole">
            <mc:AlternateContent xmlns:mc="http://schemas.openxmlformats.org/markup-compatibility/2006">
              <mc:Choice xmlns:v="urn:schemas-microsoft-com:vml" Requires="v">
                <p:oleObj spid="_x0000_s32894" name="Chart" r:id="rId40" imgW="2819310" imgH="4143474" progId="MSGraph.Chart.8">
                  <p:embed followColorScheme="full"/>
                </p:oleObj>
              </mc:Choice>
              <mc:Fallback>
                <p:oleObj name="Chart" r:id="rId40" imgW="2819310" imgH="4143474" progId="MSGraph.Chart.8">
                  <p:embed followColorScheme="full"/>
                  <p:pic>
                    <p:nvPicPr>
                      <p:cNvPr id="0" name=""/>
                      <p:cNvPicPr/>
                      <p:nvPr/>
                    </p:nvPicPr>
                    <p:blipFill>
                      <a:blip r:embed="rId41"/>
                      <a:stretch>
                        <a:fillRect/>
                      </a:stretch>
                    </p:blipFill>
                    <p:spPr>
                      <a:xfrm>
                        <a:off x="6172200" y="2400300"/>
                        <a:ext cx="2114649" cy="3107610"/>
                      </a:xfrm>
                      <a:prstGeom prst="rect">
                        <a:avLst/>
                      </a:prstGeom>
                    </p:spPr>
                  </p:pic>
                </p:oleObj>
              </mc:Fallback>
            </mc:AlternateContent>
          </a:graphicData>
        </a:graphic>
      </p:graphicFrame>
      <p:cxnSp>
        <p:nvCxnSpPr>
          <p:cNvPr id="8" name="Straight Connector 7"/>
          <p:cNvCxnSpPr/>
          <p:nvPr>
            <p:custDataLst>
              <p:tags r:id="rId5"/>
            </p:custDataLst>
          </p:nvPr>
        </p:nvCxnSpPr>
        <p:spPr bwMode="gray">
          <a:xfrm>
            <a:off x="6707981" y="2719387"/>
            <a:ext cx="0" cy="80963"/>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6"/>
            </p:custDataLst>
          </p:nvPr>
        </p:nvCxnSpPr>
        <p:spPr bwMode="gray">
          <a:xfrm>
            <a:off x="6707981" y="2543175"/>
            <a:ext cx="0" cy="39291"/>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7"/>
            </p:custDataLst>
          </p:nvPr>
        </p:nvCxnSpPr>
        <p:spPr bwMode="gray">
          <a:xfrm>
            <a:off x="6707981" y="3812381"/>
            <a:ext cx="0" cy="1581150"/>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8"/>
            </p:custDataLst>
          </p:nvPr>
        </p:nvCxnSpPr>
        <p:spPr bwMode="gray">
          <a:xfrm>
            <a:off x="6707981" y="2937272"/>
            <a:ext cx="0" cy="80963"/>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9"/>
            </p:custDataLst>
          </p:nvPr>
        </p:nvCxnSpPr>
        <p:spPr bwMode="gray">
          <a:xfrm>
            <a:off x="6707981" y="3594497"/>
            <a:ext cx="0" cy="80963"/>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0"/>
            </p:custDataLst>
          </p:nvPr>
        </p:nvCxnSpPr>
        <p:spPr bwMode="gray">
          <a:xfrm>
            <a:off x="6707981" y="3155157"/>
            <a:ext cx="0" cy="84535"/>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1"/>
            </p:custDataLst>
          </p:nvPr>
        </p:nvCxnSpPr>
        <p:spPr bwMode="gray">
          <a:xfrm>
            <a:off x="6707981" y="3376612"/>
            <a:ext cx="0" cy="80963"/>
          </a:xfrm>
          <a:prstGeom prst="line">
            <a:avLst/>
          </a:prstGeom>
          <a:ln w="9525">
            <a:solidFill>
              <a:srgbClr val="C0000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7" name="Arrow: Right 6"/>
          <p:cNvSpPr/>
          <p:nvPr>
            <p:custDataLst>
              <p:tags r:id="rId12"/>
            </p:custDataLst>
          </p:nvPr>
        </p:nvSpPr>
        <p:spPr bwMode="auto">
          <a:xfrm rot="16200000">
            <a:off x="6660356" y="5422106"/>
            <a:ext cx="96441" cy="114300"/>
          </a:xfrm>
          <a:prstGeom prst="rightArrow">
            <a:avLst>
              <a:gd name="adj1" fmla="val 100000"/>
              <a:gd name="adj2" fmla="val 100000"/>
            </a:avLst>
          </a:prstGeom>
          <a:solidFill>
            <a:schemeClr val="tx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dirty="0">
              <a:solidFill>
                <a:prstClr val="white"/>
              </a:solidFill>
            </a:endParaRPr>
          </a:p>
        </p:txBody>
      </p:sp>
      <p:sp>
        <p:nvSpPr>
          <p:cNvPr id="19" name="Rectangle 18"/>
          <p:cNvSpPr>
            <a:spLocks noGrp="1" noChangeArrowheads="1"/>
          </p:cNvSpPr>
          <p:nvPr>
            <p:custDataLst>
              <p:tags r:id="rId13"/>
            </p:custDataLst>
          </p:nvPr>
        </p:nvSpPr>
        <p:spPr bwMode="auto">
          <a:xfrm>
            <a:off x="6578204" y="5566173"/>
            <a:ext cx="259556"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ctr">
              <a:spcBef>
                <a:spcPct val="0"/>
              </a:spcBef>
              <a:buNone/>
            </a:pPr>
            <a:fld id="{201B595E-CD74-4543-96B2-E3B071F6EB82}" type="datetime'''''''''''1,''''1''''%'''''''''''''''''''''''''''''''''">
              <a:rPr lang="pt-BR" altLang="en-US" sz="900"/>
              <a:pPr marL="0" indent="0" algn="ctr">
                <a:spcBef>
                  <a:spcPct val="0"/>
                </a:spcBef>
                <a:buNone/>
              </a:pPr>
              <a:t>1,1%</a:t>
            </a:fld>
            <a:endParaRPr lang="pt-BR" sz="900" dirty="0">
              <a:sym typeface="+mn-lt"/>
            </a:endParaRPr>
          </a:p>
        </p:txBody>
      </p:sp>
      <p:sp>
        <p:nvSpPr>
          <p:cNvPr id="24" name="Rectangle 23"/>
          <p:cNvSpPr>
            <a:spLocks noGrp="1" noChangeArrowheads="1"/>
          </p:cNvSpPr>
          <p:nvPr>
            <p:custDataLst>
              <p:tags r:id="rId14"/>
            </p:custDataLst>
          </p:nvPr>
        </p:nvSpPr>
        <p:spPr bwMode="auto">
          <a:xfrm>
            <a:off x="5985273" y="5211367"/>
            <a:ext cx="2845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E8742AEC-7699-40C5-8F8F-76BDB3EDFE28}" type="datetime'''B''''''''''''''''''''''r''''a''''''''''s''i''''l'''''">
              <a:rPr lang="pt-BR" altLang="en-US" sz="900"/>
              <a:pPr marL="0" indent="0" algn="r">
                <a:spcBef>
                  <a:spcPct val="0"/>
                </a:spcBef>
                <a:buNone/>
              </a:pPr>
              <a:t>Brasil</a:t>
            </a:fld>
            <a:endParaRPr lang="pt-BR" sz="900" dirty="0">
              <a:sym typeface="+mn-lt"/>
            </a:endParaRPr>
          </a:p>
        </p:txBody>
      </p:sp>
      <p:sp>
        <p:nvSpPr>
          <p:cNvPr id="23" name="Rectangle 22"/>
          <p:cNvSpPr>
            <a:spLocks noGrp="1" noChangeArrowheads="1"/>
          </p:cNvSpPr>
          <p:nvPr>
            <p:custDataLst>
              <p:tags r:id="rId15"/>
            </p:custDataLst>
          </p:nvPr>
        </p:nvSpPr>
        <p:spPr bwMode="auto">
          <a:xfrm>
            <a:off x="5909073" y="4993482"/>
            <a:ext cx="3607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F7355EAD-FDC3-4C70-8D75-8C9E69F74C08}" type="datetime'''M''''''''''''é''''''''''x''''''i''''c''''''''''''''''''o'">
              <a:rPr lang="pt-BR" altLang="en-US" sz="900"/>
              <a:pPr marL="0" indent="0" algn="r">
                <a:spcBef>
                  <a:spcPct val="0"/>
                </a:spcBef>
                <a:buNone/>
              </a:pPr>
              <a:t>México</a:t>
            </a:fld>
            <a:endParaRPr lang="pt-BR" sz="900" dirty="0">
              <a:sym typeface="+mn-lt"/>
            </a:endParaRPr>
          </a:p>
        </p:txBody>
      </p:sp>
      <p:sp>
        <p:nvSpPr>
          <p:cNvPr id="26" name="Rectangle 25"/>
          <p:cNvSpPr>
            <a:spLocks noGrp="1" noChangeArrowheads="1"/>
          </p:cNvSpPr>
          <p:nvPr>
            <p:custDataLst>
              <p:tags r:id="rId16"/>
            </p:custDataLst>
          </p:nvPr>
        </p:nvSpPr>
        <p:spPr bwMode="auto">
          <a:xfrm>
            <a:off x="6023373" y="4775598"/>
            <a:ext cx="2464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DB727832-A739-4229-B67F-F0F48F5BB629}" type="datetime'''''''''''Ín''''''''''''''''''''''''d''''''i''''''a'''''''''">
              <a:rPr lang="pt-BR" altLang="en-US" sz="900"/>
              <a:pPr marL="0" indent="0" algn="r">
                <a:spcBef>
                  <a:spcPct val="0"/>
                </a:spcBef>
                <a:buNone/>
              </a:pPr>
              <a:t>Índia</a:t>
            </a:fld>
            <a:endParaRPr lang="pt-BR" sz="900" dirty="0">
              <a:sym typeface="+mn-lt"/>
            </a:endParaRPr>
          </a:p>
        </p:txBody>
      </p:sp>
      <p:sp>
        <p:nvSpPr>
          <p:cNvPr id="22" name="Rectangle 21"/>
          <p:cNvSpPr>
            <a:spLocks noGrp="1" noChangeArrowheads="1"/>
          </p:cNvSpPr>
          <p:nvPr>
            <p:custDataLst>
              <p:tags r:id="rId17"/>
            </p:custDataLst>
          </p:nvPr>
        </p:nvSpPr>
        <p:spPr bwMode="auto">
          <a:xfrm>
            <a:off x="5790010" y="4554142"/>
            <a:ext cx="479822"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B49E5CEA-5BAD-4802-AC71-DF5B216AFAFD}" type="datetime'''''''''''''C''''''''''''''o''''lô''''''''m''''b''i''''a'''''">
              <a:rPr lang="pt-BR" altLang="en-US" sz="900"/>
              <a:pPr marL="0" indent="0" algn="r">
                <a:spcBef>
                  <a:spcPct val="0"/>
                </a:spcBef>
                <a:buNone/>
              </a:pPr>
              <a:t>Colômbia</a:t>
            </a:fld>
            <a:endParaRPr lang="pt-BR" sz="900" dirty="0">
              <a:sym typeface="+mn-lt"/>
            </a:endParaRPr>
          </a:p>
        </p:txBody>
      </p:sp>
      <p:sp>
        <p:nvSpPr>
          <p:cNvPr id="25" name="Rectangle 24"/>
          <p:cNvSpPr>
            <a:spLocks noGrp="1" noChangeArrowheads="1"/>
          </p:cNvSpPr>
          <p:nvPr>
            <p:custDataLst>
              <p:tags r:id="rId18"/>
            </p:custDataLst>
          </p:nvPr>
        </p:nvSpPr>
        <p:spPr bwMode="auto">
          <a:xfrm>
            <a:off x="5922169" y="4336257"/>
            <a:ext cx="34766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A5CDEF21-47C9-4B2A-8E0F-1FA22201EE07}" type="datetime'''''''''''''R''''''ú''''''s''''''''''si''''''''''''a'''">
              <a:rPr lang="pt-BR" altLang="en-US" sz="900"/>
              <a:pPr marL="0" indent="0" algn="r">
                <a:spcBef>
                  <a:spcPct val="0"/>
                </a:spcBef>
                <a:buNone/>
              </a:pPr>
              <a:t>Rússia</a:t>
            </a:fld>
            <a:endParaRPr lang="pt-BR" sz="900" dirty="0">
              <a:sym typeface="+mn-lt"/>
            </a:endParaRPr>
          </a:p>
        </p:txBody>
      </p:sp>
      <p:sp>
        <p:nvSpPr>
          <p:cNvPr id="20" name="Rectangle 19"/>
          <p:cNvSpPr>
            <a:spLocks noGrp="1" noChangeArrowheads="1"/>
          </p:cNvSpPr>
          <p:nvPr>
            <p:custDataLst>
              <p:tags r:id="rId19"/>
            </p:custDataLst>
          </p:nvPr>
        </p:nvSpPr>
        <p:spPr bwMode="auto">
          <a:xfrm>
            <a:off x="5888831" y="4118373"/>
            <a:ext cx="38100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56DB20A3-A9D2-4348-B355-081668382FF2}" type="datetime'T''u''''''''''''''rq''''''u''''''''i''''''''''''''''''a'">
              <a:rPr lang="pt-BR" altLang="en-US" sz="900"/>
              <a:pPr marL="0" indent="0" algn="r">
                <a:spcBef>
                  <a:spcPct val="0"/>
                </a:spcBef>
                <a:buNone/>
              </a:pPr>
              <a:t>Turquia</a:t>
            </a:fld>
            <a:endParaRPr lang="pt-BR" sz="900" dirty="0">
              <a:sym typeface="+mn-lt"/>
            </a:endParaRPr>
          </a:p>
        </p:txBody>
      </p:sp>
      <p:sp>
        <p:nvSpPr>
          <p:cNvPr id="21" name="Rectangle 20"/>
          <p:cNvSpPr>
            <a:spLocks noGrp="1" noChangeArrowheads="1"/>
          </p:cNvSpPr>
          <p:nvPr>
            <p:custDataLst>
              <p:tags r:id="rId20"/>
            </p:custDataLst>
          </p:nvPr>
        </p:nvSpPr>
        <p:spPr bwMode="auto">
          <a:xfrm>
            <a:off x="6011466" y="3896917"/>
            <a:ext cx="258366"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CF164392-654C-4AC2-B663-0FEE47C7C0A8}" type="datetime'''''''''''''''''''''C''''''''''hil''''''''''''''''''e'">
              <a:rPr lang="pt-BR" altLang="en-US" sz="900"/>
              <a:pPr marL="0" indent="0" algn="r">
                <a:spcBef>
                  <a:spcPct val="0"/>
                </a:spcBef>
                <a:buNone/>
              </a:pPr>
              <a:t>Chile</a:t>
            </a:fld>
            <a:endParaRPr lang="pt-BR" sz="900" dirty="0">
              <a:sym typeface="+mn-lt"/>
            </a:endParaRPr>
          </a:p>
        </p:txBody>
      </p:sp>
      <p:sp>
        <p:nvSpPr>
          <p:cNvPr id="11" name="Rectangle 10"/>
          <p:cNvSpPr>
            <a:spLocks noGrp="1" noChangeArrowheads="1"/>
          </p:cNvSpPr>
          <p:nvPr>
            <p:custDataLst>
              <p:tags r:id="rId21"/>
            </p:custDataLst>
          </p:nvPr>
        </p:nvSpPr>
        <p:spPr bwMode="auto">
          <a:xfrm>
            <a:off x="5837635" y="3675460"/>
            <a:ext cx="432197"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B92B50BA-4881-4B1A-91F4-CBFC74DFE30B}" type="datetime'''''Áf''''ri''''''''''''''''''ca ''S''''''''''''.'">
              <a:rPr lang="pt-BR" altLang="en-US" sz="900"/>
              <a:pPr marL="0" indent="0" algn="r">
                <a:spcBef>
                  <a:spcPct val="0"/>
                </a:spcBef>
                <a:buNone/>
              </a:pPr>
              <a:t>África S.</a:t>
            </a:fld>
            <a:endParaRPr lang="pt-BR" sz="900" dirty="0">
              <a:sym typeface="+mn-lt"/>
            </a:endParaRPr>
          </a:p>
        </p:txBody>
      </p:sp>
      <p:sp>
        <p:nvSpPr>
          <p:cNvPr id="10" name="Rectangle 9"/>
          <p:cNvSpPr>
            <a:spLocks noGrp="1" noChangeArrowheads="1"/>
          </p:cNvSpPr>
          <p:nvPr>
            <p:custDataLst>
              <p:tags r:id="rId22"/>
            </p:custDataLst>
          </p:nvPr>
        </p:nvSpPr>
        <p:spPr bwMode="auto">
          <a:xfrm>
            <a:off x="6035278" y="3457576"/>
            <a:ext cx="2345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A1DB1946-D9FE-4830-88E8-57FC138FBE99}" type="datetime'''''''''''''''''''''''''''''''''''''''''E''''''U''''''''A'''">
              <a:rPr lang="pt-BR" altLang="en-US" sz="900"/>
              <a:pPr marL="0" indent="0" algn="r">
                <a:spcBef>
                  <a:spcPct val="0"/>
                </a:spcBef>
                <a:buNone/>
              </a:pPr>
              <a:t>EUA</a:t>
            </a:fld>
            <a:endParaRPr lang="pt-BR" sz="900" dirty="0">
              <a:sym typeface="+mn-lt"/>
            </a:endParaRPr>
          </a:p>
        </p:txBody>
      </p:sp>
      <p:sp>
        <p:nvSpPr>
          <p:cNvPr id="9" name="Rectangle 8"/>
          <p:cNvSpPr>
            <a:spLocks noGrp="1" noChangeArrowheads="1"/>
          </p:cNvSpPr>
          <p:nvPr>
            <p:custDataLst>
              <p:tags r:id="rId23"/>
            </p:custDataLst>
          </p:nvPr>
        </p:nvSpPr>
        <p:spPr bwMode="auto">
          <a:xfrm>
            <a:off x="5794773" y="3239692"/>
            <a:ext cx="4750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3EA4160E-A044-42CB-9DAA-26A9FE3A6892}" type="datetime'''C''or''''''''''''''é''''''''i''a ''''''''''''''''''S''''.'">
              <a:rPr lang="pt-BR" altLang="en-US" sz="900"/>
              <a:pPr marL="0" indent="0" algn="r">
                <a:spcBef>
                  <a:spcPct val="0"/>
                </a:spcBef>
                <a:buNone/>
              </a:pPr>
              <a:t>Coréia S.</a:t>
            </a:fld>
            <a:endParaRPr lang="pt-BR" sz="900" dirty="0">
              <a:sym typeface="+mn-lt"/>
            </a:endParaRPr>
          </a:p>
        </p:txBody>
      </p:sp>
      <p:sp>
        <p:nvSpPr>
          <p:cNvPr id="15" name="Rectangle 14"/>
          <p:cNvSpPr>
            <a:spLocks noGrp="1" noChangeArrowheads="1"/>
          </p:cNvSpPr>
          <p:nvPr>
            <p:custDataLst>
              <p:tags r:id="rId24"/>
            </p:custDataLst>
          </p:nvPr>
        </p:nvSpPr>
        <p:spPr bwMode="auto">
          <a:xfrm>
            <a:off x="6111478" y="3018235"/>
            <a:ext cx="158354"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B1F4355E-DA3E-404A-B638-F21D521EE834}" type="datetime'''''''''''''''''''''''''''''U''''''''''''K'">
              <a:rPr lang="pt-BR" altLang="en-US" sz="900"/>
              <a:pPr marL="0" indent="0" algn="r">
                <a:spcBef>
                  <a:spcPct val="0"/>
                </a:spcBef>
                <a:buNone/>
              </a:pPr>
              <a:t>UK</a:t>
            </a:fld>
            <a:endParaRPr lang="pt-BR" sz="900" dirty="0">
              <a:sym typeface="+mn-lt"/>
            </a:endParaRPr>
          </a:p>
        </p:txBody>
      </p:sp>
      <p:sp>
        <p:nvSpPr>
          <p:cNvPr id="14" name="Rectangle 13"/>
          <p:cNvSpPr>
            <a:spLocks noGrp="1" noChangeArrowheads="1"/>
          </p:cNvSpPr>
          <p:nvPr>
            <p:custDataLst>
              <p:tags r:id="rId25"/>
            </p:custDataLst>
          </p:nvPr>
        </p:nvSpPr>
        <p:spPr bwMode="auto">
          <a:xfrm>
            <a:off x="5757863" y="2800351"/>
            <a:ext cx="511969"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3735C84B-18E0-4AD4-B763-E387454EF153}" type="datetime'''''''''''''''A''l''''''em''''''''a''''n''''''''''h''''a'''''">
              <a:rPr lang="pt-BR" altLang="en-US" sz="900"/>
              <a:pPr marL="0" indent="0" algn="r">
                <a:spcBef>
                  <a:spcPct val="0"/>
                </a:spcBef>
                <a:buNone/>
              </a:pPr>
              <a:t>Alemanha</a:t>
            </a:fld>
            <a:endParaRPr lang="pt-BR" sz="900" dirty="0">
              <a:sym typeface="+mn-lt"/>
            </a:endParaRPr>
          </a:p>
        </p:txBody>
      </p:sp>
      <p:sp>
        <p:nvSpPr>
          <p:cNvPr id="13" name="Rectangle 12"/>
          <p:cNvSpPr>
            <a:spLocks noGrp="1" noChangeArrowheads="1"/>
          </p:cNvSpPr>
          <p:nvPr>
            <p:custDataLst>
              <p:tags r:id="rId26"/>
            </p:custDataLst>
          </p:nvPr>
        </p:nvSpPr>
        <p:spPr bwMode="auto">
          <a:xfrm>
            <a:off x="5826919" y="2582467"/>
            <a:ext cx="44291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r">
              <a:spcBef>
                <a:spcPct val="0"/>
              </a:spcBef>
              <a:buNone/>
            </a:pPr>
            <a:fld id="{45E7BCAF-ECC5-4354-8977-F37852006D01}" type="datetime'''''''''''''A''''''''''''us''''tr''''''á''l''''''''''''i''a'">
              <a:rPr lang="pt-BR" altLang="en-US" sz="900"/>
              <a:pPr marL="0" indent="0" algn="r">
                <a:spcBef>
                  <a:spcPct val="0"/>
                </a:spcBef>
                <a:buNone/>
              </a:pPr>
              <a:t>Austrália</a:t>
            </a:fld>
            <a:endParaRPr lang="pt-BR" sz="900" dirty="0">
              <a:sym typeface="+mn-lt"/>
            </a:endParaRPr>
          </a:p>
        </p:txBody>
      </p:sp>
      <p:sp>
        <p:nvSpPr>
          <p:cNvPr id="43" name="Text Placeholder 2"/>
          <p:cNvSpPr txBox="1">
            <a:spLocks/>
          </p:cNvSpPr>
          <p:nvPr/>
        </p:nvSpPr>
        <p:spPr bwMode="auto">
          <a:xfrm>
            <a:off x="349035" y="1904963"/>
            <a:ext cx="4282607" cy="161583"/>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lvl1pPr marL="0" indent="0" algn="l" rtl="0" eaLnBrk="1" fontAlgn="base" hangingPunct="1">
              <a:spcBef>
                <a:spcPts val="0"/>
              </a:spcBef>
              <a:spcAft>
                <a:spcPct val="0"/>
              </a:spcAft>
              <a:buNone/>
              <a:defRPr lang="pt-BR" sz="1400" dirty="0" smtClean="0">
                <a:solidFill>
                  <a:srgbClr val="2F539C"/>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r>
              <a:rPr sz="1050" b="1" kern="0"/>
              <a:t>Despesas de PDD sobre Total de Ativos de Crédito</a:t>
            </a:r>
          </a:p>
        </p:txBody>
      </p:sp>
      <p:graphicFrame>
        <p:nvGraphicFramePr>
          <p:cNvPr id="56" name="Object 55"/>
          <p:cNvGraphicFramePr>
            <a:graphicFrameLocks/>
          </p:cNvGraphicFramePr>
          <p:nvPr>
            <p:custDataLst>
              <p:tags r:id="rId27"/>
            </p:custDataLst>
            <p:extLst/>
          </p:nvPr>
        </p:nvGraphicFramePr>
        <p:xfrm>
          <a:off x="457201" y="2714626"/>
          <a:ext cx="4222010" cy="2850296"/>
        </p:xfrm>
        <a:graphic>
          <a:graphicData uri="http://schemas.openxmlformats.org/presentationml/2006/ole">
            <mc:AlternateContent xmlns:mc="http://schemas.openxmlformats.org/markup-compatibility/2006">
              <mc:Choice xmlns:v="urn:schemas-microsoft-com:vml" Requires="v">
                <p:oleObj spid="_x0000_s32895" name="Chart" r:id="rId42" imgW="5629241" imgH="3800653" progId="MSGraph.Chart.8">
                  <p:embed followColorScheme="full"/>
                </p:oleObj>
              </mc:Choice>
              <mc:Fallback>
                <p:oleObj name="Chart" r:id="rId42" imgW="5629241" imgH="3800653" progId="MSGraph.Chart.8">
                  <p:embed followColorScheme="full"/>
                  <p:pic>
                    <p:nvPicPr>
                      <p:cNvPr id="0" name=""/>
                      <p:cNvPicPr/>
                      <p:nvPr/>
                    </p:nvPicPr>
                    <p:blipFill>
                      <a:blip r:embed="rId43"/>
                      <a:stretch>
                        <a:fillRect/>
                      </a:stretch>
                    </p:blipFill>
                    <p:spPr>
                      <a:xfrm>
                        <a:off x="457201" y="2714626"/>
                        <a:ext cx="4222010" cy="2850296"/>
                      </a:xfrm>
                      <a:prstGeom prst="rect">
                        <a:avLst/>
                      </a:prstGeom>
                    </p:spPr>
                  </p:pic>
                </p:oleObj>
              </mc:Fallback>
            </mc:AlternateContent>
          </a:graphicData>
        </a:graphic>
      </p:graphicFrame>
      <p:sp useBgFill="1">
        <p:nvSpPr>
          <p:cNvPr id="41" name="Rectangle 40"/>
          <p:cNvSpPr>
            <a:spLocks noGrp="1" noChangeArrowheads="1"/>
          </p:cNvSpPr>
          <p:nvPr>
            <p:custDataLst>
              <p:tags r:id="rId28"/>
            </p:custDataLst>
          </p:nvPr>
        </p:nvSpPr>
        <p:spPr bwMode="gray">
          <a:xfrm>
            <a:off x="2418160" y="3557588"/>
            <a:ext cx="292894" cy="136922"/>
          </a:xfrm>
          <a:prstGeom prst="rect">
            <a:avLst/>
          </a:prstGeom>
          <a:ln w="12700">
            <a:noFill/>
            <a:miter lim="800000"/>
            <a:headEnd/>
            <a:tailEnd/>
          </a:ln>
          <a:effectLst/>
        </p:spPr>
        <p:txBody>
          <a:bodyPr vert="horz" wrap="none" lIns="16669" tIns="0" rIns="16669" bIns="0" numCol="1" spcCol="0" anchor="b"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ctr">
              <a:spcBef>
                <a:spcPct val="0"/>
              </a:spcBef>
              <a:buNone/>
            </a:pPr>
            <a:fld id="{B64ACA1E-632F-4044-B42E-EFFE4505AF7C}" type="datetime'''''3,''1''''''''''%'''''''''''''''''">
              <a:rPr lang="pt-BR" altLang="en-US" sz="900">
                <a:sym typeface="+mn-lt"/>
              </a:rPr>
              <a:pPr marL="0" indent="0" algn="ctr">
                <a:spcBef>
                  <a:spcPct val="0"/>
                </a:spcBef>
                <a:buNone/>
              </a:pPr>
              <a:t>3,1%</a:t>
            </a:fld>
            <a:endParaRPr lang="pt-BR" sz="900" dirty="0">
              <a:sym typeface="+mn-lt"/>
            </a:endParaRPr>
          </a:p>
        </p:txBody>
      </p:sp>
      <p:sp useBgFill="1">
        <p:nvSpPr>
          <p:cNvPr id="48" name="Rectangle 47"/>
          <p:cNvSpPr>
            <a:spLocks noGrp="1" noChangeArrowheads="1"/>
          </p:cNvSpPr>
          <p:nvPr>
            <p:custDataLst>
              <p:tags r:id="rId29"/>
            </p:custDataLst>
          </p:nvPr>
        </p:nvSpPr>
        <p:spPr bwMode="gray">
          <a:xfrm>
            <a:off x="1503760" y="3443288"/>
            <a:ext cx="292894" cy="136922"/>
          </a:xfrm>
          <a:prstGeom prst="rect">
            <a:avLst/>
          </a:prstGeom>
          <a:ln w="12700">
            <a:noFill/>
            <a:miter lim="800000"/>
            <a:headEnd/>
            <a:tailEnd/>
          </a:ln>
          <a:effectLst/>
        </p:spPr>
        <p:txBody>
          <a:bodyPr vert="horz" wrap="none" lIns="16669" tIns="0" rIns="16669" bIns="0" numCol="1" spcCol="0" anchor="b"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lgn="ctr">
              <a:spcBef>
                <a:spcPct val="0"/>
              </a:spcBef>
              <a:buNone/>
            </a:pPr>
            <a:fld id="{BE7C01DD-236F-4C92-8B29-397CA51E730D}" type="datetime'3,''''''''''''''''''3''''''''''''''%'''''''''''''''''''">
              <a:rPr lang="pt-BR" altLang="en-US" sz="900">
                <a:sym typeface="+mn-lt"/>
              </a:rPr>
              <a:pPr marL="0" indent="0" algn="ctr">
                <a:spcBef>
                  <a:spcPct val="0"/>
                </a:spcBef>
                <a:buNone/>
              </a:pPr>
              <a:t>3,3%</a:t>
            </a:fld>
            <a:endParaRPr lang="pt-BR" sz="900" dirty="0">
              <a:sym typeface="+mn-lt"/>
            </a:endParaRPr>
          </a:p>
        </p:txBody>
      </p:sp>
      <p:cxnSp>
        <p:nvCxnSpPr>
          <p:cNvPr id="68" name="Straight Connector 67"/>
          <p:cNvCxnSpPr/>
          <p:nvPr>
            <p:custDataLst>
              <p:tags r:id="rId30"/>
            </p:custDataLst>
          </p:nvPr>
        </p:nvCxnSpPr>
        <p:spPr bwMode="gray">
          <a:xfrm>
            <a:off x="1371600" y="2628900"/>
            <a:ext cx="246460" cy="0"/>
          </a:xfrm>
          <a:prstGeom prst="line">
            <a:avLst/>
          </a:prstGeom>
          <a:ln w="2857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31"/>
            </p:custDataLst>
          </p:nvPr>
        </p:nvCxnSpPr>
        <p:spPr bwMode="gray">
          <a:xfrm>
            <a:off x="726282" y="2628900"/>
            <a:ext cx="246460" cy="0"/>
          </a:xfrm>
          <a:prstGeom prst="line">
            <a:avLst/>
          </a:prstGeom>
          <a:ln w="28575">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32"/>
            </p:custDataLst>
          </p:nvPr>
        </p:nvCxnSpPr>
        <p:spPr bwMode="gray">
          <a:xfrm>
            <a:off x="2471738" y="2628900"/>
            <a:ext cx="246460"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a:spLocks noGrp="1" noChangeArrowheads="1"/>
          </p:cNvSpPr>
          <p:nvPr>
            <p:custDataLst>
              <p:tags r:id="rId33"/>
            </p:custDataLst>
          </p:nvPr>
        </p:nvSpPr>
        <p:spPr bwMode="auto">
          <a:xfrm>
            <a:off x="1010842" y="2565798"/>
            <a:ext cx="284560"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spcBef>
                <a:spcPct val="0"/>
              </a:spcBef>
              <a:buNone/>
            </a:pPr>
            <a:fld id="{4B6C6945-54BD-44AF-8556-B7CC1B107B18}" type="datetime'''''Br''''''''''''''''asi''''''''''l'''''''">
              <a:rPr lang="pt-BR" altLang="en-US" sz="900"/>
              <a:pPr marL="0" indent="0">
                <a:spcBef>
                  <a:spcPct val="0"/>
                </a:spcBef>
                <a:buNone/>
              </a:pPr>
              <a:t>Brasil</a:t>
            </a:fld>
            <a:endParaRPr lang="pt-BR" sz="900" dirty="0">
              <a:sym typeface="+mn-lt"/>
            </a:endParaRPr>
          </a:p>
        </p:txBody>
      </p:sp>
      <p:sp>
        <p:nvSpPr>
          <p:cNvPr id="61" name="Rectangle 60"/>
          <p:cNvSpPr>
            <a:spLocks noGrp="1" noChangeArrowheads="1"/>
          </p:cNvSpPr>
          <p:nvPr>
            <p:custDataLst>
              <p:tags r:id="rId34"/>
            </p:custDataLst>
          </p:nvPr>
        </p:nvSpPr>
        <p:spPr bwMode="auto">
          <a:xfrm>
            <a:off x="1656160" y="2565798"/>
            <a:ext cx="739379"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spcBef>
                <a:spcPct val="0"/>
              </a:spcBef>
              <a:buNone/>
            </a:pPr>
            <a:fld id="{9B52171F-48B2-4562-B134-100059C8D1F3}" type="datetime'''''''''D''''''''''''esenv''o''''''''''''''''''''lvidos'''">
              <a:rPr lang="pt-BR" altLang="en-US" sz="900"/>
              <a:pPr marL="0" indent="0">
                <a:spcBef>
                  <a:spcPct val="0"/>
                </a:spcBef>
                <a:buNone/>
              </a:pPr>
              <a:t>Desenvolvidos</a:t>
            </a:fld>
            <a:endParaRPr lang="pt-BR" sz="900" dirty="0">
              <a:sym typeface="+mn-lt"/>
            </a:endParaRPr>
          </a:p>
        </p:txBody>
      </p:sp>
      <p:sp>
        <p:nvSpPr>
          <p:cNvPr id="62" name="Rectangle 61"/>
          <p:cNvSpPr>
            <a:spLocks noGrp="1" noChangeArrowheads="1"/>
          </p:cNvSpPr>
          <p:nvPr>
            <p:custDataLst>
              <p:tags r:id="rId35"/>
            </p:custDataLst>
          </p:nvPr>
        </p:nvSpPr>
        <p:spPr bwMode="auto">
          <a:xfrm>
            <a:off x="2756297" y="2565798"/>
            <a:ext cx="614363" cy="136922"/>
          </a:xfrm>
          <a:prstGeom prst="rect">
            <a:avLst/>
          </a:prstGeom>
          <a:noFill/>
          <a:ln w="12700">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33421" indent="-133421" algn="l" rtl="0" eaLnBrk="1" fontAlgn="base" hangingPunct="1">
              <a:spcBef>
                <a:spcPts val="900"/>
              </a:spcBef>
              <a:spcAft>
                <a:spcPct val="0"/>
              </a:spcAft>
              <a:buChar char="•"/>
              <a:defRPr sz="1426">
                <a:solidFill>
                  <a:srgbClr val="000000"/>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pPr marL="0" indent="0">
              <a:spcBef>
                <a:spcPct val="0"/>
              </a:spcBef>
              <a:buNone/>
            </a:pPr>
            <a:fld id="{D80EA45F-BAD8-45CC-8BBA-7413CB5242DD}" type="datetime'Em''er''g''''e''''''''''n''''''t''''''e''''''''''''''''s'''''">
              <a:rPr lang="pt-BR" altLang="en-US" sz="900"/>
              <a:pPr marL="0" indent="0">
                <a:spcBef>
                  <a:spcPct val="0"/>
                </a:spcBef>
                <a:buNone/>
              </a:pPr>
              <a:t>Emergentes</a:t>
            </a:fld>
            <a:endParaRPr lang="pt-BR" sz="900" baseline="30000" dirty="0">
              <a:sym typeface="+mn-lt"/>
            </a:endParaRPr>
          </a:p>
        </p:txBody>
      </p:sp>
      <p:sp>
        <p:nvSpPr>
          <p:cNvPr id="78" name="Text Placeholder 2"/>
          <p:cNvSpPr txBox="1">
            <a:spLocks/>
          </p:cNvSpPr>
          <p:nvPr/>
        </p:nvSpPr>
        <p:spPr bwMode="auto">
          <a:xfrm>
            <a:off x="5096092" y="1904962"/>
            <a:ext cx="3715399" cy="300082"/>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lvl1pPr marL="0" indent="0" algn="l" rtl="0" eaLnBrk="1" fontAlgn="base" hangingPunct="1">
              <a:spcBef>
                <a:spcPts val="0"/>
              </a:spcBef>
              <a:spcAft>
                <a:spcPct val="0"/>
              </a:spcAft>
              <a:buNone/>
              <a:defRPr lang="pt-BR" sz="1400" dirty="0" smtClean="0">
                <a:solidFill>
                  <a:srgbClr val="2F539C"/>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r>
              <a:rPr sz="1050" b="1" kern="0"/>
              <a:t>Despesas de PDD sobre Total de Ativos de Crédito</a:t>
            </a:r>
          </a:p>
          <a:p>
            <a:r>
              <a:rPr sz="900" kern="0"/>
              <a:t>2016</a:t>
            </a:r>
            <a:endParaRPr sz="1050" kern="0"/>
          </a:p>
        </p:txBody>
      </p:sp>
      <p:sp>
        <p:nvSpPr>
          <p:cNvPr id="58" name="TextBox 57"/>
          <p:cNvSpPr txBox="1"/>
          <p:nvPr/>
        </p:nvSpPr>
        <p:spPr>
          <a:xfrm>
            <a:off x="361590" y="5560412"/>
            <a:ext cx="4296135" cy="348942"/>
          </a:xfrm>
          <a:prstGeom prst="rect">
            <a:avLst/>
          </a:prstGeom>
          <a:noFill/>
        </p:spPr>
        <p:txBody>
          <a:bodyPr wrap="square" lIns="0" tIns="0" rIns="0" bIns="0" rtlCol="0">
            <a:spAutoFit/>
          </a:bodyPr>
          <a:lstStyle/>
          <a:p>
            <a:pPr defTabSz="641802" fontAlgn="base">
              <a:lnSpc>
                <a:spcPct val="120000"/>
              </a:lnSpc>
              <a:spcAft>
                <a:spcPct val="0"/>
              </a:spcAft>
            </a:pPr>
            <a:endParaRPr lang="pt-BR" sz="630" spc="-15" dirty="0">
              <a:solidFill>
                <a:prstClr val="black">
                  <a:lumMod val="65000"/>
                  <a:lumOff val="35000"/>
                </a:prstClr>
              </a:solidFill>
              <a:ea typeface="Roboto Light" panose="02000000000000000000" pitchFamily="2" charset="0"/>
              <a:cs typeface="Arial" pitchFamily="34" charset="0"/>
            </a:endParaRP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Países Emergentes excluem o Brasil</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Fonte: S&amp;P Capital IQ, Analise Accenture</a:t>
            </a:r>
          </a:p>
        </p:txBody>
      </p:sp>
    </p:spTree>
    <p:extLst>
      <p:ext uri="{BB962C8B-B14F-4D97-AF65-F5344CB8AC3E}">
        <p14:creationId xmlns:p14="http://schemas.microsoft.com/office/powerpoint/2010/main" val="28330734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21549" name="think-cell Slide" r:id="rId6" imgW="444" imgH="443" progId="TCLayout.ActiveDocument.1">
                  <p:embed/>
                </p:oleObj>
              </mc:Choice>
              <mc:Fallback>
                <p:oleObj name="think-cell Slide" r:id="rId6" imgW="444" imgH="443" progId="TCLayout.ActiveDocument.1">
                  <p:embed/>
                  <p:pic>
                    <p:nvPicPr>
                      <p:cNvPr id="0" name=""/>
                      <p:cNvPicPr/>
                      <p:nvPr/>
                    </p:nvPicPr>
                    <p:blipFill>
                      <a:blip r:embed="rId7"/>
                      <a:stretch>
                        <a:fillRect/>
                      </a:stretch>
                    </p:blipFill>
                    <p:spPr>
                      <a:xfrm>
                        <a:off x="1192" y="858442"/>
                        <a:ext cx="1190" cy="1190"/>
                      </a:xfrm>
                      <a:prstGeom prst="rect">
                        <a:avLst/>
                      </a:prstGeom>
                    </p:spPr>
                  </p:pic>
                </p:oleObj>
              </mc:Fallback>
            </mc:AlternateContent>
          </a:graphicData>
        </a:graphic>
      </p:graphicFrame>
      <p:sp>
        <p:nvSpPr>
          <p:cNvPr id="5" name="Rectangle 4" hidden="1"/>
          <p:cNvSpPr/>
          <p:nvPr>
            <p:custDataLst>
              <p:tags r:id="rId3"/>
            </p:custDataLst>
          </p:nvPr>
        </p:nvSpPr>
        <p:spPr bwMode="auto">
          <a:xfrm>
            <a:off x="0" y="85725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pt-BR" sz="1050" dirty="0">
              <a:solidFill>
                <a:prstClr val="white"/>
              </a:solidFill>
              <a:sym typeface="Arial" panose="020B0604020202020204" pitchFamily="34" charset="0"/>
            </a:endParaRPr>
          </a:p>
        </p:txBody>
      </p:sp>
      <p:sp>
        <p:nvSpPr>
          <p:cNvPr id="2" name="Title 1"/>
          <p:cNvSpPr>
            <a:spLocks noGrp="1"/>
          </p:cNvSpPr>
          <p:nvPr>
            <p:ph type="title"/>
          </p:nvPr>
        </p:nvSpPr>
        <p:spPr>
          <a:xfrm>
            <a:off x="0" y="0"/>
            <a:ext cx="9144000" cy="1058400"/>
          </a:xfr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a:effectLst/>
        </p:spPr>
        <p:txBody>
          <a:bodyPr vert="horz" wrap="square" lIns="0" tIns="0" rIns="0" bIns="0" numCol="1" anchor="ctr" anchorCtr="0" compatLnSpc="1">
            <a:prstTxWarp prst="textNoShape">
              <a:avLst/>
            </a:prstTxWarp>
          </a:bodyPr>
          <a:lstStyle/>
          <a:p>
            <a:pPr marL="185738">
              <a:lnSpc>
                <a:spcPct val="80000"/>
              </a:lnSpc>
            </a:pPr>
            <a:r>
              <a:rPr lang="pt-BR" sz="2800" b="1" kern="1200" dirty="0">
                <a:solidFill>
                  <a:srgbClr val="1F497D"/>
                </a:solidFill>
                <a:latin typeface="Calibri" panose="020F0502020204030204" pitchFamily="34" charset="0"/>
                <a:ea typeface="+mn-ea"/>
                <a:cs typeface="Calibri" panose="020F0502020204030204" pitchFamily="34" charset="0"/>
              </a:rPr>
              <a:t>O Brasil tem a menor taxa de recuperação de garantias</a:t>
            </a:r>
          </a:p>
        </p:txBody>
      </p:sp>
      <p:sp>
        <p:nvSpPr>
          <p:cNvPr id="7" name="TextBox 6"/>
          <p:cNvSpPr txBox="1"/>
          <p:nvPr/>
        </p:nvSpPr>
        <p:spPr>
          <a:xfrm>
            <a:off x="361590" y="5565472"/>
            <a:ext cx="5096235" cy="348942"/>
          </a:xfrm>
          <a:prstGeom prst="rect">
            <a:avLst/>
          </a:prstGeom>
          <a:noFill/>
        </p:spPr>
        <p:txBody>
          <a:bodyPr wrap="square" lIns="0" tIns="0" rIns="0" bIns="0" rtlCol="0">
            <a:spAutoFit/>
          </a:bodyPr>
          <a:lstStyle/>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1) Mede quantos cents por dólar assegurados em garantia os credores recuperam de uma empresa insolvente no final do processo de falência</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2) Cálculo considera as modalidades de Imobiliário, Veículos, BNDES, Capital de Giro, Conta Garantida e Descontos</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Fonte: World Bank, Demonstrativo Financeiro dos Bancos. Análise Accenture</a:t>
            </a:r>
          </a:p>
        </p:txBody>
      </p:sp>
      <p:graphicFrame>
        <p:nvGraphicFramePr>
          <p:cNvPr id="39" name="Chart 38"/>
          <p:cNvGraphicFramePr/>
          <p:nvPr>
            <p:extLst/>
          </p:nvPr>
        </p:nvGraphicFramePr>
        <p:xfrm>
          <a:off x="311944" y="2543775"/>
          <a:ext cx="3824288" cy="2700000"/>
        </p:xfrm>
        <a:graphic>
          <a:graphicData uri="http://schemas.openxmlformats.org/drawingml/2006/chart">
            <c:chart xmlns:c="http://schemas.openxmlformats.org/drawingml/2006/chart" xmlns:r="http://schemas.openxmlformats.org/officeDocument/2006/relationships" r:id="rId8"/>
          </a:graphicData>
        </a:graphic>
      </p:graphicFrame>
      <p:sp>
        <p:nvSpPr>
          <p:cNvPr id="44" name="Text Placeholder 2"/>
          <p:cNvSpPr txBox="1">
            <a:spLocks/>
          </p:cNvSpPr>
          <p:nvPr/>
        </p:nvSpPr>
        <p:spPr bwMode="auto">
          <a:xfrm>
            <a:off x="349034" y="1895728"/>
            <a:ext cx="3953808" cy="300082"/>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lvl1pPr marL="0" indent="0" algn="l" rtl="0" eaLnBrk="1" fontAlgn="base" hangingPunct="1">
              <a:spcBef>
                <a:spcPts val="0"/>
              </a:spcBef>
              <a:spcAft>
                <a:spcPct val="0"/>
              </a:spcAft>
              <a:buNone/>
              <a:defRPr lang="pt-BR" sz="1400" dirty="0" smtClean="0">
                <a:solidFill>
                  <a:srgbClr val="2F539C"/>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r>
              <a:rPr sz="1050" b="1" kern="0"/>
              <a:t>Taxa de Recuperação da Garantia</a:t>
            </a:r>
            <a:r>
              <a:rPr sz="1050" b="1" kern="0" baseline="30000"/>
              <a:t>1</a:t>
            </a:r>
          </a:p>
          <a:p>
            <a:r>
              <a:rPr sz="900" kern="0"/>
              <a:t>% do Valor da Garantia, 2016</a:t>
            </a:r>
          </a:p>
        </p:txBody>
      </p:sp>
      <p:grpSp>
        <p:nvGrpSpPr>
          <p:cNvPr id="9" name="Group 8"/>
          <p:cNvGrpSpPr/>
          <p:nvPr/>
        </p:nvGrpSpPr>
        <p:grpSpPr>
          <a:xfrm>
            <a:off x="2804648" y="2625765"/>
            <a:ext cx="409087" cy="2719246"/>
            <a:chOff x="3739529" y="2405645"/>
            <a:chExt cx="545448" cy="3625661"/>
          </a:xfrm>
        </p:grpSpPr>
        <p:sp>
          <p:nvSpPr>
            <p:cNvPr id="43" name="Rectangle 42"/>
            <p:cNvSpPr/>
            <p:nvPr/>
          </p:nvSpPr>
          <p:spPr>
            <a:xfrm>
              <a:off x="3739529" y="5723530"/>
              <a:ext cx="545448" cy="307776"/>
            </a:xfrm>
            <a:prstGeom prst="rect">
              <a:avLst/>
            </a:prstGeom>
          </p:spPr>
          <p:txBody>
            <a:bodyPr wrap="none">
              <a:spAutoFit/>
            </a:bodyPr>
            <a:lstStyle/>
            <a:p>
              <a:pPr algn="ctr" fontAlgn="base">
                <a:spcBef>
                  <a:spcPct val="0"/>
                </a:spcBef>
                <a:spcAft>
                  <a:spcPct val="0"/>
                </a:spcAft>
              </a:pPr>
              <a:r>
                <a:rPr lang="pt-BR" sz="900" dirty="0">
                  <a:solidFill>
                    <a:srgbClr val="000000"/>
                  </a:solidFill>
                </a:rPr>
                <a:t>69,1</a:t>
              </a:r>
            </a:p>
          </p:txBody>
        </p:sp>
        <p:grpSp>
          <p:nvGrpSpPr>
            <p:cNvPr id="8" name="Group 7"/>
            <p:cNvGrpSpPr/>
            <p:nvPr/>
          </p:nvGrpSpPr>
          <p:grpSpPr>
            <a:xfrm>
              <a:off x="3944997" y="2405645"/>
              <a:ext cx="108000" cy="3303508"/>
              <a:chOff x="2636692" y="2405645"/>
              <a:chExt cx="108000" cy="3303508"/>
            </a:xfrm>
          </p:grpSpPr>
          <p:cxnSp>
            <p:nvCxnSpPr>
              <p:cNvPr id="40" name="Straight Connector 39"/>
              <p:cNvCxnSpPr/>
              <p:nvPr/>
            </p:nvCxnSpPr>
            <p:spPr>
              <a:xfrm flipV="1">
                <a:off x="2690692" y="2405645"/>
                <a:ext cx="0" cy="3213073"/>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1" name="Isosceles Triangle 20"/>
              <p:cNvSpPr/>
              <p:nvPr/>
            </p:nvSpPr>
            <p:spPr>
              <a:xfrm>
                <a:off x="2636692" y="5601153"/>
                <a:ext cx="108000" cy="108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grpSp>
      </p:grpSp>
      <p:grpSp>
        <p:nvGrpSpPr>
          <p:cNvPr id="24" name="Group 23"/>
          <p:cNvGrpSpPr/>
          <p:nvPr/>
        </p:nvGrpSpPr>
        <p:grpSpPr>
          <a:xfrm>
            <a:off x="1593019" y="2625765"/>
            <a:ext cx="595036" cy="2857746"/>
            <a:chOff x="3615562" y="2405645"/>
            <a:chExt cx="793382" cy="3810328"/>
          </a:xfrm>
        </p:grpSpPr>
        <p:sp>
          <p:nvSpPr>
            <p:cNvPr id="25" name="Rectangle 24"/>
            <p:cNvSpPr/>
            <p:nvPr/>
          </p:nvSpPr>
          <p:spPr>
            <a:xfrm>
              <a:off x="3615562" y="5723530"/>
              <a:ext cx="793382" cy="492443"/>
            </a:xfrm>
            <a:prstGeom prst="rect">
              <a:avLst/>
            </a:prstGeom>
          </p:spPr>
          <p:txBody>
            <a:bodyPr wrap="none">
              <a:spAutoFit/>
            </a:bodyPr>
            <a:lstStyle/>
            <a:p>
              <a:pPr algn="ctr" fontAlgn="base">
                <a:spcBef>
                  <a:spcPct val="0"/>
                </a:spcBef>
                <a:spcAft>
                  <a:spcPct val="0"/>
                </a:spcAft>
              </a:pPr>
              <a:r>
                <a:rPr lang="pt-BR" sz="900" dirty="0">
                  <a:solidFill>
                    <a:srgbClr val="000000"/>
                  </a:solidFill>
                </a:rPr>
                <a:t>32,9</a:t>
              </a:r>
            </a:p>
            <a:p>
              <a:pPr algn="ctr" fontAlgn="base">
                <a:spcBef>
                  <a:spcPct val="0"/>
                </a:spcBef>
                <a:spcAft>
                  <a:spcPct val="0"/>
                </a:spcAft>
              </a:pPr>
              <a:r>
                <a:rPr lang="pt-BR" sz="900" dirty="0">
                  <a:solidFill>
                    <a:srgbClr val="000000"/>
                  </a:solidFill>
                </a:rPr>
                <a:t>(Global)</a:t>
              </a:r>
            </a:p>
          </p:txBody>
        </p:sp>
        <p:grpSp>
          <p:nvGrpSpPr>
            <p:cNvPr id="26" name="Group 25"/>
            <p:cNvGrpSpPr/>
            <p:nvPr/>
          </p:nvGrpSpPr>
          <p:grpSpPr>
            <a:xfrm>
              <a:off x="3944997" y="2405645"/>
              <a:ext cx="108000" cy="3303508"/>
              <a:chOff x="2636692" y="2405645"/>
              <a:chExt cx="108000" cy="3303508"/>
            </a:xfrm>
          </p:grpSpPr>
          <p:cxnSp>
            <p:nvCxnSpPr>
              <p:cNvPr id="27" name="Straight Connector 26"/>
              <p:cNvCxnSpPr/>
              <p:nvPr/>
            </p:nvCxnSpPr>
            <p:spPr>
              <a:xfrm flipV="1">
                <a:off x="2690692" y="2405645"/>
                <a:ext cx="0" cy="3213073"/>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8" name="Isosceles Triangle 27"/>
              <p:cNvSpPr/>
              <p:nvPr/>
            </p:nvSpPr>
            <p:spPr>
              <a:xfrm>
                <a:off x="2636692" y="5601153"/>
                <a:ext cx="108000" cy="108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grpSp>
      </p:grpSp>
      <p:sp>
        <p:nvSpPr>
          <p:cNvPr id="3" name="Retângulo 2"/>
          <p:cNvSpPr/>
          <p:nvPr/>
        </p:nvSpPr>
        <p:spPr>
          <a:xfrm>
            <a:off x="4495800" y="2021852"/>
            <a:ext cx="4379042" cy="1600438"/>
          </a:xfrm>
          <a:prstGeom prst="rect">
            <a:avLst/>
          </a:prstGeom>
        </p:spPr>
        <p:txBody>
          <a:bodyPr wrap="square">
            <a:spAutoFit/>
          </a:bodyPr>
          <a:lstStyle/>
          <a:p>
            <a:pPr marL="285750" indent="-285750">
              <a:buFont typeface="Arial" panose="020B0604020202020204" pitchFamily="34" charset="0"/>
              <a:buChar char="•"/>
            </a:pPr>
            <a:r>
              <a:rPr lang="pt-BR" sz="1400" dirty="0"/>
              <a:t>Mesmo para os créditos com garantia, a taxa de recuperação é </a:t>
            </a:r>
            <a:r>
              <a:rPr lang="pt-BR" sz="1400" dirty="0" smtClean="0"/>
              <a:t>baixa</a:t>
            </a:r>
          </a:p>
          <a:p>
            <a:pPr marL="285750" indent="-285750">
              <a:buFont typeface="Arial" panose="020B0604020202020204" pitchFamily="34" charset="0"/>
              <a:buChar char="•"/>
            </a:pPr>
            <a:endParaRPr lang="pt-BR" sz="1400" dirty="0" smtClean="0"/>
          </a:p>
          <a:p>
            <a:pPr marL="285750" indent="-285750">
              <a:buFont typeface="Arial" panose="020B0604020202020204" pitchFamily="34" charset="0"/>
              <a:buChar char="•"/>
            </a:pPr>
            <a:r>
              <a:rPr lang="pt-BR" sz="1400" dirty="0" smtClean="0"/>
              <a:t>Apenas </a:t>
            </a:r>
            <a:r>
              <a:rPr lang="pt-BR" sz="1400" dirty="0"/>
              <a:t>16% dos créditos garantidos são recuperados no Brasil em casos de falência, comparado com uma taxa média de recuperação de 69% nos demais países</a:t>
            </a:r>
          </a:p>
        </p:txBody>
      </p:sp>
    </p:spTree>
    <p:extLst>
      <p:ext uri="{BB962C8B-B14F-4D97-AF65-F5344CB8AC3E}">
        <p14:creationId xmlns:p14="http://schemas.microsoft.com/office/powerpoint/2010/main" val="25538457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58400"/>
          </a:xfr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a:effectLst/>
        </p:spPr>
        <p:txBody>
          <a:bodyPr vert="horz" wrap="square" lIns="0" tIns="0" rIns="0" bIns="0" numCol="1" anchor="ctr" anchorCtr="0" compatLnSpc="1">
            <a:prstTxWarp prst="textNoShape">
              <a:avLst/>
            </a:prstTxWarp>
          </a:bodyPr>
          <a:lstStyle/>
          <a:p>
            <a:pPr marL="185738">
              <a:lnSpc>
                <a:spcPct val="80000"/>
              </a:lnSpc>
            </a:pPr>
            <a:r>
              <a:rPr lang="pt-BR" sz="2800" b="1" kern="1200" dirty="0">
                <a:solidFill>
                  <a:srgbClr val="1F497D"/>
                </a:solidFill>
                <a:latin typeface="Calibri" panose="020F0502020204030204" pitchFamily="34" charset="0"/>
                <a:ea typeface="+mn-ea"/>
                <a:cs typeface="Calibri" panose="020F0502020204030204" pitchFamily="34" charset="0"/>
              </a:rPr>
              <a:t>Adicionalmente, tanto o tempo quanto os custos para recuperação de garantias no Brasil são altos se comparados aos demais países</a:t>
            </a:r>
          </a:p>
        </p:txBody>
      </p:sp>
      <p:sp>
        <p:nvSpPr>
          <p:cNvPr id="3" name="Text Placeholder 2"/>
          <p:cNvSpPr>
            <a:spLocks noGrp="1"/>
          </p:cNvSpPr>
          <p:nvPr>
            <p:ph type="body" sz="quarter" idx="10"/>
          </p:nvPr>
        </p:nvSpPr>
        <p:spPr>
          <a:xfrm>
            <a:off x="349034" y="1928313"/>
            <a:ext cx="8462457" cy="300082"/>
          </a:xfrm>
        </p:spPr>
        <p:txBody>
          <a:bodyPr/>
          <a:lstStyle/>
          <a:p>
            <a:r>
              <a:rPr lang="pt-BR" b="1" dirty="0"/>
              <a:t>Tempo de Recuperação do Crédito</a:t>
            </a:r>
            <a:r>
              <a:rPr lang="pt-BR" b="1" baseline="30000" dirty="0"/>
              <a:t>1</a:t>
            </a:r>
            <a:endParaRPr lang="pt-BR" b="1" baseline="30000" dirty="0">
              <a:solidFill>
                <a:srgbClr val="FF0000"/>
              </a:solidFill>
            </a:endParaRPr>
          </a:p>
          <a:p>
            <a:r>
              <a:rPr lang="pt-BR" sz="900" dirty="0"/>
              <a:t>Em anos, 2016</a:t>
            </a:r>
          </a:p>
        </p:txBody>
      </p:sp>
      <p:sp>
        <p:nvSpPr>
          <p:cNvPr id="7" name="TextBox 6"/>
          <p:cNvSpPr txBox="1"/>
          <p:nvPr/>
        </p:nvSpPr>
        <p:spPr>
          <a:xfrm>
            <a:off x="361590" y="5441764"/>
            <a:ext cx="5603066" cy="465256"/>
          </a:xfrm>
          <a:prstGeom prst="rect">
            <a:avLst/>
          </a:prstGeom>
          <a:noFill/>
        </p:spPr>
        <p:txBody>
          <a:bodyPr wrap="square" lIns="0" tIns="0" rIns="0" bIns="0" rtlCol="0">
            <a:spAutoFit/>
          </a:bodyPr>
          <a:lstStyle/>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1) Mede o tempo que os credores levam para recuperar seu crédito uma vez que o cliente ficou inadimplente</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2) Mede o custo do processo de recuperação como uma porcentagem do patrimônio do devedor. Inclui taxas judiciais, tributos, honorários dos administradores da insolvência, leiloeiros, avaliadores, advogados, entre outros custos</a:t>
            </a:r>
          </a:p>
          <a:p>
            <a:pPr defTabSz="641802" fontAlgn="base">
              <a:lnSpc>
                <a:spcPct val="120000"/>
              </a:lnSpc>
              <a:spcAft>
                <a:spcPct val="0"/>
              </a:spcAft>
            </a:pPr>
            <a:r>
              <a:rPr lang="pt-BR" sz="630" spc="-15" dirty="0">
                <a:solidFill>
                  <a:prstClr val="black">
                    <a:lumMod val="65000"/>
                    <a:lumOff val="35000"/>
                  </a:prstClr>
                </a:solidFill>
                <a:ea typeface="Roboto Light" panose="02000000000000000000" pitchFamily="2" charset="0"/>
                <a:cs typeface="Arial" pitchFamily="34" charset="0"/>
              </a:rPr>
              <a:t>Fonte: World Bank. Análise Accenture</a:t>
            </a:r>
          </a:p>
        </p:txBody>
      </p:sp>
      <p:grpSp>
        <p:nvGrpSpPr>
          <p:cNvPr id="8" name="Group 7"/>
          <p:cNvGrpSpPr/>
          <p:nvPr/>
        </p:nvGrpSpPr>
        <p:grpSpPr>
          <a:xfrm>
            <a:off x="2814287" y="5145017"/>
            <a:ext cx="2489338" cy="81000"/>
            <a:chOff x="-486973" y="5878066"/>
            <a:chExt cx="3319117" cy="108000"/>
          </a:xfrm>
        </p:grpSpPr>
        <p:sp>
          <p:nvSpPr>
            <p:cNvPr id="9" name="Rectangle 8"/>
            <p:cNvSpPr/>
            <p:nvPr/>
          </p:nvSpPr>
          <p:spPr bwMode="gray">
            <a:xfrm>
              <a:off x="563424" y="5878066"/>
              <a:ext cx="144000" cy="108000"/>
            </a:xfrm>
            <a:prstGeom prst="rect">
              <a:avLst/>
            </a:prstGeom>
            <a:solidFill>
              <a:schemeClr val="accent1">
                <a:lumMod val="50000"/>
              </a:schemeClr>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fontAlgn="base">
                <a:spcBef>
                  <a:spcPct val="0"/>
                </a:spcBef>
                <a:spcAft>
                  <a:spcPts val="225"/>
                </a:spcAft>
              </a:pPr>
              <a:r>
                <a:rPr lang="pt-BR" sz="750" kern="0" dirty="0">
                  <a:solidFill>
                    <a:prstClr val="black"/>
                  </a:solidFill>
                  <a:cs typeface="Arial" pitchFamily="34" charset="0"/>
                </a:rPr>
                <a:t>Demais Países Emergentes</a:t>
              </a:r>
            </a:p>
          </p:txBody>
        </p:sp>
        <p:sp>
          <p:nvSpPr>
            <p:cNvPr id="10" name="Rectangle 9"/>
            <p:cNvSpPr/>
            <p:nvPr/>
          </p:nvSpPr>
          <p:spPr bwMode="gray">
            <a:xfrm>
              <a:off x="2688144" y="5878066"/>
              <a:ext cx="144000" cy="108000"/>
            </a:xfrm>
            <a:prstGeom prst="rect">
              <a:avLst/>
            </a:prstGeom>
            <a:solidFill>
              <a:schemeClr val="bg1">
                <a:lumMod val="65000"/>
              </a:schemeClr>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fontAlgn="base">
                <a:spcBef>
                  <a:spcPct val="0"/>
                </a:spcBef>
                <a:spcAft>
                  <a:spcPts val="225"/>
                </a:spcAft>
              </a:pPr>
              <a:r>
                <a:rPr lang="pt-BR" sz="750" kern="0" dirty="0">
                  <a:solidFill>
                    <a:prstClr val="black"/>
                  </a:solidFill>
                  <a:cs typeface="Arial" pitchFamily="34" charset="0"/>
                </a:rPr>
                <a:t> Países Desenvolvidos</a:t>
              </a:r>
            </a:p>
          </p:txBody>
        </p:sp>
        <p:sp>
          <p:nvSpPr>
            <p:cNvPr id="11" name="Rectangle 10"/>
            <p:cNvSpPr/>
            <p:nvPr/>
          </p:nvSpPr>
          <p:spPr bwMode="gray">
            <a:xfrm>
              <a:off x="-486973" y="5878066"/>
              <a:ext cx="144000" cy="108000"/>
            </a:xfrm>
            <a:prstGeom prst="rect">
              <a:avLst/>
            </a:prstGeom>
            <a:solidFill>
              <a:srgbClr val="00B0F0"/>
            </a:solidFill>
            <a:ln w="6350">
              <a:noFill/>
              <a:miter lim="800000"/>
              <a:headEnd/>
              <a:tailEnd/>
            </a:ln>
            <a:effectLst/>
          </p:spPr>
          <p:txBody>
            <a:bodyPr vert="horz" wrap="none" lIns="32408" tIns="54013" rIns="54013" bIns="54013" numCol="1" rtlCol="0" anchor="ctr" anchorCtr="0" compatLnSpc="1">
              <a:prstTxWarp prst="textNoShape">
                <a:avLst/>
              </a:prstTxWarp>
              <a:noAutofit/>
            </a:bodyPr>
            <a:lstStyle/>
            <a:p>
              <a:pPr marL="130997" defTabSz="685945" fontAlgn="base">
                <a:spcBef>
                  <a:spcPct val="0"/>
                </a:spcBef>
                <a:spcAft>
                  <a:spcPts val="225"/>
                </a:spcAft>
              </a:pPr>
              <a:r>
                <a:rPr lang="pt-BR" sz="750" kern="0" dirty="0">
                  <a:solidFill>
                    <a:prstClr val="black"/>
                  </a:solidFill>
                  <a:cs typeface="Arial" pitchFamily="34" charset="0"/>
                </a:rPr>
                <a:t>Brasil</a:t>
              </a:r>
            </a:p>
          </p:txBody>
        </p:sp>
      </p:grpSp>
      <p:graphicFrame>
        <p:nvGraphicFramePr>
          <p:cNvPr id="12" name="Chart 11"/>
          <p:cNvGraphicFramePr/>
          <p:nvPr>
            <p:extLst/>
          </p:nvPr>
        </p:nvGraphicFramePr>
        <p:xfrm>
          <a:off x="586263" y="2291971"/>
          <a:ext cx="3260854" cy="27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p:cNvGraphicFramePr/>
          <p:nvPr>
            <p:extLst/>
          </p:nvPr>
        </p:nvGraphicFramePr>
        <p:xfrm>
          <a:off x="5403770" y="2291971"/>
          <a:ext cx="3281991" cy="2700000"/>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 Placeholder 2"/>
          <p:cNvSpPr txBox="1">
            <a:spLocks/>
          </p:cNvSpPr>
          <p:nvPr/>
        </p:nvSpPr>
        <p:spPr bwMode="auto">
          <a:xfrm>
            <a:off x="5403771" y="1928313"/>
            <a:ext cx="3522020" cy="300082"/>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lvl1pPr marL="0" indent="0" algn="l" rtl="0" eaLnBrk="1" fontAlgn="base" hangingPunct="1">
              <a:spcBef>
                <a:spcPts val="0"/>
              </a:spcBef>
              <a:spcAft>
                <a:spcPct val="0"/>
              </a:spcAft>
              <a:buNone/>
              <a:defRPr lang="pt-BR" sz="1400" dirty="0" smtClean="0">
                <a:solidFill>
                  <a:srgbClr val="2F539C"/>
                </a:solidFill>
                <a:latin typeface="+mn-lt"/>
                <a:ea typeface="+mn-ea"/>
                <a:cs typeface="+mn-cs"/>
              </a:defRPr>
            </a:lvl1pPr>
            <a:lvl2pPr marL="269225" indent="-132230" algn="l" rtl="0" eaLnBrk="1" fontAlgn="base" hangingPunct="1">
              <a:spcBef>
                <a:spcPts val="450"/>
              </a:spcBef>
              <a:spcAft>
                <a:spcPct val="0"/>
              </a:spcAft>
              <a:buChar char="–"/>
              <a:defRPr sz="1426">
                <a:solidFill>
                  <a:srgbClr val="000000"/>
                </a:solidFill>
                <a:latin typeface="+mn-lt"/>
              </a:defRPr>
            </a:lvl2pPr>
            <a:lvl3pPr marL="406220" indent="-136995" algn="l" rtl="0" eaLnBrk="1" fontAlgn="base" hangingPunct="1">
              <a:spcBef>
                <a:spcPts val="450"/>
              </a:spcBef>
              <a:spcAft>
                <a:spcPct val="0"/>
              </a:spcAft>
              <a:buFont typeface="Arial" charset="0"/>
              <a:buChar char="-"/>
              <a:defRPr sz="1426">
                <a:solidFill>
                  <a:srgbClr val="000000"/>
                </a:solidFill>
                <a:latin typeface="+mn-lt"/>
              </a:defRPr>
            </a:lvl3pPr>
            <a:lvl4pPr marL="1064138" indent="-152020" algn="l" rtl="0" eaLnBrk="1" fontAlgn="base" hangingPunct="1">
              <a:spcBef>
                <a:spcPct val="20000"/>
              </a:spcBef>
              <a:spcAft>
                <a:spcPct val="0"/>
              </a:spcAft>
              <a:buChar char="–"/>
              <a:defRPr sz="1351">
                <a:solidFill>
                  <a:schemeClr val="tx1"/>
                </a:solidFill>
                <a:latin typeface="+mn-lt"/>
              </a:defRPr>
            </a:lvl4pPr>
            <a:lvl5pPr marL="1368179" indent="-152020" algn="l" rtl="0" eaLnBrk="1" fontAlgn="base" hangingPunct="1">
              <a:spcBef>
                <a:spcPct val="20000"/>
              </a:spcBef>
              <a:spcAft>
                <a:spcPct val="0"/>
              </a:spcAft>
              <a:buChar char="»"/>
              <a:defRPr sz="1351">
                <a:solidFill>
                  <a:schemeClr val="tx1"/>
                </a:solidFill>
                <a:latin typeface="+mn-lt"/>
              </a:defRPr>
            </a:lvl5pPr>
            <a:lvl6pPr marL="1672218" indent="-152020" algn="l" rtl="0" eaLnBrk="1" fontAlgn="base" hangingPunct="1">
              <a:spcBef>
                <a:spcPct val="20000"/>
              </a:spcBef>
              <a:spcAft>
                <a:spcPct val="0"/>
              </a:spcAft>
              <a:buChar char="»"/>
              <a:defRPr sz="1351">
                <a:solidFill>
                  <a:schemeClr val="tx1"/>
                </a:solidFill>
                <a:latin typeface="+mn-lt"/>
              </a:defRPr>
            </a:lvl6pPr>
            <a:lvl7pPr marL="1976259" indent="-152020" algn="l" rtl="0" eaLnBrk="1" fontAlgn="base" hangingPunct="1">
              <a:spcBef>
                <a:spcPct val="20000"/>
              </a:spcBef>
              <a:spcAft>
                <a:spcPct val="0"/>
              </a:spcAft>
              <a:buChar char="»"/>
              <a:defRPr sz="1351">
                <a:solidFill>
                  <a:schemeClr val="tx1"/>
                </a:solidFill>
                <a:latin typeface="+mn-lt"/>
              </a:defRPr>
            </a:lvl7pPr>
            <a:lvl8pPr marL="2280298" indent="-152020" algn="l" rtl="0" eaLnBrk="1" fontAlgn="base" hangingPunct="1">
              <a:spcBef>
                <a:spcPct val="20000"/>
              </a:spcBef>
              <a:spcAft>
                <a:spcPct val="0"/>
              </a:spcAft>
              <a:buChar char="»"/>
              <a:defRPr sz="1351">
                <a:solidFill>
                  <a:schemeClr val="tx1"/>
                </a:solidFill>
                <a:latin typeface="+mn-lt"/>
              </a:defRPr>
            </a:lvl8pPr>
            <a:lvl9pPr marL="2584338" indent="-152020" algn="l" rtl="0" eaLnBrk="1" fontAlgn="base" hangingPunct="1">
              <a:spcBef>
                <a:spcPct val="20000"/>
              </a:spcBef>
              <a:spcAft>
                <a:spcPct val="0"/>
              </a:spcAft>
              <a:buChar char="»"/>
              <a:defRPr sz="1351">
                <a:solidFill>
                  <a:schemeClr val="tx1"/>
                </a:solidFill>
                <a:latin typeface="+mn-lt"/>
              </a:defRPr>
            </a:lvl9pPr>
          </a:lstStyle>
          <a:p>
            <a:r>
              <a:rPr sz="1050" b="1" kern="0"/>
              <a:t>Custo do Processo de Recuperação</a:t>
            </a:r>
            <a:r>
              <a:rPr sz="1050" b="1" kern="0" baseline="30000"/>
              <a:t>2</a:t>
            </a:r>
          </a:p>
          <a:p>
            <a:r>
              <a:rPr sz="900" kern="0"/>
              <a:t>% em Relação ao Valor Total dos Bens do Devedor, 2016</a:t>
            </a:r>
          </a:p>
        </p:txBody>
      </p:sp>
      <p:grpSp>
        <p:nvGrpSpPr>
          <p:cNvPr id="29" name="Group 28"/>
          <p:cNvGrpSpPr/>
          <p:nvPr/>
        </p:nvGrpSpPr>
        <p:grpSpPr>
          <a:xfrm>
            <a:off x="1934621" y="2351211"/>
            <a:ext cx="344966" cy="2857389"/>
            <a:chOff x="3782275" y="2221454"/>
            <a:chExt cx="459954" cy="3809852"/>
          </a:xfrm>
        </p:grpSpPr>
        <p:sp>
          <p:nvSpPr>
            <p:cNvPr id="30" name="Rectangle 29"/>
            <p:cNvSpPr/>
            <p:nvPr/>
          </p:nvSpPr>
          <p:spPr>
            <a:xfrm>
              <a:off x="3782275" y="5723530"/>
              <a:ext cx="459954" cy="307776"/>
            </a:xfrm>
            <a:prstGeom prst="rect">
              <a:avLst/>
            </a:prstGeom>
          </p:spPr>
          <p:txBody>
            <a:bodyPr wrap="none">
              <a:spAutoFit/>
            </a:bodyPr>
            <a:lstStyle/>
            <a:p>
              <a:pPr algn="ctr" fontAlgn="base">
                <a:spcBef>
                  <a:spcPct val="0"/>
                </a:spcBef>
                <a:spcAft>
                  <a:spcPct val="0"/>
                </a:spcAft>
              </a:pPr>
              <a:r>
                <a:rPr lang="pt-BR" sz="900" dirty="0">
                  <a:solidFill>
                    <a:srgbClr val="000000"/>
                  </a:solidFill>
                </a:rPr>
                <a:t>1,8</a:t>
              </a:r>
            </a:p>
          </p:txBody>
        </p:sp>
        <p:grpSp>
          <p:nvGrpSpPr>
            <p:cNvPr id="31" name="Group 30"/>
            <p:cNvGrpSpPr/>
            <p:nvPr/>
          </p:nvGrpSpPr>
          <p:grpSpPr>
            <a:xfrm>
              <a:off x="3944997" y="2221454"/>
              <a:ext cx="108000" cy="3487699"/>
              <a:chOff x="2636692" y="2221454"/>
              <a:chExt cx="108000" cy="3487699"/>
            </a:xfrm>
          </p:grpSpPr>
          <p:cxnSp>
            <p:nvCxnSpPr>
              <p:cNvPr id="32" name="Straight Connector 31"/>
              <p:cNvCxnSpPr/>
              <p:nvPr/>
            </p:nvCxnSpPr>
            <p:spPr>
              <a:xfrm flipV="1">
                <a:off x="2690692" y="2221454"/>
                <a:ext cx="0" cy="3348000"/>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33" name="Isosceles Triangle 32"/>
              <p:cNvSpPr/>
              <p:nvPr/>
            </p:nvSpPr>
            <p:spPr>
              <a:xfrm>
                <a:off x="2636692" y="5601153"/>
                <a:ext cx="108000" cy="108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grpSp>
      </p:grpSp>
      <p:grpSp>
        <p:nvGrpSpPr>
          <p:cNvPr id="34" name="Group 33"/>
          <p:cNvGrpSpPr/>
          <p:nvPr/>
        </p:nvGrpSpPr>
        <p:grpSpPr>
          <a:xfrm>
            <a:off x="6980069" y="2351211"/>
            <a:ext cx="351379" cy="2857389"/>
            <a:chOff x="3778000" y="2221454"/>
            <a:chExt cx="468504" cy="3809852"/>
          </a:xfrm>
        </p:grpSpPr>
        <p:sp>
          <p:nvSpPr>
            <p:cNvPr id="35" name="Rectangle 34"/>
            <p:cNvSpPr/>
            <p:nvPr/>
          </p:nvSpPr>
          <p:spPr>
            <a:xfrm>
              <a:off x="3778000" y="5723530"/>
              <a:ext cx="468504" cy="307776"/>
            </a:xfrm>
            <a:prstGeom prst="rect">
              <a:avLst/>
            </a:prstGeom>
          </p:spPr>
          <p:txBody>
            <a:bodyPr wrap="none">
              <a:spAutoFit/>
            </a:bodyPr>
            <a:lstStyle/>
            <a:p>
              <a:pPr algn="ctr" fontAlgn="base">
                <a:spcBef>
                  <a:spcPct val="0"/>
                </a:spcBef>
                <a:spcAft>
                  <a:spcPct val="0"/>
                </a:spcAft>
              </a:pPr>
              <a:r>
                <a:rPr lang="pt-BR" sz="900" dirty="0">
                  <a:solidFill>
                    <a:srgbClr val="000000"/>
                  </a:solidFill>
                </a:rPr>
                <a:t>9%</a:t>
              </a:r>
            </a:p>
          </p:txBody>
        </p:sp>
        <p:grpSp>
          <p:nvGrpSpPr>
            <p:cNvPr id="36" name="Group 35"/>
            <p:cNvGrpSpPr/>
            <p:nvPr/>
          </p:nvGrpSpPr>
          <p:grpSpPr>
            <a:xfrm>
              <a:off x="3944997" y="2221454"/>
              <a:ext cx="108000" cy="3487699"/>
              <a:chOff x="2636692" y="2221454"/>
              <a:chExt cx="108000" cy="3487699"/>
            </a:xfrm>
          </p:grpSpPr>
          <p:cxnSp>
            <p:nvCxnSpPr>
              <p:cNvPr id="37" name="Straight Connector 36"/>
              <p:cNvCxnSpPr/>
              <p:nvPr/>
            </p:nvCxnSpPr>
            <p:spPr>
              <a:xfrm flipV="1">
                <a:off x="2690692" y="2221454"/>
                <a:ext cx="0" cy="3348000"/>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38" name="Isosceles Triangle 37"/>
              <p:cNvSpPr/>
              <p:nvPr/>
            </p:nvSpPr>
            <p:spPr>
              <a:xfrm>
                <a:off x="2636692" y="5601153"/>
                <a:ext cx="108000" cy="1080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pt-BR" sz="1350">
                  <a:solidFill>
                    <a:prstClr val="white"/>
                  </a:solidFill>
                </a:endParaRPr>
              </a:p>
            </p:txBody>
          </p:sp>
        </p:grpSp>
      </p:grpSp>
    </p:spTree>
    <p:extLst>
      <p:ext uri="{BB962C8B-B14F-4D97-AF65-F5344CB8AC3E}">
        <p14:creationId xmlns:p14="http://schemas.microsoft.com/office/powerpoint/2010/main" val="14745059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lvl="0">
              <a:lnSpc>
                <a:spcPct val="80000"/>
              </a:lnSpc>
              <a:defRPr/>
            </a:pPr>
            <a:r>
              <a:rPr lang="pt-BR" sz="2800" dirty="0">
                <a:solidFill>
                  <a:srgbClr val="1F497D"/>
                </a:solidFill>
                <a:latin typeface="Calibri" panose="020F0502020204030204" pitchFamily="34" charset="0"/>
                <a:cs typeface="Calibri" panose="020F0502020204030204" pitchFamily="34" charset="0"/>
              </a:rPr>
              <a:t>Decomposição do spread: média 2011-2016</a:t>
            </a:r>
          </a:p>
        </p:txBody>
      </p:sp>
      <p:sp>
        <p:nvSpPr>
          <p:cNvPr id="7" name="CaixaDeTexto 6"/>
          <p:cNvSpPr txBox="1">
            <a:spLocks noChangeArrowheads="1"/>
          </p:cNvSpPr>
          <p:nvPr/>
        </p:nvSpPr>
        <p:spPr bwMode="auto">
          <a:xfrm>
            <a:off x="204027" y="663348"/>
            <a:ext cx="8688046" cy="707886"/>
          </a:xfrm>
          <a:prstGeom prst="rect">
            <a:avLst/>
          </a:prstGeom>
          <a:noFill/>
          <a:ln w="9525">
            <a:noFill/>
            <a:miter lim="800000"/>
            <a:headEnd/>
            <a:tailEnd/>
          </a:ln>
        </p:spPr>
        <p:txBody>
          <a:bodyPr wrap="square">
            <a:spAutoFit/>
          </a:bodyPr>
          <a:lstStyle/>
          <a:p>
            <a:pPr algn="just"/>
            <a:r>
              <a:rPr lang="pt-BR" sz="2000" dirty="0">
                <a:solidFill>
                  <a:srgbClr val="003366"/>
                </a:solidFill>
              </a:rPr>
              <a:t>Destaca-se a participação da </a:t>
            </a:r>
            <a:r>
              <a:rPr lang="pt-BR" sz="2000" dirty="0" smtClean="0">
                <a:solidFill>
                  <a:srgbClr val="003366"/>
                </a:solidFill>
              </a:rPr>
              <a:t>inadimplência, que representa 9,6 p.p. na média do Spread </a:t>
            </a:r>
            <a:r>
              <a:rPr lang="pt-BR" sz="2000" dirty="0">
                <a:solidFill>
                  <a:srgbClr val="003366"/>
                </a:solidFill>
              </a:rPr>
              <a:t>Total </a:t>
            </a:r>
            <a:r>
              <a:rPr lang="pt-BR" sz="2000" dirty="0" smtClean="0">
                <a:solidFill>
                  <a:srgbClr val="003366"/>
                </a:solidFill>
              </a:rPr>
              <a:t>nos últimos anos</a:t>
            </a:r>
            <a:endParaRPr lang="pt-BR" sz="2000" dirty="0">
              <a:solidFill>
                <a:srgbClr val="003366"/>
              </a:solidFill>
            </a:endParaRPr>
          </a:p>
        </p:txBody>
      </p:sp>
      <p:sp>
        <p:nvSpPr>
          <p:cNvPr id="14" name="Text Box 5"/>
          <p:cNvSpPr txBox="1">
            <a:spLocks noChangeArrowheads="1"/>
          </p:cNvSpPr>
          <p:nvPr/>
        </p:nvSpPr>
        <p:spPr bwMode="auto">
          <a:xfrm>
            <a:off x="1008064" y="6426200"/>
            <a:ext cx="339940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square">
            <a:spAutoFit/>
          </a:bodyPr>
          <a:lstStyle>
            <a:lvl1pPr>
              <a:defRPr sz="3000" b="1">
                <a:solidFill>
                  <a:schemeClr val="tx1"/>
                </a:solidFill>
                <a:latin typeface="Arial" charset="0"/>
              </a:defRPr>
            </a:lvl1pPr>
            <a:lvl2pPr marL="742950" indent="-285750">
              <a:defRPr sz="3000" b="1">
                <a:solidFill>
                  <a:schemeClr val="tx1"/>
                </a:solidFill>
                <a:latin typeface="Arial" charset="0"/>
              </a:defRPr>
            </a:lvl2pPr>
            <a:lvl3pPr marL="1143000" indent="-228600">
              <a:defRPr sz="3000" b="1">
                <a:solidFill>
                  <a:schemeClr val="tx1"/>
                </a:solidFill>
                <a:latin typeface="Arial" charset="0"/>
              </a:defRPr>
            </a:lvl3pPr>
            <a:lvl4pPr marL="1600200" indent="-228600">
              <a:defRPr sz="3000" b="1">
                <a:solidFill>
                  <a:schemeClr val="tx1"/>
                </a:solidFill>
                <a:latin typeface="Arial" charset="0"/>
              </a:defRPr>
            </a:lvl4pPr>
            <a:lvl5pPr marL="2057400" indent="-228600">
              <a:defRPr sz="3000" b="1">
                <a:solidFill>
                  <a:schemeClr val="tx1"/>
                </a:solidFill>
                <a:latin typeface="Arial" charset="0"/>
              </a:defRPr>
            </a:lvl5pPr>
            <a:lvl6pPr marL="2514600" indent="-228600" eaLnBrk="0" fontAlgn="base" hangingPunct="0">
              <a:spcBef>
                <a:spcPct val="0"/>
              </a:spcBef>
              <a:spcAft>
                <a:spcPct val="0"/>
              </a:spcAft>
              <a:defRPr sz="3000" b="1">
                <a:solidFill>
                  <a:schemeClr val="tx1"/>
                </a:solidFill>
                <a:latin typeface="Arial" charset="0"/>
              </a:defRPr>
            </a:lvl6pPr>
            <a:lvl7pPr marL="2971800" indent="-228600" eaLnBrk="0" fontAlgn="base" hangingPunct="0">
              <a:spcBef>
                <a:spcPct val="0"/>
              </a:spcBef>
              <a:spcAft>
                <a:spcPct val="0"/>
              </a:spcAft>
              <a:defRPr sz="3000" b="1">
                <a:solidFill>
                  <a:schemeClr val="tx1"/>
                </a:solidFill>
                <a:latin typeface="Arial" charset="0"/>
              </a:defRPr>
            </a:lvl7pPr>
            <a:lvl8pPr marL="3429000" indent="-228600" eaLnBrk="0" fontAlgn="base" hangingPunct="0">
              <a:spcBef>
                <a:spcPct val="0"/>
              </a:spcBef>
              <a:spcAft>
                <a:spcPct val="0"/>
              </a:spcAft>
              <a:defRPr sz="3000" b="1">
                <a:solidFill>
                  <a:schemeClr val="tx1"/>
                </a:solidFill>
                <a:latin typeface="Arial" charset="0"/>
              </a:defRPr>
            </a:lvl8pPr>
            <a:lvl9pPr marL="3886200" indent="-228600" eaLnBrk="0" fontAlgn="base" hangingPunct="0">
              <a:spcBef>
                <a:spcPct val="0"/>
              </a:spcBef>
              <a:spcAft>
                <a:spcPct val="0"/>
              </a:spcAft>
              <a:defRPr sz="3000" b="1">
                <a:solidFill>
                  <a:schemeClr val="tx1"/>
                </a:solidFill>
                <a:latin typeface="Arial" charset="0"/>
              </a:defRPr>
            </a:lvl9pPr>
          </a:lstStyle>
          <a:p>
            <a:pPr eaLnBrk="1" hangingPunct="1">
              <a:spcBef>
                <a:spcPct val="50000"/>
              </a:spcBef>
            </a:pPr>
            <a:r>
              <a:rPr lang="pt-BR" altLang="pt-BR" sz="1000" b="0" dirty="0">
                <a:solidFill>
                  <a:srgbClr val="000000"/>
                </a:solidFill>
              </a:rPr>
              <a:t>Fonte: </a:t>
            </a:r>
            <a:r>
              <a:rPr lang="pt-BR" altLang="pt-BR" sz="1000" b="0" dirty="0" smtClean="0">
                <a:solidFill>
                  <a:srgbClr val="000000"/>
                </a:solidFill>
              </a:rPr>
              <a:t>BCB – Painel Projeto Spread bancário (2017)</a:t>
            </a:r>
            <a:endParaRPr lang="pt-BR" altLang="pt-BR" sz="1000" b="0" dirty="0">
              <a:solidFill>
                <a:srgbClr val="000000"/>
              </a:solidFill>
            </a:endParaRPr>
          </a:p>
        </p:txBody>
      </p:sp>
      <p:pic>
        <p:nvPicPr>
          <p:cNvPr id="3" name="Imagem 2"/>
          <p:cNvPicPr>
            <a:picLocks noChangeAspect="1"/>
          </p:cNvPicPr>
          <p:nvPr/>
        </p:nvPicPr>
        <p:blipFill>
          <a:blip r:embed="rId2"/>
          <a:stretch>
            <a:fillRect/>
          </a:stretch>
        </p:blipFill>
        <p:spPr>
          <a:xfrm>
            <a:off x="0" y="2076450"/>
            <a:ext cx="4407469" cy="3455036"/>
          </a:xfrm>
          <a:prstGeom prst="rect">
            <a:avLst/>
          </a:prstGeom>
        </p:spPr>
      </p:pic>
      <p:sp>
        <p:nvSpPr>
          <p:cNvPr id="13" name="Text Box 4"/>
          <p:cNvSpPr txBox="1">
            <a:spLocks noChangeArrowheads="1"/>
          </p:cNvSpPr>
          <p:nvPr/>
        </p:nvSpPr>
        <p:spPr bwMode="auto">
          <a:xfrm>
            <a:off x="5691673" y="1603365"/>
            <a:ext cx="3200400" cy="4401205"/>
          </a:xfrm>
          <a:prstGeom prst="rect">
            <a:avLst/>
          </a:prstGeom>
          <a:ln>
            <a:solidFill>
              <a:srgbClr val="C00000"/>
            </a:solidFill>
            <a:headEnd type="none" w="sm" len="sm"/>
            <a:tailEnd type="none" w="sm" len="sm"/>
          </a:ln>
          <a:extLst/>
        </p:spPr>
        <p:style>
          <a:lnRef idx="2">
            <a:schemeClr val="accent1"/>
          </a:lnRef>
          <a:fillRef idx="1">
            <a:schemeClr val="lt1"/>
          </a:fillRef>
          <a:effectRef idx="0">
            <a:schemeClr val="accent1"/>
          </a:effectRef>
          <a:fontRef idx="minor">
            <a:schemeClr val="dk1"/>
          </a:fontRef>
        </p:style>
        <p:txBody>
          <a:bodyPr wrap="square">
            <a:spAutoFit/>
          </a:bodyPr>
          <a:lstStyle>
            <a:defPPr>
              <a:defRPr lang="pt-BR"/>
            </a:defPPr>
            <a:lvl1pPr algn="l" rtl="0" fontAlgn="base">
              <a:spcBef>
                <a:spcPct val="0"/>
              </a:spcBef>
              <a:spcAft>
                <a:spcPct val="0"/>
              </a:spcAft>
              <a:defRPr sz="3000" b="1"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sz="3000" b="1"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3000" b="1"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3000" b="1"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3000" b="1" kern="1200">
                <a:solidFill>
                  <a:schemeClr val="tx1"/>
                </a:solidFill>
                <a:latin typeface="Arial" panose="020B0604020202020204" pitchFamily="34" charset="0"/>
                <a:ea typeface="+mn-ea"/>
                <a:cs typeface="+mn-cs"/>
              </a:defRPr>
            </a:lvl5pPr>
            <a:lvl6pPr marL="2286000" algn="l" defTabSz="914400" rtl="0" eaLnBrk="1" latinLnBrk="0" hangingPunct="1">
              <a:defRPr sz="3000" b="1" kern="1200">
                <a:solidFill>
                  <a:schemeClr val="tx1"/>
                </a:solidFill>
                <a:latin typeface="Arial" panose="020B0604020202020204" pitchFamily="34" charset="0"/>
                <a:ea typeface="+mn-ea"/>
                <a:cs typeface="+mn-cs"/>
              </a:defRPr>
            </a:lvl6pPr>
            <a:lvl7pPr marL="2743200" algn="l" defTabSz="914400" rtl="0" eaLnBrk="1" latinLnBrk="0" hangingPunct="1">
              <a:defRPr sz="3000" b="1" kern="1200">
                <a:solidFill>
                  <a:schemeClr val="tx1"/>
                </a:solidFill>
                <a:latin typeface="Arial" panose="020B0604020202020204" pitchFamily="34" charset="0"/>
                <a:ea typeface="+mn-ea"/>
                <a:cs typeface="+mn-cs"/>
              </a:defRPr>
            </a:lvl7pPr>
            <a:lvl8pPr marL="3200400" algn="l" defTabSz="914400" rtl="0" eaLnBrk="1" latinLnBrk="0" hangingPunct="1">
              <a:defRPr sz="3000" b="1" kern="1200">
                <a:solidFill>
                  <a:schemeClr val="tx1"/>
                </a:solidFill>
                <a:latin typeface="Arial" panose="020B0604020202020204" pitchFamily="34" charset="0"/>
                <a:ea typeface="+mn-ea"/>
                <a:cs typeface="+mn-cs"/>
              </a:defRPr>
            </a:lvl8pPr>
            <a:lvl9pPr marL="3657600" algn="l" defTabSz="914400" rtl="0" eaLnBrk="1" latinLnBrk="0" hangingPunct="1">
              <a:defRPr sz="3000" b="1" kern="1200">
                <a:solidFill>
                  <a:schemeClr val="tx1"/>
                </a:solidFill>
                <a:latin typeface="Arial" panose="020B0604020202020204" pitchFamily="34" charset="0"/>
                <a:ea typeface="+mn-ea"/>
                <a:cs typeface="+mn-cs"/>
              </a:defRPr>
            </a:lvl9pPr>
          </a:lstStyle>
          <a:p>
            <a:pPr>
              <a:spcBef>
                <a:spcPct val="50000"/>
              </a:spcBef>
              <a:buFontTx/>
              <a:buChar char="•"/>
            </a:pPr>
            <a:r>
              <a:rPr lang="pt-BR" altLang="pt-BR" sz="1400" b="0" dirty="0" smtClean="0"/>
              <a:t> Inadimplência </a:t>
            </a:r>
            <a:r>
              <a:rPr lang="pt-BR" altLang="pt-BR" sz="1400" b="0" dirty="0"/>
              <a:t>e os custos associados a ela são muito elevados no </a:t>
            </a:r>
            <a:r>
              <a:rPr lang="pt-BR" altLang="pt-BR" sz="1400" b="0" dirty="0" smtClean="0"/>
              <a:t>Brasil, muitas </a:t>
            </a:r>
            <a:r>
              <a:rPr lang="pt-BR" altLang="pt-BR" sz="1400" b="0" dirty="0"/>
              <a:t>vezes maior que nos EUA, Europa e </a:t>
            </a:r>
            <a:r>
              <a:rPr lang="pt-BR" altLang="pt-BR" sz="1400" b="0" dirty="0" smtClean="0"/>
              <a:t>nos </a:t>
            </a:r>
            <a:r>
              <a:rPr lang="pt-BR" altLang="pt-BR" sz="1400" b="0" dirty="0"/>
              <a:t>demais países </a:t>
            </a:r>
            <a:r>
              <a:rPr lang="pt-BR" altLang="pt-BR" sz="1400" b="0" dirty="0" smtClean="0"/>
              <a:t>emergentes</a:t>
            </a:r>
            <a:endParaRPr lang="pt-BR" altLang="pt-BR" sz="1400" b="0" dirty="0"/>
          </a:p>
          <a:p>
            <a:pPr>
              <a:spcBef>
                <a:spcPct val="50000"/>
              </a:spcBef>
              <a:buFontTx/>
              <a:buChar char="•"/>
            </a:pPr>
            <a:r>
              <a:rPr lang="pt-BR" altLang="pt-BR" sz="1400" b="0" dirty="0" smtClean="0"/>
              <a:t> Sozinha </a:t>
            </a:r>
            <a:r>
              <a:rPr lang="pt-BR" altLang="pt-BR" sz="1400" b="0" dirty="0"/>
              <a:t>a inadimplência responde por </a:t>
            </a:r>
            <a:r>
              <a:rPr lang="pt-BR" altLang="pt-BR" sz="1400" b="0" dirty="0" smtClean="0"/>
              <a:t>55,7% </a:t>
            </a:r>
            <a:r>
              <a:rPr lang="pt-BR" altLang="pt-BR" sz="1400" b="0" dirty="0"/>
              <a:t>do spread </a:t>
            </a:r>
            <a:r>
              <a:rPr lang="pt-BR" altLang="pt-BR" sz="1400" b="0" dirty="0" smtClean="0"/>
              <a:t>bruto, o que significa que todas as medidas que tratem desse tema tem elevado poder de contribuição para reduzir </a:t>
            </a:r>
            <a:r>
              <a:rPr lang="pt-BR" altLang="pt-BR" sz="1400" b="0" dirty="0"/>
              <a:t>o </a:t>
            </a:r>
            <a:r>
              <a:rPr lang="pt-BR" altLang="pt-BR" sz="1400" b="0" dirty="0" smtClean="0"/>
              <a:t>spread</a:t>
            </a:r>
          </a:p>
          <a:p>
            <a:pPr>
              <a:spcBef>
                <a:spcPct val="50000"/>
              </a:spcBef>
              <a:buFontTx/>
              <a:buChar char="•"/>
            </a:pPr>
            <a:r>
              <a:rPr lang="pt-BR" altLang="pt-BR" sz="1400" b="0" dirty="0" smtClean="0"/>
              <a:t> Medidas para ampliar a quantidade e qualidade </a:t>
            </a:r>
            <a:r>
              <a:rPr lang="pt-BR" altLang="pt-BR" sz="1400" b="0" dirty="0"/>
              <a:t>das garantias, </a:t>
            </a:r>
            <a:r>
              <a:rPr lang="pt-BR" altLang="pt-BR" sz="1400" b="0" dirty="0" smtClean="0"/>
              <a:t>medidas que tragam maior </a:t>
            </a:r>
            <a:r>
              <a:rPr lang="pt-BR" altLang="pt-BR" sz="1400" b="0" dirty="0"/>
              <a:t>agilidade e efetividade na recuperação de créditos, </a:t>
            </a:r>
            <a:r>
              <a:rPr lang="pt-BR" altLang="pt-BR" sz="1400" b="0" dirty="0" smtClean="0"/>
              <a:t>medidas que tragam maior </a:t>
            </a:r>
            <a:r>
              <a:rPr lang="pt-BR" altLang="pt-BR" sz="1400" b="0" dirty="0"/>
              <a:t>eficiência judicial, </a:t>
            </a:r>
            <a:r>
              <a:rPr lang="pt-BR" altLang="pt-BR" sz="1400" b="0" dirty="0" smtClean="0"/>
              <a:t>na execução e nos custos envolvidos e medidas que tragam tratamento tributário adequado da inadimplência</a:t>
            </a:r>
            <a:endParaRPr lang="pt-BR" altLang="pt-BR" sz="1400" b="0" dirty="0"/>
          </a:p>
        </p:txBody>
      </p:sp>
      <p:sp>
        <p:nvSpPr>
          <p:cNvPr id="4" name="Seta para a direita 3"/>
          <p:cNvSpPr/>
          <p:nvPr/>
        </p:nvSpPr>
        <p:spPr bwMode="auto">
          <a:xfrm rot="1098482">
            <a:off x="4214018" y="3236632"/>
            <a:ext cx="1247775" cy="381000"/>
          </a:xfrm>
          <a:prstGeom prst="rightArrow">
            <a:avLst/>
          </a:prstGeom>
          <a:solidFill>
            <a:srgbClr val="003366"/>
          </a:solidFill>
          <a:ln w="12700" cap="sq" cmpd="sng" algn="ctr">
            <a:solidFill>
              <a:schemeClr val="tx1"/>
            </a:solidFill>
            <a:prstDash val="solid"/>
            <a:miter lim="800000"/>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pt-BR" sz="3000" b="1" i="0" u="none" strike="noStrike" cap="none" normalizeH="0" baseline="0" smtClean="0">
              <a:ln>
                <a:noFill/>
              </a:ln>
              <a:solidFill>
                <a:schemeClr val="tx1"/>
              </a:solidFill>
              <a:effectLst/>
              <a:latin typeface="Arial" charset="0"/>
            </a:endParaRPr>
          </a:p>
        </p:txBody>
      </p:sp>
      <p:sp>
        <p:nvSpPr>
          <p:cNvPr id="17" name="Espaço Reservado para Número de Slide 1"/>
          <p:cNvSpPr>
            <a:spLocks noGrp="1"/>
          </p:cNvSpPr>
          <p:nvPr>
            <p:ph type="sldNum" sz="quarter" idx="4"/>
          </p:nvPr>
        </p:nvSpPr>
        <p:spPr>
          <a:xfrm>
            <a:off x="6553200" y="6356350"/>
            <a:ext cx="2133600" cy="365125"/>
          </a:xfrm>
        </p:spPr>
        <p:txBody>
          <a:bodyPr/>
          <a:lstStyle/>
          <a:p>
            <a:fld id="{298137A4-986C-44B7-BC96-9776515981F1}" type="slidenum">
              <a:rPr lang="pt-BR" smtClean="0"/>
              <a:pPr/>
              <a:t>8</a:t>
            </a:fld>
            <a:endParaRPr lang="pt-BR" dirty="0"/>
          </a:p>
        </p:txBody>
      </p:sp>
    </p:spTree>
    <p:extLst>
      <p:ext uri="{BB962C8B-B14F-4D97-AF65-F5344CB8AC3E}">
        <p14:creationId xmlns:p14="http://schemas.microsoft.com/office/powerpoint/2010/main" val="3418901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p:cNvSpPr>
          <p:nvPr/>
        </p:nvSpPr>
        <p:spPr bwMode="auto">
          <a:xfrm>
            <a:off x="0" y="4918"/>
            <a:ext cx="9144000" cy="573087"/>
          </a:xfrm>
          <a:prstGeom prst="rect">
            <a:avLst/>
          </a:prstGeom>
          <a:gradFill flip="none" rotWithShape="1">
            <a:gsLst>
              <a:gs pos="0">
                <a:srgbClr val="4F81BD">
                  <a:lumMod val="5000"/>
                  <a:lumOff val="95000"/>
                  <a:alpha val="20000"/>
                </a:srgbClr>
              </a:gs>
              <a:gs pos="74000">
                <a:srgbClr val="4F81BD">
                  <a:lumMod val="45000"/>
                  <a:lumOff val="55000"/>
                </a:srgbClr>
              </a:gs>
              <a:gs pos="83000">
                <a:srgbClr val="4F81BD">
                  <a:lumMod val="45000"/>
                  <a:lumOff val="55000"/>
                </a:srgbClr>
              </a:gs>
              <a:gs pos="100000">
                <a:srgbClr val="4F81BD">
                  <a:lumMod val="30000"/>
                  <a:lumOff val="70000"/>
                </a:srgbClr>
              </a:gs>
            </a:gsLst>
            <a:lin ang="0" scaled="1"/>
            <a:tileRect/>
          </a:gradFill>
          <a:ln w="9525" algn="ctr">
            <a:noFill/>
            <a:miter lim="800000"/>
            <a:headEnd/>
            <a:tailEnd/>
          </a:ln>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lvl="0">
              <a:lnSpc>
                <a:spcPct val="80000"/>
              </a:lnSpc>
              <a:defRPr/>
            </a:pPr>
            <a:r>
              <a:rPr lang="pt-BR" sz="2800" dirty="0">
                <a:solidFill>
                  <a:srgbClr val="1F497D"/>
                </a:solidFill>
                <a:latin typeface="Calibri" panose="020F0502020204030204" pitchFamily="34" charset="0"/>
                <a:cs typeface="Calibri" panose="020F0502020204030204" pitchFamily="34" charset="0"/>
              </a:rPr>
              <a:t>Decomposição do spread: média 2011-2016</a:t>
            </a:r>
          </a:p>
        </p:txBody>
      </p:sp>
      <p:sp>
        <p:nvSpPr>
          <p:cNvPr id="7" name="CaixaDeTexto 6"/>
          <p:cNvSpPr txBox="1">
            <a:spLocks noChangeArrowheads="1"/>
          </p:cNvSpPr>
          <p:nvPr/>
        </p:nvSpPr>
        <p:spPr bwMode="auto">
          <a:xfrm>
            <a:off x="204027" y="663348"/>
            <a:ext cx="8688046" cy="1015663"/>
          </a:xfrm>
          <a:prstGeom prst="rect">
            <a:avLst/>
          </a:prstGeom>
          <a:noFill/>
          <a:ln w="9525">
            <a:noFill/>
            <a:miter lim="800000"/>
            <a:headEnd/>
            <a:tailEnd/>
          </a:ln>
        </p:spPr>
        <p:txBody>
          <a:bodyPr wrap="square">
            <a:spAutoFit/>
          </a:bodyPr>
          <a:lstStyle/>
          <a:p>
            <a:pPr algn="just"/>
            <a:r>
              <a:rPr lang="pt-BR" sz="2000" dirty="0">
                <a:solidFill>
                  <a:srgbClr val="003366"/>
                </a:solidFill>
              </a:rPr>
              <a:t>A somatória </a:t>
            </a:r>
            <a:r>
              <a:rPr lang="pt-BR" sz="2000" dirty="0" smtClean="0">
                <a:solidFill>
                  <a:srgbClr val="003366"/>
                </a:solidFill>
              </a:rPr>
              <a:t>“impostos diretos, compulsório</a:t>
            </a:r>
            <a:r>
              <a:rPr lang="pt-BR" sz="2000" dirty="0">
                <a:solidFill>
                  <a:srgbClr val="003366"/>
                </a:solidFill>
              </a:rPr>
              <a:t>, subsídios cruzados, encargos e FGC” </a:t>
            </a:r>
            <a:r>
              <a:rPr lang="pt-BR" sz="2000" dirty="0" smtClean="0">
                <a:solidFill>
                  <a:srgbClr val="003366"/>
                </a:solidFill>
              </a:rPr>
              <a:t>havia recuado entre </a:t>
            </a:r>
            <a:r>
              <a:rPr lang="pt-BR" sz="2000" dirty="0">
                <a:solidFill>
                  <a:srgbClr val="003366"/>
                </a:solidFill>
              </a:rPr>
              <a:t>2008 </a:t>
            </a:r>
            <a:r>
              <a:rPr lang="pt-BR" sz="2000" dirty="0" smtClean="0">
                <a:solidFill>
                  <a:srgbClr val="003366"/>
                </a:solidFill>
              </a:rPr>
              <a:t>e </a:t>
            </a:r>
            <a:r>
              <a:rPr lang="pt-BR" sz="2000" dirty="0">
                <a:solidFill>
                  <a:srgbClr val="003366"/>
                </a:solidFill>
              </a:rPr>
              <a:t>2011, mas voltou a se elevar nos últimos anos.</a:t>
            </a:r>
          </a:p>
        </p:txBody>
      </p:sp>
      <p:sp>
        <p:nvSpPr>
          <p:cNvPr id="14" name="Text Box 5"/>
          <p:cNvSpPr txBox="1">
            <a:spLocks noChangeArrowheads="1"/>
          </p:cNvSpPr>
          <p:nvPr/>
        </p:nvSpPr>
        <p:spPr bwMode="auto">
          <a:xfrm>
            <a:off x="1008063" y="6426200"/>
            <a:ext cx="76596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defRPr sz="3000" b="1">
                <a:solidFill>
                  <a:schemeClr val="tx1"/>
                </a:solidFill>
                <a:latin typeface="Arial" charset="0"/>
              </a:defRPr>
            </a:lvl1pPr>
            <a:lvl2pPr marL="742950" indent="-285750">
              <a:defRPr sz="3000" b="1">
                <a:solidFill>
                  <a:schemeClr val="tx1"/>
                </a:solidFill>
                <a:latin typeface="Arial" charset="0"/>
              </a:defRPr>
            </a:lvl2pPr>
            <a:lvl3pPr marL="1143000" indent="-228600">
              <a:defRPr sz="3000" b="1">
                <a:solidFill>
                  <a:schemeClr val="tx1"/>
                </a:solidFill>
                <a:latin typeface="Arial" charset="0"/>
              </a:defRPr>
            </a:lvl3pPr>
            <a:lvl4pPr marL="1600200" indent="-228600">
              <a:defRPr sz="3000" b="1">
                <a:solidFill>
                  <a:schemeClr val="tx1"/>
                </a:solidFill>
                <a:latin typeface="Arial" charset="0"/>
              </a:defRPr>
            </a:lvl4pPr>
            <a:lvl5pPr marL="2057400" indent="-228600">
              <a:defRPr sz="3000" b="1">
                <a:solidFill>
                  <a:schemeClr val="tx1"/>
                </a:solidFill>
                <a:latin typeface="Arial" charset="0"/>
              </a:defRPr>
            </a:lvl5pPr>
            <a:lvl6pPr marL="2514600" indent="-228600" eaLnBrk="0" fontAlgn="base" hangingPunct="0">
              <a:spcBef>
                <a:spcPct val="0"/>
              </a:spcBef>
              <a:spcAft>
                <a:spcPct val="0"/>
              </a:spcAft>
              <a:defRPr sz="3000" b="1">
                <a:solidFill>
                  <a:schemeClr val="tx1"/>
                </a:solidFill>
                <a:latin typeface="Arial" charset="0"/>
              </a:defRPr>
            </a:lvl6pPr>
            <a:lvl7pPr marL="2971800" indent="-228600" eaLnBrk="0" fontAlgn="base" hangingPunct="0">
              <a:spcBef>
                <a:spcPct val="0"/>
              </a:spcBef>
              <a:spcAft>
                <a:spcPct val="0"/>
              </a:spcAft>
              <a:defRPr sz="3000" b="1">
                <a:solidFill>
                  <a:schemeClr val="tx1"/>
                </a:solidFill>
                <a:latin typeface="Arial" charset="0"/>
              </a:defRPr>
            </a:lvl7pPr>
            <a:lvl8pPr marL="3429000" indent="-228600" eaLnBrk="0" fontAlgn="base" hangingPunct="0">
              <a:spcBef>
                <a:spcPct val="0"/>
              </a:spcBef>
              <a:spcAft>
                <a:spcPct val="0"/>
              </a:spcAft>
              <a:defRPr sz="3000" b="1">
                <a:solidFill>
                  <a:schemeClr val="tx1"/>
                </a:solidFill>
                <a:latin typeface="Arial" charset="0"/>
              </a:defRPr>
            </a:lvl8pPr>
            <a:lvl9pPr marL="3886200" indent="-228600" eaLnBrk="0" fontAlgn="base" hangingPunct="0">
              <a:spcBef>
                <a:spcPct val="0"/>
              </a:spcBef>
              <a:spcAft>
                <a:spcPct val="0"/>
              </a:spcAft>
              <a:defRPr sz="3000" b="1">
                <a:solidFill>
                  <a:schemeClr val="tx1"/>
                </a:solidFill>
                <a:latin typeface="Arial" charset="0"/>
              </a:defRPr>
            </a:lvl9pPr>
          </a:lstStyle>
          <a:p>
            <a:pPr eaLnBrk="1" hangingPunct="1">
              <a:spcBef>
                <a:spcPct val="50000"/>
              </a:spcBef>
            </a:pPr>
            <a:r>
              <a:rPr lang="pt-BR" altLang="pt-BR" sz="1000" b="0" dirty="0">
                <a:solidFill>
                  <a:srgbClr val="000000"/>
                </a:solidFill>
              </a:rPr>
              <a:t>Fonte: </a:t>
            </a:r>
            <a:r>
              <a:rPr lang="pt-BR" altLang="pt-BR" sz="1000" b="0" dirty="0" smtClean="0">
                <a:solidFill>
                  <a:srgbClr val="000000"/>
                </a:solidFill>
              </a:rPr>
              <a:t>BCB – Painel Projeto Spread bancário (2017)</a:t>
            </a:r>
            <a:endParaRPr lang="pt-BR" altLang="pt-BR" sz="1000" b="0" dirty="0">
              <a:solidFill>
                <a:srgbClr val="000000"/>
              </a:solidFill>
            </a:endParaRPr>
          </a:p>
        </p:txBody>
      </p:sp>
      <p:pic>
        <p:nvPicPr>
          <p:cNvPr id="3" name="Imagem 2"/>
          <p:cNvPicPr>
            <a:picLocks noChangeAspect="1"/>
          </p:cNvPicPr>
          <p:nvPr/>
        </p:nvPicPr>
        <p:blipFill>
          <a:blip r:embed="rId2"/>
          <a:stretch>
            <a:fillRect/>
          </a:stretch>
        </p:blipFill>
        <p:spPr>
          <a:xfrm>
            <a:off x="0" y="2076450"/>
            <a:ext cx="4407469" cy="3455036"/>
          </a:xfrm>
          <a:prstGeom prst="rect">
            <a:avLst/>
          </a:prstGeom>
        </p:spPr>
      </p:pic>
      <p:sp>
        <p:nvSpPr>
          <p:cNvPr id="4" name="Seta para a direita 3"/>
          <p:cNvSpPr/>
          <p:nvPr/>
        </p:nvSpPr>
        <p:spPr bwMode="auto">
          <a:xfrm rot="20451248">
            <a:off x="4214019" y="4038077"/>
            <a:ext cx="1247775" cy="381000"/>
          </a:xfrm>
          <a:prstGeom prst="rightArrow">
            <a:avLst/>
          </a:prstGeom>
          <a:solidFill>
            <a:srgbClr val="003366"/>
          </a:solidFill>
          <a:ln w="12700" cap="sq" cmpd="sng" algn="ctr">
            <a:solidFill>
              <a:schemeClr val="tx1"/>
            </a:solidFill>
            <a:prstDash val="solid"/>
            <a:miter lim="800000"/>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pt-BR" sz="3000" b="1" i="0" u="none" strike="noStrike" cap="none" normalizeH="0" baseline="0" smtClean="0">
              <a:ln>
                <a:noFill/>
              </a:ln>
              <a:solidFill>
                <a:schemeClr val="tx1"/>
              </a:solidFill>
              <a:effectLst/>
              <a:latin typeface="Arial" charset="0"/>
            </a:endParaRPr>
          </a:p>
        </p:txBody>
      </p:sp>
      <p:sp>
        <p:nvSpPr>
          <p:cNvPr id="11" name="Text Box 4"/>
          <p:cNvSpPr txBox="1">
            <a:spLocks noChangeArrowheads="1"/>
          </p:cNvSpPr>
          <p:nvPr/>
        </p:nvSpPr>
        <p:spPr bwMode="auto">
          <a:xfrm>
            <a:off x="5657850" y="1697254"/>
            <a:ext cx="3358242" cy="4293483"/>
          </a:xfrm>
          <a:prstGeom prst="rect">
            <a:avLst/>
          </a:prstGeom>
          <a:ln>
            <a:solidFill>
              <a:srgbClr val="7030A0"/>
            </a:solidFill>
            <a:headEnd type="none" w="sm" len="sm"/>
            <a:tailEnd type="none" w="sm" len="sm"/>
          </a:ln>
          <a:extLst/>
        </p:spPr>
        <p:style>
          <a:lnRef idx="2">
            <a:schemeClr val="accent1"/>
          </a:lnRef>
          <a:fillRef idx="1">
            <a:schemeClr val="lt1"/>
          </a:fillRef>
          <a:effectRef idx="0">
            <a:schemeClr val="accent1"/>
          </a:effectRef>
          <a:fontRef idx="minor">
            <a:schemeClr val="dk1"/>
          </a:fontRef>
        </p:style>
        <p:txBody>
          <a:bodyPr wrap="square">
            <a:spAutoFit/>
          </a:bodyPr>
          <a:lstStyle>
            <a:defPPr>
              <a:defRPr lang="pt-BR"/>
            </a:defPPr>
            <a:lvl1pPr algn="l" rtl="0" fontAlgn="base">
              <a:spcBef>
                <a:spcPct val="0"/>
              </a:spcBef>
              <a:spcAft>
                <a:spcPct val="0"/>
              </a:spcAft>
              <a:defRPr sz="3000" b="1"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sz="3000" b="1"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3000" b="1"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3000" b="1"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3000" b="1" kern="1200">
                <a:solidFill>
                  <a:schemeClr val="tx1"/>
                </a:solidFill>
                <a:latin typeface="Arial" panose="020B0604020202020204" pitchFamily="34" charset="0"/>
                <a:ea typeface="+mn-ea"/>
                <a:cs typeface="+mn-cs"/>
              </a:defRPr>
            </a:lvl5pPr>
            <a:lvl6pPr marL="2286000" algn="l" defTabSz="914400" rtl="0" eaLnBrk="1" latinLnBrk="0" hangingPunct="1">
              <a:defRPr sz="3000" b="1" kern="1200">
                <a:solidFill>
                  <a:schemeClr val="tx1"/>
                </a:solidFill>
                <a:latin typeface="Arial" panose="020B0604020202020204" pitchFamily="34" charset="0"/>
                <a:ea typeface="+mn-ea"/>
                <a:cs typeface="+mn-cs"/>
              </a:defRPr>
            </a:lvl6pPr>
            <a:lvl7pPr marL="2743200" algn="l" defTabSz="914400" rtl="0" eaLnBrk="1" latinLnBrk="0" hangingPunct="1">
              <a:defRPr sz="3000" b="1" kern="1200">
                <a:solidFill>
                  <a:schemeClr val="tx1"/>
                </a:solidFill>
                <a:latin typeface="Arial" panose="020B0604020202020204" pitchFamily="34" charset="0"/>
                <a:ea typeface="+mn-ea"/>
                <a:cs typeface="+mn-cs"/>
              </a:defRPr>
            </a:lvl7pPr>
            <a:lvl8pPr marL="3200400" algn="l" defTabSz="914400" rtl="0" eaLnBrk="1" latinLnBrk="0" hangingPunct="1">
              <a:defRPr sz="3000" b="1" kern="1200">
                <a:solidFill>
                  <a:schemeClr val="tx1"/>
                </a:solidFill>
                <a:latin typeface="Arial" panose="020B0604020202020204" pitchFamily="34" charset="0"/>
                <a:ea typeface="+mn-ea"/>
                <a:cs typeface="+mn-cs"/>
              </a:defRPr>
            </a:lvl8pPr>
            <a:lvl9pPr marL="3657600" algn="l" defTabSz="914400" rtl="0" eaLnBrk="1" latinLnBrk="0" hangingPunct="1">
              <a:defRPr sz="3000" b="1" kern="1200">
                <a:solidFill>
                  <a:schemeClr val="tx1"/>
                </a:solidFill>
                <a:latin typeface="Arial" panose="020B0604020202020204" pitchFamily="34" charset="0"/>
                <a:ea typeface="+mn-ea"/>
                <a:cs typeface="+mn-cs"/>
              </a:defRPr>
            </a:lvl9pPr>
          </a:lstStyle>
          <a:p>
            <a:pPr>
              <a:spcBef>
                <a:spcPct val="50000"/>
              </a:spcBef>
              <a:buFontTx/>
              <a:buChar char="•"/>
            </a:pPr>
            <a:r>
              <a:rPr lang="pt-BR" altLang="pt-BR" sz="1400" b="0" dirty="0" smtClean="0"/>
              <a:t> IOF</a:t>
            </a:r>
            <a:r>
              <a:rPr lang="pt-BR" altLang="pt-BR" sz="1400" b="0" dirty="0"/>
              <a:t>: até 1,88% para PJ e até 3,38% para PF</a:t>
            </a:r>
          </a:p>
          <a:p>
            <a:pPr>
              <a:spcBef>
                <a:spcPct val="50000"/>
              </a:spcBef>
              <a:buFontTx/>
              <a:buChar char="•"/>
            </a:pPr>
            <a:r>
              <a:rPr lang="pt-BR" altLang="pt-BR" sz="1400" b="0" dirty="0"/>
              <a:t> Cofins = 4% (s/total da receita – captação)</a:t>
            </a:r>
          </a:p>
          <a:p>
            <a:pPr>
              <a:spcBef>
                <a:spcPct val="50000"/>
              </a:spcBef>
              <a:buFontTx/>
              <a:buChar char="•"/>
            </a:pPr>
            <a:r>
              <a:rPr lang="pt-BR" altLang="pt-BR" sz="1400" b="0" dirty="0"/>
              <a:t> PIS = 0,65% (s/total da receita – captação)</a:t>
            </a:r>
          </a:p>
          <a:p>
            <a:pPr>
              <a:spcBef>
                <a:spcPct val="50000"/>
              </a:spcBef>
              <a:buFontTx/>
              <a:buChar char="•"/>
            </a:pPr>
            <a:r>
              <a:rPr lang="pt-BR" altLang="pt-BR" sz="1400" b="0" dirty="0" smtClean="0"/>
              <a:t> CSLL </a:t>
            </a:r>
            <a:r>
              <a:rPr lang="pt-BR" altLang="pt-BR" sz="1400" b="0" dirty="0"/>
              <a:t>= 20%</a:t>
            </a:r>
          </a:p>
          <a:p>
            <a:pPr>
              <a:spcBef>
                <a:spcPct val="50000"/>
              </a:spcBef>
              <a:buFontTx/>
              <a:buChar char="•"/>
            </a:pPr>
            <a:r>
              <a:rPr lang="pt-BR" altLang="pt-BR" sz="1400" b="0" dirty="0"/>
              <a:t> IR de 25</a:t>
            </a:r>
            <a:r>
              <a:rPr lang="pt-BR" altLang="pt-BR" sz="1400" b="0" dirty="0" smtClean="0"/>
              <a:t>%</a:t>
            </a:r>
          </a:p>
          <a:p>
            <a:pPr>
              <a:spcBef>
                <a:spcPct val="50000"/>
              </a:spcBef>
              <a:buFontTx/>
              <a:buChar char="•"/>
            </a:pPr>
            <a:r>
              <a:rPr lang="pt-BR" altLang="pt-BR" sz="1400" b="0" dirty="0"/>
              <a:t> </a:t>
            </a:r>
            <a:r>
              <a:rPr lang="pt-BR" altLang="pt-BR" sz="1400" b="0" dirty="0" smtClean="0"/>
              <a:t>Compulsórios: Depósito </a:t>
            </a:r>
            <a:r>
              <a:rPr lang="pt-BR" altLang="pt-BR" sz="1400" b="0" dirty="0"/>
              <a:t>à vista = 45%, Depósito a</a:t>
            </a:r>
            <a:r>
              <a:rPr lang="pt-BR" altLang="pt-BR" sz="1400" b="0" dirty="0" smtClean="0"/>
              <a:t> Prazo = 36% </a:t>
            </a:r>
            <a:r>
              <a:rPr lang="pt-BR" altLang="pt-BR" sz="1400" b="0" dirty="0"/>
              <a:t>e Depósito de </a:t>
            </a:r>
            <a:r>
              <a:rPr lang="pt-BR" altLang="pt-BR" sz="1400" b="0" dirty="0" smtClean="0"/>
              <a:t>Poupança = 30%</a:t>
            </a:r>
            <a:endParaRPr lang="pt-BR" altLang="pt-BR" sz="1400" b="0" dirty="0"/>
          </a:p>
          <a:p>
            <a:pPr>
              <a:spcBef>
                <a:spcPct val="50000"/>
              </a:spcBef>
              <a:buFontTx/>
              <a:buChar char="•"/>
            </a:pPr>
            <a:r>
              <a:rPr lang="pt-BR" altLang="pt-BR" sz="1400" b="0" dirty="0" smtClean="0"/>
              <a:t> Subsídios Cruzados</a:t>
            </a:r>
            <a:r>
              <a:rPr lang="pt-BR" altLang="pt-BR" sz="1400" b="0" dirty="0"/>
              <a:t>: </a:t>
            </a:r>
            <a:r>
              <a:rPr lang="pt-BR" altLang="pt-BR" sz="1400" b="0" dirty="0" smtClean="0"/>
              <a:t>direcionamento </a:t>
            </a:r>
            <a:r>
              <a:rPr lang="pt-BR" altLang="pt-BR" sz="1400" b="0" dirty="0"/>
              <a:t>obrigatório de parte dos depósitos a vista e de poupança </a:t>
            </a:r>
            <a:r>
              <a:rPr lang="pt-BR" altLang="pt-BR" sz="1400" b="0" dirty="0" smtClean="0"/>
              <a:t>para aplicação </a:t>
            </a:r>
            <a:r>
              <a:rPr lang="pt-BR" altLang="pt-BR" sz="1400" b="0" dirty="0"/>
              <a:t>em crédito rural e/ou </a:t>
            </a:r>
            <a:r>
              <a:rPr lang="pt-BR" altLang="pt-BR" sz="1400" b="0" dirty="0" smtClean="0"/>
              <a:t>crédito habitacional.</a:t>
            </a:r>
          </a:p>
          <a:p>
            <a:pPr>
              <a:spcBef>
                <a:spcPct val="50000"/>
              </a:spcBef>
              <a:buFontTx/>
              <a:buChar char="•"/>
            </a:pPr>
            <a:r>
              <a:rPr lang="pt-BR" altLang="pt-BR" sz="1400" b="0" dirty="0" smtClean="0"/>
              <a:t> FGC: contribuição obrigatória </a:t>
            </a:r>
            <a:endParaRPr lang="pt-BR" altLang="pt-BR" sz="1400" b="0" dirty="0"/>
          </a:p>
        </p:txBody>
      </p:sp>
      <p:sp>
        <p:nvSpPr>
          <p:cNvPr id="17" name="Espaço Reservado para Número de Slide 1"/>
          <p:cNvSpPr>
            <a:spLocks noGrp="1"/>
          </p:cNvSpPr>
          <p:nvPr>
            <p:ph type="sldNum" sz="quarter" idx="4"/>
          </p:nvPr>
        </p:nvSpPr>
        <p:spPr>
          <a:xfrm>
            <a:off x="6553200" y="6356350"/>
            <a:ext cx="2133600" cy="365125"/>
          </a:xfrm>
        </p:spPr>
        <p:txBody>
          <a:bodyPr/>
          <a:lstStyle/>
          <a:p>
            <a:fld id="{298137A4-986C-44B7-BC96-9776515981F1}" type="slidenum">
              <a:rPr lang="pt-BR" smtClean="0"/>
              <a:pPr/>
              <a:t>9</a:t>
            </a:fld>
            <a:endParaRPr lang="pt-BR" dirty="0"/>
          </a:p>
        </p:txBody>
      </p:sp>
    </p:spTree>
    <p:extLst>
      <p:ext uri="{BB962C8B-B14F-4D97-AF65-F5344CB8AC3E}">
        <p14:creationId xmlns:p14="http://schemas.microsoft.com/office/powerpoint/2010/main" val="21350020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TYLE" val="AcnSubjectTitle"/>
  <p:tag name="DATE" val="08/08/2016 17:33:07"/>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mFfTJsBSFuhva.BMI1cP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UyaEp_gQTqLkMmMWjOJ6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JlHOA_BRYigq5zQtP3I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TABGEh5REiSjMkOJOf4Z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vLnjZ3ERHaJ0DznRHix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qlf3eCySuCiMukfE8bC3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8nKWmaYQImgYkTNbZKw8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QLVgEurRmu4mGB7W3gon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9uviEWzSWCSX5abAYsl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aw6fg2UQGa.nWfspapOmQ"/>
</p:tagLst>
</file>

<file path=ppt/tags/tag11.xml><?xml version="1.0" encoding="utf-8"?>
<p:tagLst xmlns:a="http://schemas.openxmlformats.org/drawingml/2006/main" xmlns:r="http://schemas.openxmlformats.org/officeDocument/2006/relationships" xmlns:p="http://schemas.openxmlformats.org/presentationml/2006/main">
  <p:tag name="STYLE" val="AcnFootnote"/>
  <p:tag name="DATE" val="08/08/2016 17:33:07"/>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reuTK0vQr224Jgyt9LHE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RW4ElMsTMKxmSVHS9e4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_eiCjuw1QrGQp36toGqF1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8HrSMBRSg2c6cyHKHR4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szQwhXLSL2xxFAgx4SDR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M_kRBvnTvuw2JnULkPN1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_A93o_oSNOpGGuOIBEzY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gUmF4.bRfeEhAHUsJGO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53PXb4_.Q9KLiI8PfuqA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P_naxw4TIGExuiscnJf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OOZMFZiRMaClxQxzRDbJ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KIwGCBwTmmXOcMW1gTr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cRGng4GSOqZY__WIjfn1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O5wxkASRImn1t64Su0S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QSsaTT7SpSS3XfZIEn3j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9MaVuWqSMqgdk4CYL2Hs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Heus8l_TbmepEZmk9ZF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5jdjD7m_T2u0OsQ3FzUR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_wtje5.wRZyJEeoClbtn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UVwn3JpTC6G7UWOcIZj3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t92iKibT5aJ_yocTYQW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4Tom2BtTDmDGL4BWRzAH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JCQ2iF1QryynFfaa8tOC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X9hOL0GQ6CSoAOfjKFh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hJHhJmsSduTvQhE2Yn7P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ZGT3xaC_SQ.tXnEeLdwQj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AnCJMqITcmIA.w6vxkW1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GKxdZC5QyCeEWRQ1ek1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QFkjPSyTFmu0ZWKWvGH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odT3D87QkisKJLKvpe36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KJ1xlOJ.QK69xPSOZwh16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2vbFiod2SzG.vQ1ylmk4W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9LWy1tRLSI6ITknZ2Oyc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MpHS.vL0QpSzhU1j5XX7C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Q58NriKRTPuGTbtbtdNWy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WgdCgOZRs26lRJg4ML6P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2.bU9a1QR0a.LaMllN_.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qqvBma3Say7mPYvO61s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s_rIsQGQcqPRUmYvkQl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_XjCafOmTU2AZwSnBC_O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GrH7Fhz5QoOhvbNhs4kc1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PF6K8en6Rk.NpNCYyVy8n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rAnWmFOQ0Ck0TZTam8VF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x0rHZ6jR52TI4qFuNBSe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0bejY5EQVGwhGya2uvoh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JXZeaBIRye9vZrgPxSd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C8vR9sYRb6sPjKEJffrS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z053CArQgu1jy0F1_2zm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e2VRg0bSJaIRt4G1.Qac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Ox_YqKTROawf4uEY9hp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TAKC9FHQ76JGHakLtwzX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u.iMIQtSieeJsDfN3Mc7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DYa2KNosRdeSEwZOiqUx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ctZVOjVTxS7tk30dYR7e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08fh3tCPTwizrnnbXxM0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u7b1gj6aTyev7sKVct7tE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6HdVqjQOqILrugIh352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CDsBJhERQetfoJcEDC_8w"/>
</p:tagLst>
</file>

<file path=ppt/tags/tag17.xml><?xml version="1.0" encoding="utf-8"?>
<p:tagLst xmlns:a="http://schemas.openxmlformats.org/drawingml/2006/main" xmlns:r="http://schemas.openxmlformats.org/officeDocument/2006/relationships" xmlns:p="http://schemas.openxmlformats.org/presentationml/2006/main">
  <p:tag name="STYLE" val="AcnSubjectTitle"/>
  <p:tag name="DATE" val="08/08/2016 17:33:07"/>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BogJHpYRdG7_GaWFhjH6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JlZVdeMQkWF8SjfI.IOP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68TrYsAeSCOk05B5TXbU0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KTCuDJ8Qb6ECdkQT7r9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7UrwmZkXQx2uaysjTfAj_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4WPEvnARjm2JyQqFgoiQ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JyqTGxjuSo6KsLue4jUm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8Y4nS9FGR.K2bNZ2VW_e5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cf7K_ieSRkiUSG7eNUZpb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7nPgEnncTUmQoCl.mjyk2w"/>
</p:tagLst>
</file>

<file path=ppt/tags/tag18.xml><?xml version="1.0" encoding="utf-8"?>
<p:tagLst xmlns:a="http://schemas.openxmlformats.org/drawingml/2006/main" xmlns:r="http://schemas.openxmlformats.org/officeDocument/2006/relationships" xmlns:p="http://schemas.openxmlformats.org/presentationml/2006/main">
  <p:tag name="STYLE" val="AcnFootnote"/>
  <p:tag name="DATE" val="08/08/2016 17:33:07"/>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fIDiuWSRKquHjXb252.p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eAsjB1DYRIS2.prP0nQBc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6zajBQLFSGmOfhRdgLCFX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tC3ynlR0OMjFLLPJs9y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6dHUTLKtTvqEUrnuiXeJx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LEzkDbxT2KcjDr7PXSPu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WscJ0JLRb2MtaxK40laj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tzQZjquTAODzIrwqfYZX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q6SItGo5S1aPz0GRgcXbN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1LqQlsGURiSbRgMHJPC8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ov2NNJoTx6O3xz3NxK19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wJqSjTuQW6ECdEu6EVz3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HWoJcoCRji.ARm.2lQC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TYLE" val="AcnSubjectTitle"/>
  <p:tag name="DATE" val="08/08/2016 17:33:07"/>
</p:tagLst>
</file>

<file path=ppt/tags/tag25.xml><?xml version="1.0" encoding="utf-8"?>
<p:tagLst xmlns:a="http://schemas.openxmlformats.org/drawingml/2006/main" xmlns:r="http://schemas.openxmlformats.org/officeDocument/2006/relationships" xmlns:p="http://schemas.openxmlformats.org/presentationml/2006/main">
  <p:tag name="STYLE" val="AcnFootnote"/>
  <p:tag name="DATE" val="08/08/2016 17:33:07"/>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SubjectTitle"/>
  <p:tag name="DATE" val="08/08/2016 17:33:07"/>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TYLE" val="AcnSubjectTitle"/>
  <p:tag name="DATE" val="08/08/2016 17:33:07"/>
</p:tagLst>
</file>

<file path=ppt/tags/tag32.xml><?xml version="1.0" encoding="utf-8"?>
<p:tagLst xmlns:a="http://schemas.openxmlformats.org/drawingml/2006/main" xmlns:r="http://schemas.openxmlformats.org/officeDocument/2006/relationships" xmlns:p="http://schemas.openxmlformats.org/presentationml/2006/main">
  <p:tag name="STYLE" val="AcnFootnote"/>
  <p:tag name="DATE" val="08/08/2016 17:33:07"/>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TYLE" val="AcnSubjectTitle"/>
  <p:tag name="DATE" val="08/08/2016 17:33:07"/>
</p:tagLst>
</file>

<file path=ppt/tags/tag39.xml><?xml version="1.0" encoding="utf-8"?>
<p:tagLst xmlns:a="http://schemas.openxmlformats.org/drawingml/2006/main" xmlns:r="http://schemas.openxmlformats.org/officeDocument/2006/relationships" xmlns:p="http://schemas.openxmlformats.org/presentationml/2006/main">
  <p:tag name="STYLE" val="AcnFootnote"/>
  <p:tag name="DATE" val="08/08/2016 17:33:07"/>
</p:tagLst>
</file>

<file path=ppt/tags/tag4.xml><?xml version="1.0" encoding="utf-8"?>
<p:tagLst xmlns:a="http://schemas.openxmlformats.org/drawingml/2006/main" xmlns:r="http://schemas.openxmlformats.org/officeDocument/2006/relationships" xmlns:p="http://schemas.openxmlformats.org/presentationml/2006/main">
  <p:tag name="STYLE" val="AcnFootnote"/>
  <p:tag name="DATE" val="08/08/2016 17:33:07"/>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LO9BF.lQgmOVg1O3yKJ7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P.y8ILPRdei91L16wDN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vLnjZ3ERHaJ0DznRHix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UyaEp_gQTqLkMmMWjOJ6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qlf3eCySuCiMukfE8bC3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MqpL4JpR0S1Pz.TP74n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_If0tZRS9ur9tAYyX4V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NZPT05KQSuqhbF_ULZyC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FI.dFD6Qp.zdm50.0Hq_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mFfTJsBSFuhva.BMI1cP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8nKWmaYQImgYkTNbZKw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X_pya9IRquvI0V9hPUY1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aw6fg2UQGa.nWfspapOm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QLVgEurRmu4mGB7W3go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9uviEWzSWCSX5abAYsl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reuTK0vQr224Jgyt9LH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RW4ElMsTMKxmSVHS9e4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3PXb4_.Q9KLiI8PfuqA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szQwhXLSL2xxFAgx4SDR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M_kRBvnTvuw2JnULkPN1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eiCjuw1QrGQp36toGqF1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8HrSMBRSg2c6cyHKHR4X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_A93o_oSNOpGGuOIBEz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P_naxw4TIGExuiscnJf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OOZMFZiRMaClxQxzRDb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PvodXzASaOsuvir8LF6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79eesZsRrKVI4Ewoq40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KIwGCBwTmmXOcMW1gTr4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cRGng4GSOqZY__WIjfn1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O5wxkASRImn1t64Su0SI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Heus8l_TbmepEZmk9ZF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9MaVuWqSMqgdk4CYL2H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QSsaTT7SpSS3XfZIEn3j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YNsjra6Q2qCNKoxGJp2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Hcqf2D6SGmtz.iQZrl1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_UAtRkASwGv4uKbI50Bu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8Klp8UQSwefj0u331N6P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dtFKOERQXq8IoXB1gHlU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L0FDqKHSfi36biUQfuC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ZXZ2fEqSjCXWdwvxo4xJ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_QBkgDkJR5Guxc_oVbcEf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5ROp_tuTREyj8B2onGO4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d1y3d1mT..LaI8z101z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4Hsss4rSay8N9s5bQpgE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cuSxV8GS_iWehR5Nx0g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HkYW3GMSH6DseORg14iF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_MNrHVsSze7k6NpyJ1jY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5GuSVkfQIyQHjQgMpga7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c19ciNXT46l7AZIyKQvw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pB.wikjQFaUAiDMmLVI.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8LO9BF.lQgmOVg1O3yKJ7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P.y8ILPRdei91L16wDNdA"/>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CSB00000_Templ_Wide_Por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l_ingl_all-col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_ingl_all-color 1">
        <a:dk1>
          <a:srgbClr val="000000"/>
        </a:dk1>
        <a:lt1>
          <a:srgbClr val="FFFFFF"/>
        </a:lt1>
        <a:dk2>
          <a:srgbClr val="000000"/>
        </a:dk2>
        <a:lt2>
          <a:srgbClr val="7A7A7A"/>
        </a:lt2>
        <a:accent1>
          <a:srgbClr val="FFCC00"/>
        </a:accent1>
        <a:accent2>
          <a:srgbClr val="99CCFF"/>
        </a:accent2>
        <a:accent3>
          <a:srgbClr val="FFFFFF"/>
        </a:accent3>
        <a:accent4>
          <a:srgbClr val="000000"/>
        </a:accent4>
        <a:accent5>
          <a:srgbClr val="FFE2AA"/>
        </a:accent5>
        <a:accent6>
          <a:srgbClr val="8AB9E7"/>
        </a:accent6>
        <a:hlink>
          <a:srgbClr val="006699"/>
        </a:hlink>
        <a:folHlink>
          <a:srgbClr val="0033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SB00000_Templ_Wide_Port.potx" id="{5E3758DA-68AF-4CE0-809D-7B0C74F1A756}" vid="{D986E50F-38DC-49E1-B24F-09A7BAFB9683}"/>
    </a:ext>
  </a:extLst>
</a:theme>
</file>

<file path=ppt/theme/theme11.xml><?xml version="1.0" encoding="utf-8"?>
<a:theme xmlns:a="http://schemas.openxmlformats.org/drawingml/2006/main" name="2_CSB00000_Templ_Wide_Por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l_ingl_all-col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_ingl_all-color 1">
        <a:dk1>
          <a:srgbClr val="000000"/>
        </a:dk1>
        <a:lt1>
          <a:srgbClr val="FFFFFF"/>
        </a:lt1>
        <a:dk2>
          <a:srgbClr val="000000"/>
        </a:dk2>
        <a:lt2>
          <a:srgbClr val="7A7A7A"/>
        </a:lt2>
        <a:accent1>
          <a:srgbClr val="FFCC00"/>
        </a:accent1>
        <a:accent2>
          <a:srgbClr val="99CCFF"/>
        </a:accent2>
        <a:accent3>
          <a:srgbClr val="FFFFFF"/>
        </a:accent3>
        <a:accent4>
          <a:srgbClr val="000000"/>
        </a:accent4>
        <a:accent5>
          <a:srgbClr val="FFE2AA"/>
        </a:accent5>
        <a:accent6>
          <a:srgbClr val="8AB9E7"/>
        </a:accent6>
        <a:hlink>
          <a:srgbClr val="006699"/>
        </a:hlink>
        <a:folHlink>
          <a:srgbClr val="0033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SB00000_Templ_Wide_Port.potx" id="{5E3758DA-68AF-4CE0-809D-7B0C74F1A756}" vid="{D986E50F-38DC-49E1-B24F-09A7BAFB9683}"/>
    </a:ext>
  </a:extLst>
</a:theme>
</file>

<file path=ppt/theme/theme12.xml><?xml version="1.0" encoding="utf-8"?>
<a:theme xmlns:a="http://schemas.openxmlformats.org/drawingml/2006/main" name="3_CSB00000_Templ_Wide_Por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l_ingl_all-col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_ingl_all-color 1">
        <a:dk1>
          <a:srgbClr val="000000"/>
        </a:dk1>
        <a:lt1>
          <a:srgbClr val="FFFFFF"/>
        </a:lt1>
        <a:dk2>
          <a:srgbClr val="000000"/>
        </a:dk2>
        <a:lt2>
          <a:srgbClr val="7A7A7A"/>
        </a:lt2>
        <a:accent1>
          <a:srgbClr val="FFCC00"/>
        </a:accent1>
        <a:accent2>
          <a:srgbClr val="99CCFF"/>
        </a:accent2>
        <a:accent3>
          <a:srgbClr val="FFFFFF"/>
        </a:accent3>
        <a:accent4>
          <a:srgbClr val="000000"/>
        </a:accent4>
        <a:accent5>
          <a:srgbClr val="FFE2AA"/>
        </a:accent5>
        <a:accent6>
          <a:srgbClr val="8AB9E7"/>
        </a:accent6>
        <a:hlink>
          <a:srgbClr val="006699"/>
        </a:hlink>
        <a:folHlink>
          <a:srgbClr val="0033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SB00000_Templ_Wide_Port.potx" id="{5E3758DA-68AF-4CE0-809D-7B0C74F1A756}" vid="{D986E50F-38DC-49E1-B24F-09A7BAFB9683}"/>
    </a:ext>
  </a:extLst>
</a:theme>
</file>

<file path=ppt/theme/theme13.xml><?xml version="1.0" encoding="utf-8"?>
<a:theme xmlns:a="http://schemas.openxmlformats.org/drawingml/2006/main" name="4_CSB00000_Templ_Wide_Por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l_ingl_all-col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_ingl_all-color 1">
        <a:dk1>
          <a:srgbClr val="000000"/>
        </a:dk1>
        <a:lt1>
          <a:srgbClr val="FFFFFF"/>
        </a:lt1>
        <a:dk2>
          <a:srgbClr val="000000"/>
        </a:dk2>
        <a:lt2>
          <a:srgbClr val="7A7A7A"/>
        </a:lt2>
        <a:accent1>
          <a:srgbClr val="FFCC00"/>
        </a:accent1>
        <a:accent2>
          <a:srgbClr val="99CCFF"/>
        </a:accent2>
        <a:accent3>
          <a:srgbClr val="FFFFFF"/>
        </a:accent3>
        <a:accent4>
          <a:srgbClr val="000000"/>
        </a:accent4>
        <a:accent5>
          <a:srgbClr val="FFE2AA"/>
        </a:accent5>
        <a:accent6>
          <a:srgbClr val="8AB9E7"/>
        </a:accent6>
        <a:hlink>
          <a:srgbClr val="006699"/>
        </a:hlink>
        <a:folHlink>
          <a:srgbClr val="0033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SB00000_Templ_Wide_Port.potx" id="{5E3758DA-68AF-4CE0-809D-7B0C74F1A756}" vid="{D986E50F-38DC-49E1-B24F-09A7BAFB9683}"/>
    </a:ext>
  </a:extLst>
</a:theme>
</file>

<file path=ppt/theme/theme14.xml><?xml version="1.0" encoding="utf-8"?>
<a:theme xmlns:a="http://schemas.openxmlformats.org/drawingml/2006/main" name="5_CSB00000_Templ_Wide_Por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l_ingl_all-col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_ingl_all-color 1">
        <a:dk1>
          <a:srgbClr val="000000"/>
        </a:dk1>
        <a:lt1>
          <a:srgbClr val="FFFFFF"/>
        </a:lt1>
        <a:dk2>
          <a:srgbClr val="000000"/>
        </a:dk2>
        <a:lt2>
          <a:srgbClr val="7A7A7A"/>
        </a:lt2>
        <a:accent1>
          <a:srgbClr val="FFCC00"/>
        </a:accent1>
        <a:accent2>
          <a:srgbClr val="99CCFF"/>
        </a:accent2>
        <a:accent3>
          <a:srgbClr val="FFFFFF"/>
        </a:accent3>
        <a:accent4>
          <a:srgbClr val="000000"/>
        </a:accent4>
        <a:accent5>
          <a:srgbClr val="FFE2AA"/>
        </a:accent5>
        <a:accent6>
          <a:srgbClr val="8AB9E7"/>
        </a:accent6>
        <a:hlink>
          <a:srgbClr val="006699"/>
        </a:hlink>
        <a:folHlink>
          <a:srgbClr val="0033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SB00000_Templ_Wide_Port.potx" id="{5E3758DA-68AF-4CE0-809D-7B0C74F1A756}" vid="{D986E50F-38DC-49E1-B24F-09A7BAFB9683}"/>
    </a:ext>
  </a:extLst>
</a:theme>
</file>

<file path=ppt/theme/theme15.xml><?xml version="1.0" encoding="utf-8"?>
<a:theme xmlns:a="http://schemas.openxmlformats.org/drawingml/2006/main" name="1_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0_Estrutura padrão">
  <a:themeElements>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Estrutura padrão">
      <a:majorFont>
        <a:latin typeface="Trebuchet MS"/>
        <a:ea typeface=""/>
        <a:cs typeface=""/>
      </a:majorFont>
      <a:minorFont>
        <a:latin typeface="Arial Narrow"/>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lnDef>
  </a:objectDefaults>
  <a:extraClrSchemeLst>
    <a:extraClrScheme>
      <a:clrScheme name="3_Estrutura padrão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Estrutura padrão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Estrutura padrão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Estrutura padrão">
  <a:themeElements>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Estrutura padrão">
      <a:majorFont>
        <a:latin typeface="Trebuchet MS"/>
        <a:ea typeface=""/>
        <a:cs typeface=""/>
      </a:majorFont>
      <a:minorFont>
        <a:latin typeface="Arial Narrow"/>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lnDef>
  </a:objectDefaults>
  <a:extraClrSchemeLst>
    <a:extraClrScheme>
      <a:clrScheme name="3_Estrutura padrão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Estrutura padrão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Estrutura padrão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Estrutura padrão">
  <a:themeElements>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Estrutura padrão">
      <a:majorFont>
        <a:latin typeface="Trebuchet MS"/>
        <a:ea typeface=""/>
        <a:cs typeface=""/>
      </a:majorFont>
      <a:minorFont>
        <a:latin typeface="Arial Narrow"/>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lnDef>
  </a:objectDefaults>
  <a:extraClrSchemeLst>
    <a:extraClrScheme>
      <a:clrScheme name="3_Estrutura padrão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Estrutura padrão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Estrutura padrão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Estrutura padrão">
  <a:themeElements>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Estrutura padrão">
      <a:majorFont>
        <a:latin typeface="Trebuchet MS"/>
        <a:ea typeface=""/>
        <a:cs typeface=""/>
      </a:majorFont>
      <a:minorFont>
        <a:latin typeface="Arial Narrow"/>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lnDef>
  </a:objectDefaults>
  <a:extraClrSchemeLst>
    <a:extraClrScheme>
      <a:clrScheme name="3_Estrutura padrão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Estrutura padrão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Estrutura padrão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Estrutura padrão">
  <a:themeElements>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Estrutura padrão">
      <a:majorFont>
        <a:latin typeface="Trebuchet MS"/>
        <a:ea typeface=""/>
        <a:cs typeface=""/>
      </a:majorFont>
      <a:minorFont>
        <a:latin typeface="Arial Narrow"/>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lnDef>
  </a:objectDefaults>
  <a:extraClrSchemeLst>
    <a:extraClrScheme>
      <a:clrScheme name="3_Estrutura padrão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Estrutura padrão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Estrutura padrão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Estrutura padrão">
  <a:themeElements>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Estrutura padrão">
      <a:majorFont>
        <a:latin typeface="Arial"/>
        <a:ea typeface=""/>
        <a:cs typeface=""/>
      </a:majorFont>
      <a:minorFont>
        <a:latin typeface="Arial Narrow"/>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sq" cmpd="sng" algn="ctr">
          <a:solidFill>
            <a:schemeClr val="tx1"/>
          </a:solidFill>
          <a:prstDash val="solid"/>
          <a:miter lim="800000"/>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pt-BR" sz="30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miter lim="800000"/>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pt-BR" sz="30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3_Estrutura padrão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Estrutura padrão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Estrutura padrão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8_Estrutura padrão">
  <a:themeElements>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Estrutura padrão">
      <a:majorFont>
        <a:latin typeface="Trebuchet MS"/>
        <a:ea typeface=""/>
        <a:cs typeface=""/>
      </a:majorFont>
      <a:minorFont>
        <a:latin typeface="Arial Narrow"/>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lnDef>
  </a:objectDefaults>
  <a:extraClrSchemeLst>
    <a:extraClrScheme>
      <a:clrScheme name="3_Estrutura padrão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Estrutura padrão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Estrutura padrão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presentação1" id="{8E5A2196-2C07-4B2C-A030-0B8B837426F7}" vid="{FE2B5FCC-117C-48D3-A834-C6ABBB0F071A}"/>
    </a:ext>
  </a:extLst>
</a:theme>
</file>

<file path=ppt/theme/theme8.xml><?xml version="1.0" encoding="utf-8"?>
<a:theme xmlns:a="http://schemas.openxmlformats.org/drawingml/2006/main" name="9_Estrutura padrão">
  <a:themeElements>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Estrutura padrão">
      <a:majorFont>
        <a:latin typeface="Trebuchet MS"/>
        <a:ea typeface=""/>
        <a:cs typeface=""/>
      </a:majorFont>
      <a:minorFont>
        <a:latin typeface="Arial Narrow"/>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sq"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pt-BR" sz="3000" b="1" i="0" u="none" strike="noStrike" cap="none" normalizeH="0" baseline="0" smtClean="0">
            <a:ln>
              <a:noFill/>
            </a:ln>
            <a:solidFill>
              <a:schemeClr val="tx1"/>
            </a:solidFill>
            <a:effectLst/>
            <a:latin typeface="Arial" charset="0"/>
          </a:defRPr>
        </a:defPPr>
      </a:lstStyle>
    </a:lnDef>
  </a:objectDefaults>
  <a:extraClrSchemeLst>
    <a:extraClrScheme>
      <a:clrScheme name="3_Estrutura padrão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Estrutura padrão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Estrutura padrão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Estrutura padrão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presentação1" id="{A2DA1B2A-A31A-480E-BF37-2904D6AD6C21}" vid="{61917128-BFF8-417C-B429-C71AFCE8172B}"/>
    </a:ext>
  </a:extLst>
</a:theme>
</file>

<file path=ppt/theme/theme9.xml><?xml version="1.0" encoding="utf-8"?>
<a:theme xmlns:a="http://schemas.openxmlformats.org/drawingml/2006/main" name="1_CSB00000_Templ_Wide_Por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l_ingl_all-col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_ingl_all-color 1">
        <a:dk1>
          <a:srgbClr val="000000"/>
        </a:dk1>
        <a:lt1>
          <a:srgbClr val="FFFFFF"/>
        </a:lt1>
        <a:dk2>
          <a:srgbClr val="000000"/>
        </a:dk2>
        <a:lt2>
          <a:srgbClr val="7A7A7A"/>
        </a:lt2>
        <a:accent1>
          <a:srgbClr val="FFCC00"/>
        </a:accent1>
        <a:accent2>
          <a:srgbClr val="99CCFF"/>
        </a:accent2>
        <a:accent3>
          <a:srgbClr val="FFFFFF"/>
        </a:accent3>
        <a:accent4>
          <a:srgbClr val="000000"/>
        </a:accent4>
        <a:accent5>
          <a:srgbClr val="FFE2AA"/>
        </a:accent5>
        <a:accent6>
          <a:srgbClr val="8AB9E7"/>
        </a:accent6>
        <a:hlink>
          <a:srgbClr val="006699"/>
        </a:hlink>
        <a:folHlink>
          <a:srgbClr val="0033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SB00000_Templ_Wide_Port.potx" id="{5E3758DA-68AF-4CE0-809D-7B0C74F1A756}" vid="{D986E50F-38DC-49E1-B24F-09A7BAFB9683}"/>
    </a:ext>
  </a:extLst>
</a:theme>
</file>

<file path=docProps/app.xml><?xml version="1.0" encoding="utf-8"?>
<Properties xmlns="http://schemas.openxmlformats.org/officeDocument/2006/extended-properties" xmlns:vt="http://schemas.openxmlformats.org/officeDocument/2006/docPropsVTypes">
  <TotalTime>17609</TotalTime>
  <Words>2556</Words>
  <Application>Microsoft Office PowerPoint</Application>
  <PresentationFormat>Apresentação na tela (4:3)</PresentationFormat>
  <Paragraphs>334</Paragraphs>
  <Slides>27</Slides>
  <Notes>12</Notes>
  <HiddenSlides>0</HiddenSlides>
  <MMClips>0</MMClips>
  <ScaleCrop>false</ScaleCrop>
  <HeadingPairs>
    <vt:vector size="8" baseType="variant">
      <vt:variant>
        <vt:lpstr>Fontes usadas</vt:lpstr>
      </vt:variant>
      <vt:variant>
        <vt:i4>7</vt:i4>
      </vt:variant>
      <vt:variant>
        <vt:lpstr>Tema</vt:lpstr>
      </vt:variant>
      <vt:variant>
        <vt:i4>16</vt:i4>
      </vt:variant>
      <vt:variant>
        <vt:lpstr>Servidores OLE inseridos</vt:lpstr>
      </vt:variant>
      <vt:variant>
        <vt:i4>2</vt:i4>
      </vt:variant>
      <vt:variant>
        <vt:lpstr>Títulos de slides</vt:lpstr>
      </vt:variant>
      <vt:variant>
        <vt:i4>27</vt:i4>
      </vt:variant>
    </vt:vector>
  </HeadingPairs>
  <TitlesOfParts>
    <vt:vector size="52" baseType="lpstr">
      <vt:lpstr>Arial</vt:lpstr>
      <vt:lpstr>Arial Narrow</vt:lpstr>
      <vt:lpstr>Calibri</vt:lpstr>
      <vt:lpstr>Roboto Light</vt:lpstr>
      <vt:lpstr>Times New Roman</vt:lpstr>
      <vt:lpstr>Trebuchet MS</vt:lpstr>
      <vt:lpstr>Wingdings</vt:lpstr>
      <vt:lpstr>Tema do Office</vt:lpstr>
      <vt:lpstr>3_Estrutura padrão</vt:lpstr>
      <vt:lpstr>4_Estrutura padrão</vt:lpstr>
      <vt:lpstr>5_Estrutura padrão</vt:lpstr>
      <vt:lpstr>6_Estrutura padrão</vt:lpstr>
      <vt:lpstr>7_Estrutura padrão</vt:lpstr>
      <vt:lpstr>8_Estrutura padrão</vt:lpstr>
      <vt:lpstr>9_Estrutura padrão</vt:lpstr>
      <vt:lpstr>1_CSB00000_Templ_Wide_Port</vt:lpstr>
      <vt:lpstr>CSB00000_Templ_Wide_Port</vt:lpstr>
      <vt:lpstr>2_CSB00000_Templ_Wide_Port</vt:lpstr>
      <vt:lpstr>3_CSB00000_Templ_Wide_Port</vt:lpstr>
      <vt:lpstr>4_CSB00000_Templ_Wide_Port</vt:lpstr>
      <vt:lpstr>5_CSB00000_Templ_Wide_Port</vt:lpstr>
      <vt:lpstr>1_Tema do Office</vt:lpstr>
      <vt:lpstr>10_Estrutura padrão</vt:lpstr>
      <vt:lpstr>think-cell Slide</vt:lpstr>
      <vt:lpstr>Chart</vt:lpstr>
      <vt:lpstr>Apresentação do PowerPoint</vt:lpstr>
      <vt:lpstr>Agenda da apresentação</vt:lpstr>
      <vt:lpstr>Apresentação do PowerPoint</vt:lpstr>
      <vt:lpstr>Apresentação do PowerPoint</vt:lpstr>
      <vt:lpstr>O custo de PDD por ativo de crédito no Brasil é o maior entre todos os países</vt:lpstr>
      <vt:lpstr>O Brasil tem a menor taxa de recuperação de garantias</vt:lpstr>
      <vt:lpstr>Adicionalmente, tanto o tempo quanto os custos para recuperação de garantias no Brasil são altos se comparados aos demais países</vt:lpstr>
      <vt:lpstr>Apresentação do PowerPoint</vt:lpstr>
      <vt:lpstr>Apresentação do PowerPoint</vt:lpstr>
      <vt:lpstr>Alíquota nominal da tributação sobre a renda é a mais elevada</vt:lpstr>
      <vt:lpstr>O custo operacional do Brasil é o segundo maior dentre os países analisados, em comparação ao volume de negócios</vt:lpstr>
      <vt:lpstr>O custo de pessoal por funcionário está acima da mediana e as provisões com processos trabalhistas são as mais alta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Febraba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laudia Bruschi Martins</dc:creator>
  <cp:lastModifiedBy>José Alexandre Girao Mota da Silva</cp:lastModifiedBy>
  <cp:revision>1961</cp:revision>
  <cp:lastPrinted>2017-02-13T17:23:45Z</cp:lastPrinted>
  <dcterms:created xsi:type="dcterms:W3CDTF">2011-07-28T18:15:53Z</dcterms:created>
  <dcterms:modified xsi:type="dcterms:W3CDTF">2017-05-03T12:30:11Z</dcterms:modified>
</cp:coreProperties>
</file>